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presentation.xml" ContentType="application/vnd.openxmlformats-officedocument.presentationml.presentation.main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62.xml" ContentType="application/vnd.openxmlformats-officedocument.presentationml.slide+xml"/>
  <Override PartName="/ppt/slides/slide61.xml" ContentType="application/vnd.openxmlformats-officedocument.presentationml.slide+xml"/>
  <Override PartName="/ppt/slideLayouts/slideLayout182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notesSlides/notesSlide20.xml" ContentType="application/vnd.openxmlformats-officedocument.presentationml.notesSlide+xml"/>
  <Override PartName="/ppt/theme/theme7.xml" ContentType="application/vnd.openxmlformats-officedocument.theme+xml"/>
  <Override PartName="/ppt/media/image61.jpg" ContentType="image/jpg"/>
  <Override PartName="/ppt/theme/themeOverride3.xml" ContentType="application/vnd.openxmlformats-officedocument.themeOverride+xml"/>
  <Override PartName="/ppt/charts/colors5.xml" ContentType="application/vnd.ms-office.chartcolorstyle+xml"/>
  <Override PartName="/ppt/charts/style5.xml" ContentType="application/vnd.ms-office.chartstyle+xml"/>
  <Override PartName="/ppt/charts/chart5.xml" ContentType="application/vnd.openxmlformats-officedocument.drawingml.chart+xml"/>
  <Override PartName="/ppt/theme/themeOverride2.xml" ContentType="application/vnd.openxmlformats-officedocument.themeOverride+xml"/>
  <Override PartName="/ppt/charts/colors4.xml" ContentType="application/vnd.ms-office.chartcolorstyle+xml"/>
  <Override PartName="/ppt/charts/style4.xml" ContentType="application/vnd.ms-office.chartstyle+xml"/>
  <Override PartName="/ppt/charts/chart4.xml" ContentType="application/vnd.openxmlformats-officedocument.drawingml.chart+xml"/>
  <Override PartName="/ppt/charts/colors3.xml" ContentType="application/vnd.ms-office.chartcolorstyle+xml"/>
  <Override PartName="/ppt/charts/style3.xml" ContentType="application/vnd.ms-office.chartstyl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olors2.xml" ContentType="application/vnd.ms-office.chartcolorstyle+xml"/>
  <Override PartName="/ppt/charts/style2.xml" ContentType="application/vnd.ms-office.chartstyle+xml"/>
  <Override PartName="/ppt/charts/chart2.xml" ContentType="application/vnd.openxmlformats-officedocument.drawingml.chart+xml"/>
  <Override PartName="/ppt/handoutMasters/handoutMaster1.xml" ContentType="application/vnd.openxmlformats-officedocument.presentationml.handoutMaster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commentAuthors.xml" ContentType="application/vnd.openxmlformats-officedocument.presentationml.commentAuthors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2.xml" ContentType="application/vnd.openxmlformats-officedocument.theme+xml"/>
  <Override PartName="/ppt/theme/theme11.xml" ContentType="application/vnd.openxmlformats-officedocument.theme+xml"/>
  <Override PartName="/ppt/theme/theme10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9.xml" ContentType="application/vnd.openxmlformats-officedocument.theme+xml"/>
  <Override PartName="/ppt/theme/theme8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8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24.xml" ContentType="application/vnd.openxmlformats-officedocument.presentationml.tags+xml"/>
  <Override PartName="/ppt/tags/tag5.xml" ContentType="application/vnd.openxmlformats-officedocument.presentationml.tags+xml"/>
  <Override PartName="/ppt/tags/tag25.xml" ContentType="application/vnd.openxmlformats-officedocument.presentationml.tags+xml"/>
  <Override PartName="/ppt/tags/tag4.xml" ContentType="application/vnd.openxmlformats-officedocument.presentationml.tags+xml"/>
  <Override PartName="/ppt/tags/tag26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1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2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5907" r:id="rId1"/>
    <p:sldMasterId id="2147486122" r:id="rId2"/>
    <p:sldMasterId id="2147486148" r:id="rId3"/>
    <p:sldMasterId id="2147486160" r:id="rId4"/>
    <p:sldMasterId id="2147486173" r:id="rId5"/>
    <p:sldMasterId id="2147486214" r:id="rId6"/>
    <p:sldMasterId id="2147486219" r:id="rId7"/>
    <p:sldMasterId id="2147486226" r:id="rId8"/>
    <p:sldMasterId id="2147486238" r:id="rId9"/>
    <p:sldMasterId id="2147486249" r:id="rId10"/>
  </p:sldMasterIdLst>
  <p:notesMasterIdLst>
    <p:notesMasterId r:id="rId81"/>
  </p:notesMasterIdLst>
  <p:handoutMasterIdLst>
    <p:handoutMasterId r:id="rId82"/>
  </p:handoutMasterIdLst>
  <p:sldIdLst>
    <p:sldId id="2147483644" r:id="rId11"/>
    <p:sldId id="2147472024" r:id="rId12"/>
    <p:sldId id="2147472026" r:id="rId13"/>
    <p:sldId id="2147483640" r:id="rId14"/>
    <p:sldId id="284" r:id="rId15"/>
    <p:sldId id="2147480704" r:id="rId16"/>
    <p:sldId id="264" r:id="rId17"/>
    <p:sldId id="2147483467" r:id="rId18"/>
    <p:sldId id="261" r:id="rId19"/>
    <p:sldId id="262" r:id="rId20"/>
    <p:sldId id="263" r:id="rId21"/>
    <p:sldId id="278" r:id="rId22"/>
    <p:sldId id="271" r:id="rId23"/>
    <p:sldId id="277" r:id="rId24"/>
    <p:sldId id="256" r:id="rId25"/>
    <p:sldId id="273" r:id="rId26"/>
    <p:sldId id="2147483470" r:id="rId27"/>
    <p:sldId id="2147483474" r:id="rId28"/>
    <p:sldId id="2147483477" r:id="rId29"/>
    <p:sldId id="2147483479" r:id="rId30"/>
    <p:sldId id="2147483527" r:id="rId31"/>
    <p:sldId id="2147483485" r:id="rId32"/>
    <p:sldId id="2147483486" r:id="rId33"/>
    <p:sldId id="2147483498" r:id="rId34"/>
    <p:sldId id="2147483501" r:id="rId35"/>
    <p:sldId id="2147483502" r:id="rId36"/>
    <p:sldId id="2147483503" r:id="rId37"/>
    <p:sldId id="274" r:id="rId38"/>
    <p:sldId id="268" r:id="rId39"/>
    <p:sldId id="2147483504" r:id="rId40"/>
    <p:sldId id="2147483505" r:id="rId41"/>
    <p:sldId id="2147483507" r:id="rId42"/>
    <p:sldId id="2147483508" r:id="rId43"/>
    <p:sldId id="2147483518" r:id="rId44"/>
    <p:sldId id="2147483519" r:id="rId45"/>
    <p:sldId id="2147483521" r:id="rId46"/>
    <p:sldId id="2147483530" r:id="rId47"/>
    <p:sldId id="265" r:id="rId48"/>
    <p:sldId id="266" r:id="rId49"/>
    <p:sldId id="2147483432" r:id="rId50"/>
    <p:sldId id="2147483440" r:id="rId51"/>
    <p:sldId id="297" r:id="rId52"/>
    <p:sldId id="2147483441" r:id="rId53"/>
    <p:sldId id="2146847207" r:id="rId54"/>
    <p:sldId id="2147483449" r:id="rId55"/>
    <p:sldId id="2147472160" r:id="rId56"/>
    <p:sldId id="2147483450" r:id="rId57"/>
    <p:sldId id="2147473647" r:id="rId58"/>
    <p:sldId id="2147483443" r:id="rId59"/>
    <p:sldId id="267" r:id="rId60"/>
    <p:sldId id="276" r:id="rId61"/>
    <p:sldId id="2147479849" r:id="rId62"/>
    <p:sldId id="2147483444" r:id="rId63"/>
    <p:sldId id="2147483451" r:id="rId64"/>
    <p:sldId id="2147483452" r:id="rId65"/>
    <p:sldId id="2147473802" r:id="rId66"/>
    <p:sldId id="2147483453" r:id="rId67"/>
    <p:sldId id="2147483439" r:id="rId68"/>
    <p:sldId id="2147482272" r:id="rId69"/>
    <p:sldId id="269" r:id="rId70"/>
    <p:sldId id="270" r:id="rId71"/>
    <p:sldId id="2147483431" r:id="rId72"/>
    <p:sldId id="2147483445" r:id="rId73"/>
    <p:sldId id="2147483433" r:id="rId74"/>
    <p:sldId id="2147483448" r:id="rId75"/>
    <p:sldId id="2147483434" r:id="rId76"/>
    <p:sldId id="2147483446" r:id="rId77"/>
    <p:sldId id="2147479895" r:id="rId78"/>
    <p:sldId id="2147483438" r:id="rId79"/>
    <p:sldId id="2147483447" r:id="rId80"/>
  </p:sldIdLst>
  <p:sldSz cx="12192000" cy="6858000"/>
  <p:notesSz cx="7772400" cy="10058400"/>
  <p:custDataLst>
    <p:tags r:id="rId83"/>
  </p:custDataLst>
  <p:defaultTextStyle>
    <a:defPPr>
      <a:defRPr lang="en-GB"/>
    </a:defPPr>
    <a:lvl1pPr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1pPr>
    <a:lvl2pPr marL="4302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2pPr>
    <a:lvl3pPr marL="6461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3pPr>
    <a:lvl4pPr marL="8620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4pPr>
    <a:lvl5pPr marL="1077913" indent="-214313" algn="l" defTabSz="455613" rtl="0" fontAlgn="base">
      <a:spcBef>
        <a:spcPct val="0"/>
      </a:spcBef>
      <a:spcAft>
        <a:spcPct val="0"/>
      </a:spcAft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5pPr>
    <a:lvl6pPr marL="22860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6pPr>
    <a:lvl7pPr marL="27432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7pPr>
    <a:lvl8pPr marL="32004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8pPr>
    <a:lvl9pPr marL="3657600" algn="l" defTabSz="457200" rtl="0" eaLnBrk="1" latinLnBrk="0" hangingPunct="1">
      <a:defRPr sz="3600" b="1" kern="1200">
        <a:solidFill>
          <a:schemeClr val="accent2"/>
        </a:solidFill>
        <a:latin typeface="Arial" pitchFamily="-72" charset="0"/>
        <a:ea typeface="MS PGothic" charset="0"/>
        <a:cs typeface="MS PGothic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4208" userDrawn="1">
          <p15:clr>
            <a:srgbClr val="A4A3A4"/>
          </p15:clr>
        </p15:guide>
        <p15:guide id="2" pos="3719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6208" userDrawn="1">
          <p15:clr>
            <a:srgbClr val="A4A3A4"/>
          </p15:clr>
        </p15:guide>
        <p15:guide id="5" pos="3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ick Kaderman" initials="" lastIdx="0" clrIdx="0"/>
  <p:cmAuthor id="1" name="Porter, David" initials="DP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7E4EF"/>
    <a:srgbClr val="FF40FF"/>
    <a:srgbClr val="3233FF"/>
    <a:srgbClr val="002456"/>
    <a:srgbClr val="226F72"/>
    <a:srgbClr val="002457"/>
    <a:srgbClr val="012556"/>
    <a:srgbClr val="D5E3EA"/>
    <a:srgbClr val="1A4263"/>
    <a:srgbClr val="D5E3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Medium Style 3 -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323" autoAdjust="0"/>
    <p:restoredTop sz="96301" autoAdjust="0"/>
  </p:normalViewPr>
  <p:slideViewPr>
    <p:cSldViewPr>
      <p:cViewPr varScale="1">
        <p:scale>
          <a:sx n="120" d="100"/>
          <a:sy n="120" d="100"/>
        </p:scale>
        <p:origin x="208" y="248"/>
      </p:cViewPr>
      <p:guideLst>
        <p:guide orient="horz" pos="4208"/>
        <p:guide pos="3719"/>
        <p:guide pos="211"/>
        <p:guide pos="6208"/>
        <p:guide pos="332"/>
      </p:guideLst>
    </p:cSldViewPr>
  </p:slideViewPr>
  <p:outlineViewPr>
    <p:cViewPr varScale="1">
      <p:scale>
        <a:sx n="170" d="200"/>
        <a:sy n="170" d="200"/>
      </p:scale>
      <p:origin x="0" y="-1499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43" d="100"/>
        <a:sy n="143" d="100"/>
      </p:scale>
      <p:origin x="0" y="0"/>
    </p:cViewPr>
  </p:sorterViewPr>
  <p:notesViewPr>
    <p:cSldViewPr>
      <p:cViewPr varScale="1">
        <p:scale>
          <a:sx n="78" d="100"/>
          <a:sy n="78" d="100"/>
        </p:scale>
        <p:origin x="3856" y="184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63" Type="http://schemas.openxmlformats.org/officeDocument/2006/relationships/slide" Target="slides/slide53.xml"/><Relationship Id="rId68" Type="http://schemas.openxmlformats.org/officeDocument/2006/relationships/slide" Target="slides/slide58.xml"/><Relationship Id="rId84" Type="http://schemas.openxmlformats.org/officeDocument/2006/relationships/commentAuthors" Target="commentAuthors.xml"/><Relationship Id="rId89" Type="http://schemas.openxmlformats.org/officeDocument/2006/relationships/customXml" Target="../customXml/item1.xml"/><Relationship Id="rId16" Type="http://schemas.openxmlformats.org/officeDocument/2006/relationships/slide" Target="slides/slide6.xml"/><Relationship Id="rId11" Type="http://schemas.openxmlformats.org/officeDocument/2006/relationships/slide" Target="slides/slide1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74" Type="http://schemas.openxmlformats.org/officeDocument/2006/relationships/slide" Target="slides/slide64.xml"/><Relationship Id="rId79" Type="http://schemas.openxmlformats.org/officeDocument/2006/relationships/slide" Target="slides/slide69.xml"/><Relationship Id="rId5" Type="http://schemas.openxmlformats.org/officeDocument/2006/relationships/slideMaster" Target="slideMasters/slideMaster5.xml"/><Relationship Id="rId90" Type="http://schemas.openxmlformats.org/officeDocument/2006/relationships/customXml" Target="../customXml/item2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slide" Target="slides/slide54.xml"/><Relationship Id="rId69" Type="http://schemas.openxmlformats.org/officeDocument/2006/relationships/slide" Target="slides/slide59.xml"/><Relationship Id="rId77" Type="http://schemas.openxmlformats.org/officeDocument/2006/relationships/slide" Target="slides/slide67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1.xml"/><Relationship Id="rId72" Type="http://schemas.openxmlformats.org/officeDocument/2006/relationships/slide" Target="slides/slide62.xml"/><Relationship Id="rId80" Type="http://schemas.openxmlformats.org/officeDocument/2006/relationships/slide" Target="slides/slide70.xml"/><Relationship Id="rId85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67" Type="http://schemas.openxmlformats.org/officeDocument/2006/relationships/slide" Target="slides/slide5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slide" Target="slides/slide52.xml"/><Relationship Id="rId70" Type="http://schemas.openxmlformats.org/officeDocument/2006/relationships/slide" Target="slides/slide60.xml"/><Relationship Id="rId75" Type="http://schemas.openxmlformats.org/officeDocument/2006/relationships/slide" Target="slides/slide65.xml"/><Relationship Id="rId83" Type="http://schemas.openxmlformats.org/officeDocument/2006/relationships/tags" Target="tags/tag1.xml"/><Relationship Id="rId88" Type="http://schemas.openxmlformats.org/officeDocument/2006/relationships/tableStyles" Target="tableStyles.xml"/><Relationship Id="rId91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73" Type="http://schemas.openxmlformats.org/officeDocument/2006/relationships/slide" Target="slides/slide63.xml"/><Relationship Id="rId78" Type="http://schemas.openxmlformats.org/officeDocument/2006/relationships/slide" Target="slides/slide68.xml"/><Relationship Id="rId81" Type="http://schemas.openxmlformats.org/officeDocument/2006/relationships/notesMaster" Target="notesMasters/notesMaster1.xml"/><Relationship Id="rId86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39" Type="http://schemas.openxmlformats.org/officeDocument/2006/relationships/slide" Target="slides/slide29.xml"/><Relationship Id="rId34" Type="http://schemas.openxmlformats.org/officeDocument/2006/relationships/slide" Target="slides/slide24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76" Type="http://schemas.openxmlformats.org/officeDocument/2006/relationships/slide" Target="slides/slide66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1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19.xml"/><Relationship Id="rId24" Type="http://schemas.openxmlformats.org/officeDocument/2006/relationships/slide" Target="slides/slide14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66" Type="http://schemas.openxmlformats.org/officeDocument/2006/relationships/slide" Target="slides/slide56.xml"/><Relationship Id="rId87" Type="http://schemas.openxmlformats.org/officeDocument/2006/relationships/theme" Target="theme/theme1.xml"/><Relationship Id="rId61" Type="http://schemas.openxmlformats.org/officeDocument/2006/relationships/slide" Target="slides/slide51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9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595891030862518E-2"/>
          <c:y val="3.2249906261717289E-2"/>
          <c:w val="0.67799918544664672"/>
          <c:h val="0.8497343457067866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-MRD &lt;10-6 (%)</c:v>
                </c:pt>
              </c:strCache>
            </c:strRef>
          </c:tx>
          <c:spPr>
            <a:solidFill>
              <a:srgbClr val="5CD462"/>
            </a:solidFill>
            <a:ln w="19050">
              <a:solidFill>
                <a:schemeClr val="tx1"/>
              </a:solidFill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4B7-4A7D-9839-F921F998813C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C4B7-4A7D-9839-F921F998813C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C4B7-4A7D-9839-F921F998813C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8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C4B7-4A7D-9839-F921F99881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79</c:v>
                </c:pt>
                <c:pt idx="1">
                  <c:v>64</c:v>
                </c:pt>
                <c:pt idx="2">
                  <c:v>85</c:v>
                </c:pt>
                <c:pt idx="3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C89-4731-8F0F-A84FF56ADFA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MRD &gt;/= 10-6 to &lt;10-5 (%)</c:v>
                </c:pt>
              </c:strCache>
            </c:strRef>
          </c:tx>
          <c:spPr>
            <a:solidFill>
              <a:srgbClr val="63B9E0"/>
            </a:solidFill>
            <a:ln w="19050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9</c:v>
                </c:pt>
                <c:pt idx="1">
                  <c:v>12</c:v>
                </c:pt>
                <c:pt idx="2">
                  <c:v>8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C89-4731-8F0F-A84FF56ADFA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RD &gt;/= 10-5 to &lt;10-4 (%)</c:v>
                </c:pt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9050">
              <a:solidFill>
                <a:schemeClr val="tx1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E699"/>
              </a:solidFill>
              <a:ln w="19050">
                <a:solidFill>
                  <a:schemeClr val="tx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36F-4176-AA44-C6F1A146621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5</c:v>
                </c:pt>
                <c:pt idx="1">
                  <c:v>15</c:v>
                </c:pt>
                <c:pt idx="2">
                  <c:v>7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C89-4731-8F0F-A84FF56ADFA9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RD &gt;/= 10-4 (%)</c:v>
                </c:pt>
              </c:strCache>
            </c:strRef>
          </c:tx>
          <c:spPr>
            <a:solidFill>
              <a:srgbClr val="FF5353"/>
            </a:solidFill>
            <a:ln w="19050">
              <a:solidFill>
                <a:schemeClr val="tx1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6</c:v>
                </c:pt>
                <c:pt idx="1">
                  <c:v>9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C89-4731-8F0F-A84FF56ADFA9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issed sample</c:v>
                </c:pt>
              </c:strCache>
            </c:strRef>
          </c:tx>
          <c:spPr>
            <a:solidFill>
              <a:schemeClr val="accent5"/>
            </a:solidFill>
            <a:ln w="19050">
              <a:solidFill>
                <a:srgbClr val="000000">
                  <a:alpha val="98000"/>
                </a:srgbClr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End of Cycle 7 (PB) (n=66)</c:v>
                </c:pt>
                <c:pt idx="1">
                  <c:v>End of Cycle 7 (BM) (n=66)</c:v>
                </c:pt>
                <c:pt idx="2">
                  <c:v>End of Cycle 13 (PB) (n=41)</c:v>
                </c:pt>
                <c:pt idx="3">
                  <c:v>End of Cycle 13 (BM) (n=41)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1</c:v>
                </c:pt>
                <c:pt idx="3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0C-4EFB-A970-1A49DC39CF20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200"/>
        <c:overlap val="100"/>
        <c:axId val="8586879"/>
        <c:axId val="2096683647"/>
      </c:barChart>
      <c:catAx>
        <c:axId val="858687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96683647"/>
        <c:crosses val="autoZero"/>
        <c:auto val="1"/>
        <c:lblAlgn val="ctr"/>
        <c:lblOffset val="100"/>
        <c:noMultiLvlLbl val="0"/>
      </c:catAx>
      <c:valAx>
        <c:axId val="2096683647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586879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73795049325730833"/>
          <c:y val="3.0553685790896602E-2"/>
          <c:w val="0.25745180559326636"/>
          <c:h val="0.305127414073926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2677588979042854"/>
          <c:y val="4.673859534427869E-2"/>
          <c:w val="0.69922203672246264"/>
          <c:h val="0.8138957490530733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C379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BBB-42DD-81FB-20CF1A569E1C}"/>
              </c:ext>
            </c:extLst>
          </c:dPt>
          <c:dPt>
            <c:idx val="1"/>
            <c:invertIfNegative val="0"/>
            <c:bubble3D val="0"/>
            <c:spPr>
              <a:solidFill>
                <a:srgbClr val="009FB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BBB-42DD-81FB-20CF1A569E1C}"/>
              </c:ext>
            </c:extLst>
          </c:dPt>
          <c:dPt>
            <c:idx val="2"/>
            <c:invertIfNegative val="0"/>
            <c:bubble3D val="0"/>
            <c:spPr>
              <a:solidFill>
                <a:srgbClr val="138967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BBB-42DD-81FB-20CF1A569E1C}"/>
              </c:ext>
            </c:extLst>
          </c:dPt>
          <c:dPt>
            <c:idx val="3"/>
            <c:invertIfNegative val="0"/>
            <c:bubble3D val="0"/>
            <c:spPr>
              <a:solidFill>
                <a:srgbClr val="BA442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BBB-42DD-81FB-20CF1A569E1C}"/>
              </c:ext>
            </c:extLst>
          </c:dPt>
          <c:dPt>
            <c:idx val="4"/>
            <c:invertIfNegative val="0"/>
            <c:bubble3D val="0"/>
            <c:spPr>
              <a:solidFill>
                <a:srgbClr val="59545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BBB-42DD-81FB-20CF1A569E1C}"/>
              </c:ext>
            </c:extLst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45</c:v>
                </c:pt>
                <c:pt idx="1">
                  <c:v>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BBB-42DD-81FB-20CF1A569E1C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127796800"/>
        <c:axId val="2127797632"/>
      </c:barChart>
      <c:catAx>
        <c:axId val="2127796800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ysClr val="windowText" lastClr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27797632"/>
        <c:crosses val="autoZero"/>
        <c:auto val="1"/>
        <c:lblAlgn val="ctr"/>
        <c:lblOffset val="100"/>
        <c:noMultiLvlLbl val="0"/>
      </c:catAx>
      <c:valAx>
        <c:axId val="212779763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rgbClr val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rgbClr val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127796800"/>
        <c:crosses val="autoZero"/>
        <c:crossBetween val="between"/>
      </c:valAx>
      <c:spPr>
        <a:noFill/>
        <a:ln>
          <a:solidFill>
            <a:sysClr val="window" lastClr="FFFFF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6978399760358479E-2"/>
          <c:y val="0.14722439261914064"/>
          <c:w val="0.91256832521205078"/>
          <c:h val="0.6297302857185995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uMRD4 rate in blood</c:v>
                </c:pt>
              </c:strCache>
            </c:strRef>
          </c:tx>
          <c:spPr>
            <a:solidFill>
              <a:srgbClr val="DF603A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DL2 + ibrutinib set 
(n = 51)</c:v>
                </c:pt>
                <c:pt idx="1">
                  <c:v>DL2 + ibrutinib set with CR/CRi
(n = 23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86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CF-44CC-97A5-B5C62BB97C7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uMRD4 rate in marrow</c:v>
                </c:pt>
              </c:strCache>
            </c:strRef>
          </c:tx>
          <c:spPr>
            <a:solidFill>
              <a:srgbClr val="1DCE9B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DL2 + ibrutinib set 
(n = 51)</c:v>
                </c:pt>
                <c:pt idx="1">
                  <c:v>DL2 + ibrutinib set with CR/CRi
(n = 23)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84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0CF-44CC-97A5-B5C62BB97C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-30"/>
        <c:axId val="13845631"/>
        <c:axId val="13862911"/>
      </c:barChart>
      <c:catAx>
        <c:axId val="13845631"/>
        <c:scaling>
          <c:orientation val="minMax"/>
        </c:scaling>
        <c:delete val="0"/>
        <c:axPos val="b"/>
        <c:numFmt formatCode="General" sourceLinked="1"/>
        <c:majorTickMark val="in"/>
        <c:minorTickMark val="none"/>
        <c:tickLblPos val="nextTo"/>
        <c:spPr>
          <a:noFill/>
          <a:ln w="9525" cap="flat" cmpd="sng" algn="ctr">
            <a:solidFill>
              <a:srgbClr val="595454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862911"/>
        <c:crosses val="autoZero"/>
        <c:auto val="1"/>
        <c:lblAlgn val="ctr"/>
        <c:lblOffset val="100"/>
        <c:noMultiLvlLbl val="0"/>
      </c:catAx>
      <c:valAx>
        <c:axId val="13862911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38456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2655936767466774"/>
          <c:y val="4.4737313192895957E-2"/>
          <c:w val="0.86097033140996404"/>
          <c:h val="0.71839222358537058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de 1</c:v>
                </c:pt>
              </c:strCache>
            </c:strRef>
          </c:tx>
          <c:spPr>
            <a:solidFill>
              <a:srgbClr val="B2E5F7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744E202-431B-4949-B42F-BE79F25CE97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BE8F-4222-A80B-6DB94E6802A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3021A9D-AB54-44C3-9BCC-4D246C489BE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E8F-4222-A80B-6DB94E6802A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32D2C7B-EC67-4317-A59A-8787D55CDA6A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E8F-4222-A80B-6DB94E6802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6DC29668-ED8A-47E0-B300-D5D5B0972F3C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E8F-4222-A80B-6DB94E6802A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82705294-941D-4872-82C9-A0621E79C46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BE8F-4222-A80B-6DB94E6802A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EB9D10B6-73EA-482F-B349-BFF1124CEFBF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E8F-4222-A80B-6DB94E6802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ep-up
dose 1
N=17</c:v>
                </c:pt>
                <c:pt idx="1">
                  <c:v>Step-up
dose 2 
n=16</c:v>
                </c:pt>
                <c:pt idx="2">
                  <c:v>Step-up 
dose 3
n=16</c:v>
                </c:pt>
                <c:pt idx="3">
                  <c:v>First full dose 
n=15</c:v>
                </c:pt>
                <c:pt idx="4">
                  <c:v>Second full dose 
n=13</c:v>
                </c:pt>
                <c:pt idx="5">
                  <c:v>Third full dose+ 
n=12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23.5</c:v>
                </c:pt>
                <c:pt idx="1">
                  <c:v>12.5</c:v>
                </c:pt>
                <c:pt idx="2">
                  <c:v>31.3</c:v>
                </c:pt>
                <c:pt idx="3">
                  <c:v>46.7</c:v>
                </c:pt>
                <c:pt idx="4">
                  <c:v>30.8</c:v>
                </c:pt>
                <c:pt idx="5">
                  <c:v>33.29999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E8F-4222-A80B-6DB94E6802AE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ade 2</c:v>
                </c:pt>
              </c:strCache>
            </c:strRef>
          </c:tx>
          <c:spPr>
            <a:solidFill>
              <a:srgbClr val="66CCF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1BFBB34-551F-483B-930D-E2EBFB88CAE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BE8F-4222-A80B-6DB94E6802AE}"/>
                </c:ext>
              </c:extLst>
            </c:dLbl>
            <c:dLbl>
              <c:idx val="1"/>
              <c:layout>
                <c:manualLayout>
                  <c:x val="0"/>
                  <c:y val="-5.0636574074074077E-2"/>
                </c:manualLayout>
              </c:layout>
              <c:tx>
                <c:rich>
                  <a:bodyPr/>
                  <a:lstStyle/>
                  <a:p>
                    <a:fld id="{18B5051F-83F8-496E-9B82-68FB8CB3FD89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BE8F-4222-A80B-6DB94E6802A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79EB006E-C929-4C1E-9B17-B7CB476CF963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BE8F-4222-A80B-6DB94E6802A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49D8930D-55FC-42FB-A89D-76A5E10C91C8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BE8F-4222-A80B-6DB94E6802AE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1176B0DE-AB7E-4DCE-8ECD-212E4495B5B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BE8F-4222-A80B-6DB94E6802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Step-up
dose 1
N=17</c:v>
                </c:pt>
                <c:pt idx="1">
                  <c:v>Step-up
dose 2 
n=16</c:v>
                </c:pt>
                <c:pt idx="2">
                  <c:v>Step-up 
dose 3
n=16</c:v>
                </c:pt>
                <c:pt idx="3">
                  <c:v>First full dose 
n=15</c:v>
                </c:pt>
                <c:pt idx="4">
                  <c:v>Second full dose 
n=13</c:v>
                </c:pt>
                <c:pt idx="5">
                  <c:v>Third full dose+ 
n=12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1">
                  <c:v>6.3</c:v>
                </c:pt>
                <c:pt idx="3">
                  <c:v>13.3</c:v>
                </c:pt>
                <c:pt idx="4">
                  <c:v>7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BE8F-4222-A80B-6DB94E6802AE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8"/>
        <c:overlap val="100"/>
        <c:axId val="1985389680"/>
        <c:axId val="2031082048"/>
      </c:barChart>
      <c:catAx>
        <c:axId val="1985389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31082048"/>
        <c:crosses val="autoZero"/>
        <c:auto val="1"/>
        <c:lblAlgn val="ctr"/>
        <c:lblOffset val="50"/>
        <c:noMultiLvlLbl val="0"/>
      </c:catAx>
      <c:valAx>
        <c:axId val="2031082048"/>
        <c:scaling>
          <c:orientation val="minMax"/>
          <c:max val="10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85389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1427286199223681"/>
          <c:y val="2.709768700787402E-2"/>
          <c:w val="0.15623064814360602"/>
          <c:h val="0.19866966498979294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1543340736254124E-2"/>
          <c:y val="4.4737313192895957E-2"/>
          <c:w val="0.91510195840904507"/>
          <c:h val="0.6243800358739288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rade 1</c:v>
                </c:pt>
              </c:strCache>
            </c:strRef>
          </c:tx>
          <c:spPr>
            <a:solidFill>
              <a:srgbClr val="B2E5F7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D744E202-431B-4949-B42F-BE79F25CE97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.0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3D0E-43BD-9DAA-B9B96FBCA3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D3021A9D-AB54-44C3-9BCC-4D246C489BE0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3D0E-43BD-9DAA-B9B96FBCA39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6DC29668-ED8A-47E0-B300-D5D5B0972F3C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3D0E-43BD-9DAA-B9B96FBCA39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2705294-941D-4872-82C9-A0621E79C467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3D0E-43BD-9DAA-B9B96FBCA393}"/>
                </c:ext>
              </c:extLst>
            </c:dLbl>
            <c:dLbl>
              <c:idx val="4"/>
              <c:layout>
                <c:manualLayout>
                  <c:x val="-8.8141025641025647E-2"/>
                  <c:y val="-4.3390370981977622E-2"/>
                </c:manualLayout>
              </c:layout>
              <c:tx>
                <c:rich>
                  <a:bodyPr/>
                  <a:lstStyle/>
                  <a:p>
                    <a:fld id="{EB9D10B6-73EA-482F-B349-BFF1124CEFBF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3D0E-43BD-9DAA-B9B96FBCA3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ep-up
dose 1 
N=23</c:v>
                </c:pt>
                <c:pt idx="1">
                  <c:v>Step-up
dose 2 
n=22</c:v>
                </c:pt>
                <c:pt idx="2">
                  <c:v>First full dose 
n=22</c:v>
                </c:pt>
                <c:pt idx="3">
                  <c:v>Second full dose 
n=19</c:v>
                </c:pt>
                <c:pt idx="4">
                  <c:v>Third full 
dose+ 
n=16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 formatCode="0">
                  <c:v>13.043478260869565</c:v>
                </c:pt>
                <c:pt idx="1">
                  <c:v>36.4</c:v>
                </c:pt>
                <c:pt idx="2">
                  <c:v>18.2</c:v>
                </c:pt>
                <c:pt idx="3">
                  <c:v>10.5</c:v>
                </c:pt>
                <c:pt idx="4">
                  <c:v>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D0E-43BD-9DAA-B9B96FBCA3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rade 2</c:v>
                </c:pt>
              </c:strCache>
            </c:strRef>
          </c:tx>
          <c:spPr>
            <a:solidFill>
              <a:srgbClr val="66CCF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1BFBB34-551F-483B-930D-E2EBFB88CAE6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3D0E-43BD-9DAA-B9B96FBCA39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18B5051F-83F8-496E-9B82-68FB8CB3FD89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3D0E-43BD-9DAA-B9B96FBCA39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9EB006E-C929-4C1E-9B17-B7CB476CF963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3D0E-43BD-9DAA-B9B96FBCA39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49D8930D-55FC-42FB-A89D-76A5E10C91C8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D0E-43BD-9DAA-B9B96FBCA393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1176B0DE-AB7E-4DCE-8ECD-212E4495B5B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%</a:t>
                    </a:r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A-3D0E-43BD-9DAA-B9B96FBCA39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ep-up
dose 1 
N=23</c:v>
                </c:pt>
                <c:pt idx="1">
                  <c:v>Step-up
dose 2 
n=22</c:v>
                </c:pt>
                <c:pt idx="2">
                  <c:v>First full dose 
n=22</c:v>
                </c:pt>
                <c:pt idx="3">
                  <c:v>Second full dose 
n=19</c:v>
                </c:pt>
                <c:pt idx="4">
                  <c:v>Third full 
dose+ 
n=16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21.7</c:v>
                </c:pt>
                <c:pt idx="1">
                  <c:v>13.6</c:v>
                </c:pt>
                <c:pt idx="2">
                  <c:v>63.6</c:v>
                </c:pt>
                <c:pt idx="3">
                  <c:v>21.1</c:v>
                </c:pt>
                <c:pt idx="4">
                  <c:v>18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D0E-43BD-9DAA-B9B96FBCA393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Grade 3</c:v>
                </c:pt>
              </c:strCache>
            </c:strRef>
          </c:tx>
          <c:spPr>
            <a:solidFill>
              <a:srgbClr val="00A195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3D0E-43BD-9DAA-B9B96FBCA393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3D0E-43BD-9DAA-B9B96FBCA393}"/>
                </c:ext>
              </c:extLst>
            </c:dLbl>
            <c:dLbl>
              <c:idx val="2"/>
              <c:tx>
                <c:rich>
                  <a:bodyPr rot="0" spcFirstLastPara="1" vertOverflow="ellipsis" vert="horz" wrap="square" anchor="ctr" anchorCtr="1"/>
                  <a:lstStyle/>
                  <a:p>
                    <a:pPr>
                      <a:defRPr sz="1000" b="1" i="0" u="none" strike="noStrike" kern="1200" baseline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5BF0B391-5376-47FC-821A-0F423F38B6F1}" type="VALUE">
                      <a:rPr lang="en-US"/>
                      <a:pPr>
                        <a:defRPr/>
                      </a:pPr>
                      <a:t>[VALUE]</a:t>
                    </a:fld>
                    <a:r>
                      <a:rPr lang="en-US"/>
                      <a:t>%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000" b="1" i="0" u="none" strike="noStrike" kern="1200" baseline="0">
                      <a:solidFill>
                        <a:schemeClr val="tx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E-3D0E-43BD-9DAA-B9B96FBCA393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3D0E-43BD-9DAA-B9B96FBCA393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3D0E-43BD-9DAA-B9B96FBCA393}"/>
                </c:ext>
              </c:extLst>
            </c:dLbl>
            <c:spPr>
              <a:solidFill>
                <a:srgbClr val="00948E">
                  <a:alpha val="60000"/>
                </a:srgbClr>
              </a:solidFill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Step-up
dose 1 
N=23</c:v>
                </c:pt>
                <c:pt idx="1">
                  <c:v>Step-up
dose 2 
n=22</c:v>
                </c:pt>
                <c:pt idx="2">
                  <c:v>First full dose 
n=22</c:v>
                </c:pt>
                <c:pt idx="3">
                  <c:v>Second full dose 
n=19</c:v>
                </c:pt>
                <c:pt idx="4">
                  <c:v>Third full 
dose+ 
n=16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  <c:pt idx="0">
                  <c:v>0</c:v>
                </c:pt>
                <c:pt idx="1">
                  <c:v>0</c:v>
                </c:pt>
                <c:pt idx="2">
                  <c:v>18.2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3D0E-43BD-9DAA-B9B96FBCA393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88"/>
        <c:overlap val="100"/>
        <c:axId val="1985389680"/>
        <c:axId val="2031082048"/>
      </c:barChart>
      <c:catAx>
        <c:axId val="19853896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2031082048"/>
        <c:crosses val="autoZero"/>
        <c:auto val="1"/>
        <c:lblAlgn val="ctr"/>
        <c:lblOffset val="50"/>
        <c:noMultiLvlLbl val="0"/>
      </c:catAx>
      <c:valAx>
        <c:axId val="2031082048"/>
        <c:scaling>
          <c:orientation val="minMax"/>
          <c:max val="100"/>
        </c:scaling>
        <c:delete val="0"/>
        <c:axPos val="l"/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98538968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80123570178604131"/>
          <c:y val="5.4107057036195116E-3"/>
          <c:w val="0.15623064814360602"/>
          <c:h val="0.29763038194958513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 b="1">
          <a:solidFill>
            <a:schemeClr val="tx1"/>
          </a:solidFill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4191000" y="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B7CC06-35E6-42FC-8B5E-42EE52A72567}" type="datetime1">
              <a:rPr lang="en-US"/>
              <a:pPr>
                <a:defRPr/>
              </a:pPr>
              <a:t>4/16/25</a:t>
            </a:fld>
            <a:endParaRPr lang="en-US"/>
          </a:p>
        </p:txBody>
      </p:sp>
      <p:sp>
        <p:nvSpPr>
          <p:cNvPr id="10035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304800" y="9220200"/>
            <a:ext cx="33528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-72" charset="2"/>
              <a:buNone/>
              <a:defRPr sz="1200">
                <a:latin typeface="Arial" pitchFamily="-72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035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86200" y="9220200"/>
            <a:ext cx="32004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0" hangingPunct="0">
              <a:lnSpc>
                <a:spcPct val="93000"/>
              </a:lnSpc>
              <a:buClr>
                <a:srgbClr val="000000"/>
              </a:buClr>
              <a:buSzPct val="45000"/>
              <a:buFont typeface="Wingdings" pitchFamily="96" charset="2"/>
              <a:buNone/>
              <a:defRPr sz="1200">
                <a:latin typeface="Arial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82FF3A5-13B6-4316-814F-1F1469E14E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63338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82" name="Rectangle 1"/>
          <p:cNvSpPr>
            <a:spLocks noGrp="1" noRot="1" noChangeAspect="1" noChangeArrowheads="1"/>
          </p:cNvSpPr>
          <p:nvPr>
            <p:ph type="sldImg"/>
          </p:nvPr>
        </p:nvSpPr>
        <p:spPr bwMode="auto">
          <a:xfrm>
            <a:off x="823913" y="1006475"/>
            <a:ext cx="6121400" cy="344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sp>
      <p:sp>
        <p:nvSpPr>
          <p:cNvPr id="2050" name="Rectangle 2"/>
          <p:cNvSpPr>
            <a:spLocks noGrp="1" noChangeArrowheads="1"/>
          </p:cNvSpPr>
          <p:nvPr>
            <p:ph type="body"/>
          </p:nvPr>
        </p:nvSpPr>
        <p:spPr bwMode="auto">
          <a:xfrm>
            <a:off x="1185863" y="4787900"/>
            <a:ext cx="5405437" cy="3824288"/>
          </a:xfrm>
          <a:prstGeom prst="rect">
            <a:avLst/>
          </a:prstGeom>
          <a:noFill/>
          <a:ln w="9525">
            <a:noFill/>
            <a:round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842158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MS PGothic" charset="0"/>
      </a:defRPr>
    </a:lvl1pPr>
    <a:lvl2pPr marL="37931725" indent="-37474525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pitchFamily="-72" charset="0"/>
      <a:defRPr sz="1200" kern="1200">
        <a:solidFill>
          <a:srgbClr val="000000"/>
        </a:solidFill>
        <a:latin typeface="Times New Roman" pitchFamily="18" charset="0"/>
        <a:ea typeface="MS PGothic" pitchFamily="34" charset="-128"/>
        <a:cs typeface="+mn-cs"/>
      </a:defRPr>
    </a:lvl2pPr>
    <a:lvl3pPr marL="11430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ＭＳ Ｐゴシック" pitchFamily="-72" charset="-128"/>
      </a:defRPr>
    </a:lvl3pPr>
    <a:lvl4pPr marL="16002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4pPr>
    <a:lvl5pPr marL="2057400" indent="-228600" algn="l" defTabSz="455613" rtl="0" eaLnBrk="0" fontAlgn="base" hangingPunct="0">
      <a:spcBef>
        <a:spcPct val="30000"/>
      </a:spcBef>
      <a:spcAft>
        <a:spcPct val="0"/>
      </a:spcAft>
      <a:buClr>
        <a:srgbClr val="000000"/>
      </a:buClr>
      <a:buSzPct val="100000"/>
      <a:buFont typeface="Times New Roman" charset="0"/>
      <a:defRPr sz="1200" kern="1200">
        <a:solidFill>
          <a:srgbClr val="000000"/>
        </a:solidFill>
        <a:latin typeface="Times New Roman" pitchFamily="18" charset="0"/>
        <a:ea typeface="ＭＳ Ｐゴシック" pitchFamily="-123" charset="-128"/>
        <a:cs typeface="+mn-cs"/>
      </a:defRPr>
    </a:lvl5pPr>
    <a:lvl6pPr marL="2285289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47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05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62" algn="l" defTabSz="914115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9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0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2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5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6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9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CAFFA3-EE52-6C09-AAC0-F616B7382C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7">
            <a:extLst>
              <a:ext uri="{FF2B5EF4-FFF2-40B4-BE49-F238E27FC236}">
                <a16:creationId xmlns:a16="http://schemas.microsoft.com/office/drawing/2014/main" id="{75220956-20AA-AE30-1C0E-881367DFEB85}"/>
              </a:ext>
            </a:extLst>
          </p:cNvPr>
          <p:cNvSpPr>
            <a:spLocks noGrp="1" noChangeArrowheads="1"/>
          </p:cNvSpPr>
          <p:nvPr>
            <p:ph type="sldNum" sz="quarter" idx="4294967295"/>
          </p:nvPr>
        </p:nvSpPr>
        <p:spPr bwMode="auto">
          <a:xfrm>
            <a:off x="4402138" y="9553575"/>
            <a:ext cx="3368675" cy="50323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101882" tIns="50941" rIns="101882" bIns="50941">
            <a:prstTxWarp prst="textNoShape">
              <a:avLst/>
            </a:prstTxWarp>
          </a:bodyPr>
          <a:lstStyle/>
          <a:p>
            <a:pPr marL="0" marR="0" lvl="0" indent="0" algn="ctr" defTabSz="455613" rtl="0" eaLnBrk="0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fld id="{DA2F918B-534C-4494-B5B9-E33C0B6FBC7A}" type="slidenum">
              <a:rPr kumimoji="0" lang="en-US" sz="3600" b="1" i="0" u="none" strike="noStrike" kern="1200" cap="none" spc="0" normalizeH="0" baseline="0" noProof="0">
                <a:ln>
                  <a:noFill/>
                </a:ln>
                <a:solidFill>
                  <a:srgbClr val="C0504D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pPr marL="0" marR="0" lvl="0" indent="0" algn="ctr" defTabSz="455613" rtl="0" eaLnBrk="0" fontAlgn="base" latinLnBrk="0" hangingPunct="0">
                <a:lnSpc>
                  <a:spcPct val="93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45000"/>
                <a:buFont typeface="Wingdings" pitchFamily="-72" charset="2"/>
                <a:buNone/>
                <a:tabLst/>
                <a:defRPr/>
              </a:pPr>
              <a:t>1</a:t>
            </a:fld>
            <a:endParaRPr kumimoji="0" lang="en-US" sz="3600" b="1" i="0" u="none" strike="noStrike" kern="1200" cap="none" spc="0" normalizeH="0" baseline="0" noProof="0">
              <a:ln>
                <a:noFill/>
              </a:ln>
              <a:solidFill>
                <a:srgbClr val="C0504D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74754" name="Rectangle 2">
            <a:extLst>
              <a:ext uri="{FF2B5EF4-FFF2-40B4-BE49-F238E27FC236}">
                <a16:creationId xmlns:a16="http://schemas.microsoft.com/office/drawing/2014/main" id="{922FF8C3-287B-B14C-225B-FE40A6C92C2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23913" y="1006475"/>
            <a:ext cx="6121400" cy="3444875"/>
          </a:xfrm>
        </p:spPr>
      </p:sp>
      <p:sp>
        <p:nvSpPr>
          <p:cNvPr id="74755" name="Rectangle 3">
            <a:extLst>
              <a:ext uri="{FF2B5EF4-FFF2-40B4-BE49-F238E27FC236}">
                <a16:creationId xmlns:a16="http://schemas.microsoft.com/office/drawing/2014/main" id="{B2B93B9D-6763-D0FF-688A-CE1639E54E4E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en-US">
              <a:latin typeface="Times New Roman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8558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691A60-BCD7-89F0-68CF-35C3F13E813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D5720D8-2D41-4655-70E0-96DDE2E3C2A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68FC6E9-678E-F686-266E-83A300D0BE9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23129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133C2FE-4DCC-1192-1252-9800312FD5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EDA05E4-993C-BAD6-E655-A76B7DEC7D6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B1222BE-9DE3-BF38-32D6-0936F7441E2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30805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D78BD31-14E5-D380-2178-02446B165A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66FBB4A-59A7-ADE1-6875-2BB8F9B330C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ADFD1E2-6E19-923F-6FF2-D4014FBA8E3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2671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3C9C3BF-CEE0-F491-9288-1AD1822D94D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AE6E486-AC59-1F31-C9E0-7AE9B7873F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67B9BD5-33F8-70D3-EC2E-BD4B472082C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33846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67454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8C1F126-9D6C-A8A4-F1F0-D757BA57C3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8B6D67-BFC8-DA25-61BC-3572CD60739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B17D04D-BF46-D8D2-FDA9-80B4A771C4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8527172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E360A0A-15D1-BFF6-58A7-DC1D5B29D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A4B04AE-0A5A-7327-AF4A-1172B5100A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4EE6BE9-B9B2-7413-50C0-45EA4FCE340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516760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E0A70A-CC91-48A7-8969-73652A2BD5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919129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ED25BB-BCB3-45AE-5F26-122E3617B5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742214-7422-2F6B-820B-D566A1B4A18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1C306E2-2A6E-0FE2-9493-6A81662C51C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853013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4A74908-6859-0AD2-A258-8D3FB39F025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F58A87-D127-B376-CF1E-869D9941DC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E948504-D49F-B0B5-9E45-84F3BFF22B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2734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9791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0D4A73-554C-9187-E5A6-48A27ADA9F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E2DB9D-B554-8540-4272-E2AFAC3D66A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855BB16C-4B23-62B8-A564-A9723547819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713203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EA2B67-C041-4BF5-9C1D-53C4F547EA8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00692107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941B38-85A8-446A-54B1-068BA2D3BA5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EBC6C1E-D863-73CD-7E68-1CEDC9745DF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3FF4798-F2A3-82B6-6993-0E411BA44BC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60504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Symbol" panose="05050102010706020507" pitchFamily="18" charset="2"/>
              <a:buNone/>
            </a:pPr>
            <a:endParaRPr lang="en-US" sz="1800" kern="100" dirty="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BFAA9E6-400A-E640-A318-E520058423C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Geneva" charset="0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43926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1680EC4-8456-B403-FF3C-5E0FDD69A51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3856B0C-E0FE-E5D5-1C52-EEF9FE30E6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2EB32E9-9303-E40D-D8E2-74D72BB6F9D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23679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398B1FD-EDE5-0DA0-7DB3-8E75056830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139AF3D-C3B6-5FE7-4359-A42B2868310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15233B3-F2F0-1AD5-FFDD-74750E6455C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093381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BFF082-5E70-7695-C172-C01DC24A67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300091D-29DF-08F0-9C47-0B5AA702889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370E391-8732-8E05-8AEA-86CD80E60CB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93465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>
              <a:lnSpc>
                <a:spcPct val="115000"/>
              </a:lnSpc>
              <a:spcAft>
                <a:spcPts val="800"/>
              </a:spcAft>
              <a:buFont typeface="Symbol" panose="05050102010706020507" pitchFamily="18" charset="2"/>
              <a:buNone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A453B76-649C-1047-AB39-06CD9CC3743F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/16/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145A613-7C39-204D-9E84-E8628D5964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1644067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A72254C-1D75-0D2C-A626-D8CFE685619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73B3848-1848-C5DA-8243-DD2D9D0DCD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CED5CD-CADF-9E14-9922-2AAE0D65A84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0289986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6426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337070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7D108-58BA-B47C-ACCB-F4F0B23CDA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E7B6FA2-9ABA-3D4D-141C-FEB1D553937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0C18CB4-2EA5-EBDF-4E89-B80EF796F6D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6409533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 marL="0" marR="0" lvl="0" indent="0" algn="l" defTabSz="9076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iwCLL Upate - Leuk. Rsrch Mtg.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0763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6904992-98B2-43EF-8AFA-B426A3D09A69}" type="slidenum"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90763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6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256458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F2F20E8-E891-B6B7-60DE-ED9385C65D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9B4451-1EE1-057B-31C5-13DF0FE797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5C17960-AA5E-DD47-078D-47AFE9E1CBC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0492017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A98AE-42FA-45F9-A769-C2AA4F1BDC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05537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857093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5ADF1FB-0A77-79B6-520C-867FA5391FE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BE5A0BC-9558-216F-EBDC-749896471C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2916EE7-DCFF-2CC0-BF9F-A9A56812185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1765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6FB8BDB-0503-5BD5-F261-53AA0A5002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700BAB-225B-E093-C526-6BE2D089807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D718A90-8288-416E-FF83-C4C2433095F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554083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E0A70A-CC91-48A7-8969-73652A2BD5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470023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0656CB-8AB1-EF75-53F5-3FAB9A6333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0FA2CD4-7DAB-20E6-C7D8-D3AC422996D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04868A-E6B1-B8B7-C14B-27C94336B90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709454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2E0A70A-CC91-48A7-8969-73652A2BD5B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16146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C35BB47-F8D9-0C87-CA40-F739DAD105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5353964-BF64-7DD7-B8E8-922F3B5F504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B05AFD08-2CB8-1D75-BB30-3EAF7E220F8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240387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1041A1-6B9F-9D25-568C-58C31B65890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4CF129A-204B-C84C-F59D-9948EBD056C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B52A26A-D11C-1501-7DF6-07C5E572D70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0420921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6A98AE-42FA-45F9-A769-C2AA4F1BDC7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788634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FDEAC9-BF31-EC7F-6605-1E7070F21B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5EEE592-4372-35C3-5467-6BEEFF89C4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6919EE9-75A6-8D20-BA13-A9547B459BF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481043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CEB354-F3CD-3B4B-BE13-C98432B1FB6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pPr marL="0" marR="0" lvl="0" indent="0" algn="r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ＭＳ Ｐゴシック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713115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8075314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180ADA3-3C70-7B07-173E-CA588BD7FBA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0270E297-90B2-9FC4-E1F9-2034D74FFD1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A281121B-4869-D203-CEA8-531C357EA67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911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5D1796-BEC1-7A20-BE64-F2A6DC7169E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DCA5DD-1E72-336C-AB1A-16BE84CBEAD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DF59FCC-F40B-CB38-B20E-68598F91196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57249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80D036-2A19-06AC-079F-C8161E9E5A7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EE4151D-65AC-CF05-AFA9-29F09FE4423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7C096DC-9D63-CAD8-D250-5B934D4E16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88500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13B3E-1ED4-93F9-A873-0E6C59700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F2D704-BF89-2CBB-0DAD-BB2C405C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6AA70A-F5BD-2E73-E703-89D829DDA5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84580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5C13B3E-1ED4-93F9-A873-0E6C59700F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AF2D704-BF89-2CBB-0DAD-BB2C405CD8E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026AA70A-F5BD-2E73-E703-89D829DDA5E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16233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15B9220-3BA9-48E4-0B57-71C9988BDA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C6C4826-0077-A7BF-208F-F3CF1858D2E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F5AF69E-A8E7-E3CA-2F6C-4263A2064A7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701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7.png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5.xml"/><Relationship Id="rId1" Type="http://schemas.openxmlformats.org/officeDocument/2006/relationships/tags" Target="../tags/tag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4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6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7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8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9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20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0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49847" y="2069902"/>
            <a:ext cx="11425767" cy="162083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9496" y="4005064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6280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15360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8468"/>
            <a:ext cx="12192000" cy="715963"/>
          </a:xfrm>
        </p:spPr>
        <p:txBody>
          <a:bodyPr>
            <a:normAutofit/>
          </a:bodyPr>
          <a:lstStyle>
            <a:lvl1pPr>
              <a:defRPr sz="4267" b="1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0817408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4321229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47DBD6F-3CB8-724A-8541-1DE586DAD4D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7C8810-3500-704E-B4E4-F4F86F60B2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B641679-88E9-2B4E-9BF0-F7212CA91F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C7E6CD5-587D-DC40-887E-06B51FFF66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96335" y="1161829"/>
            <a:ext cx="11599333" cy="409746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C713F504-A04C-8947-BD8F-04D16BB2B19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96335" y="5890643"/>
            <a:ext cx="11599333" cy="607205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Referen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2244446971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/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4824C78-74F1-495C-8058-FA7C650E76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B10FB83-7BBE-8141-9F59-8BC3AD0B0C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4992" y="6561342"/>
            <a:ext cx="627017" cy="323167"/>
          </a:xfrm>
          <a:prstGeom prst="rect">
            <a:avLst/>
          </a:prstGeom>
        </p:spPr>
        <p:txBody>
          <a:bodyPr vert="horz" lIns="91440" tIns="91440" rIns="182880" bIns="91440" rtlCol="0" anchor="b"/>
          <a:lstStyle>
            <a:lvl1pPr algn="r">
              <a:defRPr sz="675" b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F2D69845-B105-8841-B94D-80F01975F1D3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4468992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+ Head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7315E7D-D716-E648-B800-EA984E72A5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3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7CE242A-1B9D-3644-AEBB-2DC2F5826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6" y="346807"/>
            <a:ext cx="10476723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7BD09DA-55FB-C646-9687-9A5FA9683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6" y="2078587"/>
            <a:ext cx="10476723" cy="3552192"/>
          </a:xfrm>
          <a:prstGeom prst="rect">
            <a:avLst/>
          </a:prstGeom>
        </p:spPr>
        <p:txBody>
          <a:bodyPr/>
          <a:lstStyle>
            <a:lvl1pPr marL="309547" marR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15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309547" marR="0" lvl="0" indent="-309547" algn="l" defTabSz="514326" rtl="0" eaLnBrk="1" fontAlgn="auto" latinLnBrk="0" hangingPunct="1">
              <a:lnSpc>
                <a:spcPct val="100000"/>
              </a:lnSpc>
              <a:spcBef>
                <a:spcPts val="751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285473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9"/>
          <p:cNvSpPr>
            <a:spLocks noGrp="1"/>
          </p:cNvSpPr>
          <p:nvPr>
            <p:ph type="title" hasCustomPrompt="1"/>
          </p:nvPr>
        </p:nvSpPr>
        <p:spPr>
          <a:xfrm>
            <a:off x="609602" y="356660"/>
            <a:ext cx="8228572" cy="530243"/>
          </a:xfrm>
        </p:spPr>
        <p:txBody>
          <a:bodyPr lIns="0" tIns="0" rIns="0" bIns="0">
            <a:noAutofit/>
          </a:bodyPr>
          <a:lstStyle>
            <a:lvl1pPr algn="l">
              <a:defRPr sz="2400"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9" name="Untertitel 2"/>
          <p:cNvSpPr>
            <a:spLocks noGrp="1"/>
          </p:cNvSpPr>
          <p:nvPr>
            <p:ph type="subTitle" idx="13"/>
          </p:nvPr>
        </p:nvSpPr>
        <p:spPr>
          <a:xfrm>
            <a:off x="610286" y="932723"/>
            <a:ext cx="8228572" cy="356660"/>
          </a:xfrm>
        </p:spPr>
        <p:txBody>
          <a:bodyPr lIns="0" tIns="0" rIns="0" bIns="36000" anchor="b" anchorCtr="0">
            <a:noAutofit/>
          </a:bodyPr>
          <a:lstStyle>
            <a:lvl1pPr marL="0" indent="0" algn="l">
              <a:buNone/>
              <a:defRPr sz="1867">
                <a:solidFill>
                  <a:schemeClr val="tx2"/>
                </a:solidFill>
              </a:defRPr>
            </a:lvl1pPr>
            <a:lvl2pPr marL="48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600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401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201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001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880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3602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8402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855549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9695" y="151638"/>
            <a:ext cx="10990479" cy="991363"/>
          </a:xfrm>
          <a:prstGeom prst="rect">
            <a:avLst/>
          </a:prstGeom>
        </p:spPr>
        <p:txBody>
          <a:bodyPr lIns="121917" tIns="60958" rIns="121917" bIns="60958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58726335"/>
      </p:ext>
    </p:extLst>
  </p:cSld>
  <p:clrMapOvr>
    <a:masterClrMapping/>
  </p:clrMapOvr>
  <p:transition spd="med"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Placeholder 15"/>
          <p:cNvSpPr>
            <a:spLocks noGrp="1"/>
          </p:cNvSpPr>
          <p:nvPr>
            <p:ph type="title" hasCustomPrompt="1"/>
          </p:nvPr>
        </p:nvSpPr>
        <p:spPr>
          <a:xfrm>
            <a:off x="732430" y="81888"/>
            <a:ext cx="10727141" cy="1143000"/>
          </a:xfrm>
          <a:prstGeom prst="rect">
            <a:avLst/>
          </a:prstGeom>
        </p:spPr>
        <p:txBody>
          <a:bodyPr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0173680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351" y="1397001"/>
            <a:ext cx="5365749" cy="4886325"/>
          </a:xfrm>
        </p:spPr>
        <p:txBody>
          <a:bodyPr/>
          <a:lstStyle>
            <a:lvl1pPr>
              <a:defRPr sz="2000" b="1">
                <a:solidFill>
                  <a:schemeClr val="bg2"/>
                </a:solidFill>
              </a:defRPr>
            </a:lvl1pPr>
            <a:lvl2pPr>
              <a:defRPr sz="1800" b="0">
                <a:solidFill>
                  <a:schemeClr val="bg2"/>
                </a:solidFill>
              </a:defRPr>
            </a:lvl2pPr>
            <a:lvl3pPr>
              <a:defRPr sz="1600" b="0">
                <a:solidFill>
                  <a:schemeClr val="bg2"/>
                </a:solidFill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376063" y="1385627"/>
            <a:ext cx="5365749" cy="4886325"/>
          </a:xfrm>
        </p:spPr>
        <p:txBody>
          <a:bodyPr/>
          <a:lstStyle>
            <a:lvl1pPr>
              <a:defRPr sz="2000" b="1">
                <a:solidFill>
                  <a:schemeClr val="bg2"/>
                </a:solidFill>
              </a:defRPr>
            </a:lvl1pPr>
            <a:lvl2pPr>
              <a:defRPr sz="1800" b="0">
                <a:solidFill>
                  <a:schemeClr val="bg2"/>
                </a:solidFill>
              </a:defRPr>
            </a:lvl2pPr>
            <a:lvl3pPr>
              <a:defRPr sz="1600" b="0">
                <a:solidFill>
                  <a:schemeClr val="bg2"/>
                </a:solidFill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5"/>
          <p:cNvSpPr>
            <a:spLocks noGrp="1"/>
          </p:cNvSpPr>
          <p:nvPr>
            <p:ph type="title"/>
          </p:nvPr>
        </p:nvSpPr>
        <p:spPr>
          <a:xfrm>
            <a:off x="524256" y="81888"/>
            <a:ext cx="10727141" cy="1143000"/>
          </a:xfrm>
          <a:prstGeom prst="rect">
            <a:avLst/>
          </a:prstGeom>
        </p:spPr>
        <p:txBody>
          <a:bodyPr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0865552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fident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1A07313-EECF-4DC9-AD47-D151493FE410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46051" y="6525685"/>
            <a:ext cx="42672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en-US" sz="1000">
                <a:solidFill>
                  <a:srgbClr val="000000"/>
                </a:solidFill>
                <a:latin typeface="Helvetica" panose="020B0604020202020204" pitchFamily="34" charset="0"/>
                <a:ea typeface="MS PGothic" panose="020B0600070205080204" pitchFamily="34" charset="-128"/>
              </a:rPr>
              <a:t>PRESENTED AT ASCO 2015 (MAY 31)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378888" y="1600203"/>
            <a:ext cx="11434233" cy="49196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2">
            <a:extLst>
              <a:ext uri="{FF2B5EF4-FFF2-40B4-BE49-F238E27FC236}">
                <a16:creationId xmlns:a16="http://schemas.microsoft.com/office/drawing/2014/main" id="{D0D24050-B872-45C0-8A73-CB6CC7D81E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404600" y="6483351"/>
            <a:ext cx="787400" cy="1651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  <a:latin typeface="Helvetica" panose="020B060402020202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4461B105-CB2A-40F6-B722-C88E2E6D42E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9222295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64799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27055" y="241930"/>
            <a:ext cx="11137900" cy="907252"/>
          </a:xfrm>
        </p:spPr>
        <p:txBody>
          <a:bodyPr/>
          <a:lstStyle>
            <a:lvl1pPr>
              <a:lnSpc>
                <a:spcPts val="2249"/>
              </a:lnSpc>
              <a:defRPr sz="280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2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527049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0" indent="0">
              <a:buNone/>
              <a:defRPr sz="75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Text Placeholder 17"/>
          <p:cNvSpPr>
            <a:spLocks noGrp="1"/>
          </p:cNvSpPr>
          <p:nvPr>
            <p:ph type="body" sz="quarter" idx="12"/>
          </p:nvPr>
        </p:nvSpPr>
        <p:spPr>
          <a:xfrm>
            <a:off x="6864951" y="6259600"/>
            <a:ext cx="4800000" cy="360000"/>
          </a:xfrm>
          <a:prstGeom prst="rect">
            <a:avLst/>
          </a:prstGeom>
        </p:spPr>
        <p:txBody>
          <a:bodyPr lIns="91280" tIns="45640" rIns="91280" bIns="45640" anchor="b"/>
          <a:lstStyle>
            <a:lvl1pPr marL="159259" indent="-159259" algn="r">
              <a:buNone/>
              <a:defRPr lang="en-GB" sz="750" dirty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58098056"/>
      </p:ext>
    </p:extLst>
  </p:cSld>
  <p:clrMapOvr>
    <a:masterClrMapping/>
  </p:clrMapOvr>
  <p:transition>
    <p:fade/>
  </p:transition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rrow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7AA39B4E-6369-7A4C-AEBC-E5041664B93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509" y="300282"/>
            <a:ext cx="10820401" cy="98819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32pt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986596-390E-3248-87B9-968CFA788F8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2788" y="1600923"/>
            <a:ext cx="10820400" cy="110483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35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9E05FC27-17DE-5341-9B82-5BC8E358862D}"/>
              </a:ext>
            </a:extLst>
          </p:cNvPr>
          <p:cNvGrpSpPr/>
          <p:nvPr userDrawn="1"/>
        </p:nvGrpSpPr>
        <p:grpSpPr>
          <a:xfrm>
            <a:off x="689929" y="3126193"/>
            <a:ext cx="10803008" cy="2296787"/>
            <a:chOff x="435178" y="2479802"/>
            <a:chExt cx="11600741" cy="2466390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12ED8254-7417-744A-901A-09C5D307E38F}"/>
                </a:ext>
              </a:extLst>
            </p:cNvPr>
            <p:cNvGrpSpPr/>
            <p:nvPr userDrawn="1"/>
          </p:nvGrpSpPr>
          <p:grpSpPr>
            <a:xfrm>
              <a:off x="435178" y="2479802"/>
              <a:ext cx="10483600" cy="2457957"/>
              <a:chOff x="435178" y="2479803"/>
              <a:chExt cx="7003884" cy="1642112"/>
            </a:xfrm>
          </p:grpSpPr>
          <p:sp>
            <p:nvSpPr>
              <p:cNvPr id="8" name="Rectangle 7">
                <a:extLst>
                  <a:ext uri="{FF2B5EF4-FFF2-40B4-BE49-F238E27FC236}">
                    <a16:creationId xmlns:a16="http://schemas.microsoft.com/office/drawing/2014/main" id="{21939AEF-633E-4046-A275-FA291A7C14BB}"/>
                  </a:ext>
                </a:extLst>
              </p:cNvPr>
              <p:cNvSpPr/>
              <p:nvPr userDrawn="1"/>
            </p:nvSpPr>
            <p:spPr>
              <a:xfrm>
                <a:off x="5623319" y="2481373"/>
                <a:ext cx="1815743" cy="1640541"/>
              </a:xfrm>
              <a:prstGeom prst="rect">
                <a:avLst/>
              </a:prstGeom>
              <a:solidFill>
                <a:srgbClr val="FFA3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877CCE8B-EF49-DC4E-A6E5-AFD5248B88BF}"/>
                  </a:ext>
                </a:extLst>
              </p:cNvPr>
              <p:cNvSpPr/>
              <p:nvPr userDrawn="1"/>
            </p:nvSpPr>
            <p:spPr>
              <a:xfrm>
                <a:off x="3923673" y="2481373"/>
                <a:ext cx="1815743" cy="1640541"/>
              </a:xfrm>
              <a:prstGeom prst="rect">
                <a:avLst/>
              </a:prstGeom>
              <a:solidFill>
                <a:srgbClr val="6366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1" name="Triangle 10">
                <a:extLst>
                  <a:ext uri="{FF2B5EF4-FFF2-40B4-BE49-F238E27FC236}">
                    <a16:creationId xmlns:a16="http://schemas.microsoft.com/office/drawing/2014/main" id="{15FE7054-20A9-154F-A106-AA821961B158}"/>
                  </a:ext>
                </a:extLst>
              </p:cNvPr>
              <p:cNvSpPr/>
              <p:nvPr userDrawn="1"/>
            </p:nvSpPr>
            <p:spPr>
              <a:xfrm rot="5400000">
                <a:off x="5292095" y="2927124"/>
                <a:ext cx="1642112" cy="747470"/>
              </a:xfrm>
              <a:prstGeom prst="triangle">
                <a:avLst>
                  <a:gd name="adj" fmla="val 51638"/>
                </a:avLst>
              </a:prstGeom>
              <a:solidFill>
                <a:srgbClr val="63666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7A407B0A-EC50-AC4C-99BF-5BFEF1A9FEE7}"/>
                  </a:ext>
                </a:extLst>
              </p:cNvPr>
              <p:cNvSpPr/>
              <p:nvPr userDrawn="1"/>
            </p:nvSpPr>
            <p:spPr>
              <a:xfrm>
                <a:off x="2215849" y="2481373"/>
                <a:ext cx="1815743" cy="1640541"/>
              </a:xfrm>
              <a:prstGeom prst="rect">
                <a:avLst/>
              </a:prstGeom>
              <a:solidFill>
                <a:srgbClr val="41B6E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3" name="Triangle 12">
                <a:extLst>
                  <a:ext uri="{FF2B5EF4-FFF2-40B4-BE49-F238E27FC236}">
                    <a16:creationId xmlns:a16="http://schemas.microsoft.com/office/drawing/2014/main" id="{9318B7BA-B216-614B-8D1A-819F9058314A}"/>
                  </a:ext>
                </a:extLst>
              </p:cNvPr>
              <p:cNvSpPr/>
              <p:nvPr userDrawn="1"/>
            </p:nvSpPr>
            <p:spPr>
              <a:xfrm rot="5400000">
                <a:off x="3584271" y="2927124"/>
                <a:ext cx="1642112" cy="747470"/>
              </a:xfrm>
              <a:prstGeom prst="triangle">
                <a:avLst>
                  <a:gd name="adj" fmla="val 51638"/>
                </a:avLst>
              </a:prstGeom>
              <a:solidFill>
                <a:srgbClr val="41B6E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D04729D5-84B8-9C4D-95A3-423F56EAA772}"/>
                  </a:ext>
                </a:extLst>
              </p:cNvPr>
              <p:cNvSpPr/>
              <p:nvPr userDrawn="1"/>
            </p:nvSpPr>
            <p:spPr>
              <a:xfrm>
                <a:off x="435178" y="2481373"/>
                <a:ext cx="1815743" cy="1640541"/>
              </a:xfrm>
              <a:prstGeom prst="rect">
                <a:avLst/>
              </a:prstGeom>
              <a:solidFill>
                <a:srgbClr val="0062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5" name="Triangle 14">
                <a:extLst>
                  <a:ext uri="{FF2B5EF4-FFF2-40B4-BE49-F238E27FC236}">
                    <a16:creationId xmlns:a16="http://schemas.microsoft.com/office/drawing/2014/main" id="{98CF6FB9-7F78-C240-A2C0-935EEFA1EB38}"/>
                  </a:ext>
                </a:extLst>
              </p:cNvPr>
              <p:cNvSpPr/>
              <p:nvPr userDrawn="1"/>
            </p:nvSpPr>
            <p:spPr>
              <a:xfrm rot="5400000">
                <a:off x="1803600" y="2927124"/>
                <a:ext cx="1642112" cy="747470"/>
              </a:xfrm>
              <a:prstGeom prst="triangle">
                <a:avLst>
                  <a:gd name="adj" fmla="val 51638"/>
                </a:avLst>
              </a:prstGeom>
              <a:solidFill>
                <a:srgbClr val="0062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>
                <a:normAutofit/>
              </a:bodyPr>
              <a:lstStyle/>
              <a:p>
                <a:pPr algn="ctr"/>
                <a:endParaRPr lang="en-US" sz="1800"/>
              </a:p>
            </p:txBody>
          </p:sp>
          <p:sp>
            <p:nvSpPr>
              <p:cNvPr id="16" name="object 2">
                <a:extLst>
                  <a:ext uri="{FF2B5EF4-FFF2-40B4-BE49-F238E27FC236}">
                    <a16:creationId xmlns:a16="http://schemas.microsoft.com/office/drawing/2014/main" id="{76F91A32-5014-8F49-BB67-4C34C7438A93}"/>
                  </a:ext>
                </a:extLst>
              </p:cNvPr>
              <p:cNvSpPr txBox="1"/>
              <p:nvPr userDrawn="1"/>
            </p:nvSpPr>
            <p:spPr>
              <a:xfrm>
                <a:off x="2754186" y="3053065"/>
                <a:ext cx="395810" cy="395810"/>
              </a:xfrm>
              <a:prstGeom prst="ellipse">
                <a:avLst/>
              </a:prstGeom>
              <a:solidFill>
                <a:srgbClr val="4D4D4F"/>
              </a:solidFill>
              <a:ln w="28575">
                <a:solidFill>
                  <a:schemeClr val="bg1"/>
                </a:solidFill>
              </a:ln>
            </p:spPr>
            <p:txBody>
              <a:bodyPr vert="horz" wrap="none" lIns="0" tIns="0" rIns="0" bIns="0" rtlCol="0" anchor="ctr" anchorCtr="0">
                <a:normAutofit/>
              </a:bodyPr>
              <a:lstStyle/>
              <a:p>
                <a:pPr marL="9525" indent="-4763" algn="ctr">
                  <a:lnSpc>
                    <a:spcPct val="100000"/>
                  </a:lnSpc>
                  <a:spcBef>
                    <a:spcPts val="79"/>
                  </a:spcBef>
                </a:pPr>
                <a:r>
                  <a:rPr sz="1800" dirty="0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cs typeface="Trebuchet MS Regular" charset="0"/>
                  </a:rPr>
                  <a:t>1</a:t>
                </a:r>
              </a:p>
            </p:txBody>
          </p:sp>
          <p:sp>
            <p:nvSpPr>
              <p:cNvPr id="17" name="object 2">
                <a:extLst>
                  <a:ext uri="{FF2B5EF4-FFF2-40B4-BE49-F238E27FC236}">
                    <a16:creationId xmlns:a16="http://schemas.microsoft.com/office/drawing/2014/main" id="{1ACC8DE2-EDAC-DF4A-9F52-E473E06373BB}"/>
                  </a:ext>
                </a:extLst>
              </p:cNvPr>
              <p:cNvSpPr txBox="1"/>
              <p:nvPr userDrawn="1"/>
            </p:nvSpPr>
            <p:spPr>
              <a:xfrm>
                <a:off x="4495385" y="3053065"/>
                <a:ext cx="395810" cy="395810"/>
              </a:xfrm>
              <a:prstGeom prst="ellipse">
                <a:avLst/>
              </a:prstGeom>
              <a:solidFill>
                <a:srgbClr val="4D4D4F"/>
              </a:solidFill>
              <a:ln w="28575">
                <a:solidFill>
                  <a:schemeClr val="bg1"/>
                </a:solidFill>
              </a:ln>
            </p:spPr>
            <p:txBody>
              <a:bodyPr vert="horz" wrap="none" lIns="0" tIns="0" rIns="0" bIns="0" rtlCol="0" anchor="ctr" anchorCtr="0">
                <a:normAutofit/>
              </a:bodyPr>
              <a:lstStyle/>
              <a:p>
                <a:pPr marL="9525" indent="-4763" algn="ctr">
                  <a:lnSpc>
                    <a:spcPct val="100000"/>
                  </a:lnSpc>
                  <a:spcBef>
                    <a:spcPts val="79"/>
                  </a:spcBef>
                </a:pPr>
                <a:r>
                  <a:rPr lang="en-US" sz="1800" dirty="0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cs typeface="Trebuchet MS Regular" charset="0"/>
                  </a:rPr>
                  <a:t>2</a:t>
                </a:r>
                <a:endParaRPr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endParaRPr>
              </a:p>
            </p:txBody>
          </p:sp>
          <p:sp>
            <p:nvSpPr>
              <p:cNvPr id="18" name="object 2">
                <a:extLst>
                  <a:ext uri="{FF2B5EF4-FFF2-40B4-BE49-F238E27FC236}">
                    <a16:creationId xmlns:a16="http://schemas.microsoft.com/office/drawing/2014/main" id="{B1CD7CDA-9EA8-4B43-9792-45DF90C5A629}"/>
                  </a:ext>
                </a:extLst>
              </p:cNvPr>
              <p:cNvSpPr txBox="1"/>
              <p:nvPr userDrawn="1"/>
            </p:nvSpPr>
            <p:spPr>
              <a:xfrm>
                <a:off x="6146830" y="3053065"/>
                <a:ext cx="395810" cy="395810"/>
              </a:xfrm>
              <a:prstGeom prst="ellipse">
                <a:avLst/>
              </a:prstGeom>
              <a:solidFill>
                <a:srgbClr val="4D4D4F"/>
              </a:solidFill>
              <a:ln w="28575">
                <a:solidFill>
                  <a:schemeClr val="bg1"/>
                </a:solidFill>
              </a:ln>
            </p:spPr>
            <p:txBody>
              <a:bodyPr vert="horz" wrap="none" lIns="0" tIns="0" rIns="0" bIns="0" rtlCol="0" anchor="ctr" anchorCtr="0">
                <a:normAutofit/>
              </a:bodyPr>
              <a:lstStyle/>
              <a:p>
                <a:pPr marL="9525" indent="-4763" algn="ctr">
                  <a:lnSpc>
                    <a:spcPct val="100000"/>
                  </a:lnSpc>
                  <a:spcBef>
                    <a:spcPts val="79"/>
                  </a:spcBef>
                </a:pPr>
                <a:r>
                  <a:rPr lang="en-US" sz="1800" dirty="0">
                    <a:ln>
                      <a:solidFill>
                        <a:schemeClr val="bg1"/>
                      </a:solidFill>
                    </a:ln>
                    <a:solidFill>
                      <a:schemeClr val="bg1"/>
                    </a:solidFill>
                    <a:cs typeface="Trebuchet MS Regular" charset="0"/>
                  </a:rPr>
                  <a:t>3</a:t>
                </a:r>
                <a:endParaRPr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endParaRPr>
              </a:p>
            </p:txBody>
          </p:sp>
        </p:grpSp>
        <p:sp>
          <p:nvSpPr>
            <p:cNvPr id="22" name="Triangle 21">
              <a:extLst>
                <a:ext uri="{FF2B5EF4-FFF2-40B4-BE49-F238E27FC236}">
                  <a16:creationId xmlns:a16="http://schemas.microsoft.com/office/drawing/2014/main" id="{3FE8F448-1A63-5E4E-B095-FBF5C7D0129F}"/>
                </a:ext>
              </a:extLst>
            </p:cNvPr>
            <p:cNvSpPr/>
            <p:nvPr userDrawn="1"/>
          </p:nvSpPr>
          <p:spPr>
            <a:xfrm rot="5400000">
              <a:off x="10247525" y="3157799"/>
              <a:ext cx="2457955" cy="1118832"/>
            </a:xfrm>
            <a:prstGeom prst="triangle">
              <a:avLst>
                <a:gd name="adj" fmla="val 51638"/>
              </a:avLst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51DC2F39-3958-DE4B-9287-6C6A2D786D7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2169" y="3382132"/>
            <a:ext cx="2331576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2C0861EE-4123-8047-B670-BBBAA34E3EB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522878" y="3382132"/>
            <a:ext cx="1747973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E95DA5E-0A86-BF4F-B4B6-5087C97589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08171" y="3382132"/>
            <a:ext cx="1747973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3819518D-0263-F143-990A-1270183732D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05894" y="3382132"/>
            <a:ext cx="1747973" cy="1752574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8664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column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14">
            <a:extLst>
              <a:ext uri="{FF2B5EF4-FFF2-40B4-BE49-F238E27FC236}">
                <a16:creationId xmlns:a16="http://schemas.microsoft.com/office/drawing/2014/main" id="{42A7C324-6C24-3E45-B7B1-6E640B9B5F11}"/>
              </a:ext>
            </a:extLst>
          </p:cNvPr>
          <p:cNvSpPr/>
          <p:nvPr userDrawn="1"/>
        </p:nvSpPr>
        <p:spPr>
          <a:xfrm>
            <a:off x="713512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rgbClr val="00629B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8" name="object 2">
            <a:extLst>
              <a:ext uri="{FF2B5EF4-FFF2-40B4-BE49-F238E27FC236}">
                <a16:creationId xmlns:a16="http://schemas.microsoft.com/office/drawing/2014/main" id="{CE0CC45F-0180-CF44-8ABE-BD585398292D}"/>
              </a:ext>
            </a:extLst>
          </p:cNvPr>
          <p:cNvSpPr txBox="1"/>
          <p:nvPr userDrawn="1"/>
        </p:nvSpPr>
        <p:spPr>
          <a:xfrm>
            <a:off x="1278699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1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817A09-C816-664C-9988-92BEB93562D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0715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3F277FAD-4CC0-D548-8E6A-FE7BB0074F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509" y="300282"/>
            <a:ext cx="10820401" cy="98819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32pt Title</a:t>
            </a:r>
          </a:p>
        </p:txBody>
      </p:sp>
      <p:sp>
        <p:nvSpPr>
          <p:cNvPr id="32" name="object 14">
            <a:extLst>
              <a:ext uri="{FF2B5EF4-FFF2-40B4-BE49-F238E27FC236}">
                <a16:creationId xmlns:a16="http://schemas.microsoft.com/office/drawing/2014/main" id="{56EAC386-F71E-394D-9875-9F6F1BA21184}"/>
              </a:ext>
            </a:extLst>
          </p:cNvPr>
          <p:cNvSpPr/>
          <p:nvPr userDrawn="1"/>
        </p:nvSpPr>
        <p:spPr>
          <a:xfrm>
            <a:off x="2917451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rgbClr val="FFA300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accent2"/>
              </a:solidFill>
              <a:cs typeface="Trebuchet MS Regular" charset="0"/>
            </a:endParaRPr>
          </a:p>
        </p:txBody>
      </p:sp>
      <p:sp>
        <p:nvSpPr>
          <p:cNvPr id="33" name="object 2">
            <a:extLst>
              <a:ext uri="{FF2B5EF4-FFF2-40B4-BE49-F238E27FC236}">
                <a16:creationId xmlns:a16="http://schemas.microsoft.com/office/drawing/2014/main" id="{17A80D39-CFFD-D84E-A306-84303C4C5E74}"/>
              </a:ext>
            </a:extLst>
          </p:cNvPr>
          <p:cNvSpPr txBox="1"/>
          <p:nvPr userDrawn="1"/>
        </p:nvSpPr>
        <p:spPr>
          <a:xfrm>
            <a:off x="3482639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2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4F683E5-84E2-DE4C-A613-7AB46176442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044654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5" name="object 14">
            <a:extLst>
              <a:ext uri="{FF2B5EF4-FFF2-40B4-BE49-F238E27FC236}">
                <a16:creationId xmlns:a16="http://schemas.microsoft.com/office/drawing/2014/main" id="{AFE97A2C-41A9-D845-9557-439DC5057CFF}"/>
              </a:ext>
            </a:extLst>
          </p:cNvPr>
          <p:cNvSpPr/>
          <p:nvPr userDrawn="1"/>
        </p:nvSpPr>
        <p:spPr>
          <a:xfrm>
            <a:off x="5097943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chemeClr val="accent3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accent1"/>
              </a:solidFill>
              <a:cs typeface="Trebuchet MS Regular" charset="0"/>
            </a:endParaRPr>
          </a:p>
        </p:txBody>
      </p:sp>
      <p:sp>
        <p:nvSpPr>
          <p:cNvPr id="36" name="object 2">
            <a:extLst>
              <a:ext uri="{FF2B5EF4-FFF2-40B4-BE49-F238E27FC236}">
                <a16:creationId xmlns:a16="http://schemas.microsoft.com/office/drawing/2014/main" id="{E1F85520-2CD3-394D-B726-4816DE4CA42A}"/>
              </a:ext>
            </a:extLst>
          </p:cNvPr>
          <p:cNvSpPr txBox="1"/>
          <p:nvPr userDrawn="1"/>
        </p:nvSpPr>
        <p:spPr>
          <a:xfrm>
            <a:off x="5663131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3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E8656522-BC99-5844-8738-27ECE29A301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5225146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8" name="object 14">
            <a:extLst>
              <a:ext uri="{FF2B5EF4-FFF2-40B4-BE49-F238E27FC236}">
                <a16:creationId xmlns:a16="http://schemas.microsoft.com/office/drawing/2014/main" id="{AE39ABA2-F7E4-5442-8811-EC9D323489DC}"/>
              </a:ext>
            </a:extLst>
          </p:cNvPr>
          <p:cNvSpPr/>
          <p:nvPr userDrawn="1"/>
        </p:nvSpPr>
        <p:spPr>
          <a:xfrm>
            <a:off x="7278435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chemeClr val="accent4"/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39" name="object 2">
            <a:extLst>
              <a:ext uri="{FF2B5EF4-FFF2-40B4-BE49-F238E27FC236}">
                <a16:creationId xmlns:a16="http://schemas.microsoft.com/office/drawing/2014/main" id="{C0231480-94C0-2745-8E91-DD05831DE6FD}"/>
              </a:ext>
            </a:extLst>
          </p:cNvPr>
          <p:cNvSpPr txBox="1"/>
          <p:nvPr userDrawn="1"/>
        </p:nvSpPr>
        <p:spPr>
          <a:xfrm>
            <a:off x="7843623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4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C9DDC0D2-6C77-EA4C-AE0D-4B79690EADA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405638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object 14">
            <a:extLst>
              <a:ext uri="{FF2B5EF4-FFF2-40B4-BE49-F238E27FC236}">
                <a16:creationId xmlns:a16="http://schemas.microsoft.com/office/drawing/2014/main" id="{7D5CB86A-3E99-5A4E-9C2B-48E11E1DDF2A}"/>
              </a:ext>
            </a:extLst>
          </p:cNvPr>
          <p:cNvSpPr/>
          <p:nvPr userDrawn="1"/>
        </p:nvSpPr>
        <p:spPr>
          <a:xfrm>
            <a:off x="9458928" y="2405568"/>
            <a:ext cx="1887411" cy="1978865"/>
          </a:xfrm>
          <a:custGeom>
            <a:avLst/>
            <a:gdLst/>
            <a:ahLst/>
            <a:cxnLst/>
            <a:rect l="l" t="t" r="r" b="b"/>
            <a:pathLst>
              <a:path w="1495425" h="1243964">
                <a:moveTo>
                  <a:pt x="0" y="1243584"/>
                </a:moveTo>
                <a:lnTo>
                  <a:pt x="1495044" y="1243584"/>
                </a:lnTo>
                <a:lnTo>
                  <a:pt x="1495044" y="0"/>
                </a:lnTo>
                <a:lnTo>
                  <a:pt x="0" y="0"/>
                </a:lnTo>
                <a:lnTo>
                  <a:pt x="0" y="1243584"/>
                </a:lnTo>
                <a:close/>
              </a:path>
            </a:pathLst>
          </a:custGeom>
          <a:solidFill>
            <a:schemeClr val="tx1">
              <a:lumMod val="75000"/>
              <a:lumOff val="25000"/>
            </a:schemeClr>
          </a:solidFill>
          <a:ln w="28956">
            <a:noFill/>
          </a:ln>
        </p:spPr>
        <p:txBody>
          <a:bodyPr wrap="square" lIns="0" tIns="342900" rIns="0" bIns="0" rtlCol="0" anchor="t" anchorCtr="1">
            <a:normAutofit/>
          </a:bodyPr>
          <a:lstStyle/>
          <a:p>
            <a:pPr algn="ctr"/>
            <a:endParaRPr lang="en-US" sz="1050" dirty="0"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42" name="object 2">
            <a:extLst>
              <a:ext uri="{FF2B5EF4-FFF2-40B4-BE49-F238E27FC236}">
                <a16:creationId xmlns:a16="http://schemas.microsoft.com/office/drawing/2014/main" id="{DCCC36C8-C2E3-AD4E-9FCA-BDEE1647B946}"/>
              </a:ext>
            </a:extLst>
          </p:cNvPr>
          <p:cNvSpPr txBox="1"/>
          <p:nvPr userDrawn="1"/>
        </p:nvSpPr>
        <p:spPr>
          <a:xfrm>
            <a:off x="10024115" y="2021574"/>
            <a:ext cx="784564" cy="784564"/>
          </a:xfrm>
          <a:prstGeom prst="ellipse">
            <a:avLst/>
          </a:prstGeom>
          <a:solidFill>
            <a:srgbClr val="63666A"/>
          </a:solidFill>
          <a:ln w="28575">
            <a:solidFill>
              <a:schemeClr val="bg1"/>
            </a:solidFill>
          </a:ln>
        </p:spPr>
        <p:txBody>
          <a:bodyPr vert="horz" wrap="none" lIns="0" tIns="0" rIns="0" bIns="0" rtlCol="0" anchor="ctr" anchorCtr="0">
            <a:normAutofit/>
          </a:bodyPr>
          <a:lstStyle/>
          <a:p>
            <a:pPr marL="9525" indent="-4763" algn="ctr">
              <a:lnSpc>
                <a:spcPct val="100000"/>
              </a:lnSpc>
              <a:spcBef>
                <a:spcPts val="79"/>
              </a:spcBef>
            </a:pPr>
            <a:r>
              <a:rPr lang="en-US" sz="24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rPr>
              <a:t>5</a:t>
            </a:r>
            <a:endParaRPr sz="2400" dirty="0">
              <a:ln>
                <a:solidFill>
                  <a:schemeClr val="bg1"/>
                </a:solidFill>
              </a:ln>
              <a:solidFill>
                <a:schemeClr val="bg1"/>
              </a:solidFill>
              <a:cs typeface="Trebuchet MS Regular" charset="0"/>
            </a:endParaRP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4FF2AB9-A8CE-D042-BBA0-EC5DADFE1E3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586131" y="3040601"/>
            <a:ext cx="1601503" cy="1105047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050">
                <a:solidFill>
                  <a:schemeClr val="bg1"/>
                </a:solidFill>
              </a:defRPr>
            </a:lvl1pPr>
            <a:lvl2pPr marL="342900" indent="0">
              <a:buNone/>
              <a:defRPr sz="1050">
                <a:solidFill>
                  <a:schemeClr val="bg1"/>
                </a:solidFill>
              </a:defRPr>
            </a:lvl2pPr>
            <a:lvl3pPr marL="685800" indent="0">
              <a:buNone/>
              <a:defRPr sz="1050">
                <a:solidFill>
                  <a:schemeClr val="bg1"/>
                </a:solidFill>
              </a:defRPr>
            </a:lvl3pPr>
            <a:lvl4pPr marL="1028700" indent="0">
              <a:buNone/>
              <a:defRPr sz="1050">
                <a:solidFill>
                  <a:schemeClr val="bg1"/>
                </a:solidFill>
              </a:defRPr>
            </a:lvl4pPr>
            <a:lvl5pPr marL="13716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D993C8-2168-224B-B11B-CBB6658DB1C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127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E9E156A9-63B9-0D4D-A1F8-80EFCA1B2A89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225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9273885B-6CDF-A64C-9F9F-94B44588A38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0815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6769DFBE-A0FB-1247-B7FD-0030539C0E7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786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2D014FC-7138-6D42-B67F-0BD3BAEAD8D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450389" y="4619625"/>
            <a:ext cx="1887537" cy="1219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rgbClr val="C00000"/>
              </a:buClr>
              <a:buSzPct val="120000"/>
              <a:defRPr sz="1050"/>
            </a:lvl1pPr>
            <a:lvl2pPr>
              <a:buClr>
                <a:srgbClr val="C00000"/>
              </a:buClr>
              <a:buSzPct val="120000"/>
              <a:defRPr sz="1050"/>
            </a:lvl2pPr>
            <a:lvl3pPr>
              <a:buClr>
                <a:srgbClr val="C00000"/>
              </a:buClr>
              <a:buSzPct val="120000"/>
              <a:defRPr sz="1050"/>
            </a:lvl3pPr>
            <a:lvl4pPr>
              <a:buClr>
                <a:srgbClr val="C00000"/>
              </a:buClr>
              <a:buSzPct val="120000"/>
              <a:defRPr sz="1050"/>
            </a:lvl4pPr>
            <a:lvl5pPr>
              <a:buClr>
                <a:srgbClr val="C00000"/>
              </a:buClr>
              <a:buSzPct val="120000"/>
              <a:defRPr sz="1050"/>
            </a:lvl5pPr>
          </a:lstStyle>
          <a:p>
            <a:pPr lvl="0"/>
            <a:r>
              <a:rPr lang="en-US" dirty="0"/>
              <a:t>Arial 14pt Text</a:t>
            </a:r>
          </a:p>
        </p:txBody>
      </p:sp>
    </p:spTree>
    <p:extLst>
      <p:ext uri="{BB962C8B-B14F-4D97-AF65-F5344CB8AC3E}">
        <p14:creationId xmlns:p14="http://schemas.microsoft.com/office/powerpoint/2010/main" val="167019070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3F277FAD-4CC0-D548-8E6A-FE7BB0074F8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13509" y="300282"/>
            <a:ext cx="10820401" cy="988192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32pt Titl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42689156-0CAF-CE40-AB00-388566D9D261}"/>
              </a:ext>
            </a:extLst>
          </p:cNvPr>
          <p:cNvGrpSpPr/>
          <p:nvPr userDrawn="1"/>
        </p:nvGrpSpPr>
        <p:grpSpPr>
          <a:xfrm>
            <a:off x="0" y="2359377"/>
            <a:ext cx="12200747" cy="2781276"/>
            <a:chOff x="-73152" y="1883661"/>
            <a:chExt cx="9304020" cy="1975107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776CC197-4915-4C47-B8D5-6E22638C80C0}"/>
                </a:ext>
              </a:extLst>
            </p:cNvPr>
            <p:cNvSpPr/>
            <p:nvPr userDrawn="1"/>
          </p:nvSpPr>
          <p:spPr>
            <a:xfrm>
              <a:off x="-73152" y="2651760"/>
              <a:ext cx="1865376" cy="438912"/>
            </a:xfrm>
            <a:prstGeom prst="rect">
              <a:avLst/>
            </a:prstGeom>
            <a:solidFill>
              <a:srgbClr val="41B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77A78F78-E166-DB4C-BAC1-D0965F345FE1}"/>
                </a:ext>
              </a:extLst>
            </p:cNvPr>
            <p:cNvSpPr/>
            <p:nvPr userDrawn="1"/>
          </p:nvSpPr>
          <p:spPr>
            <a:xfrm>
              <a:off x="1787652" y="2651760"/>
              <a:ext cx="1865376" cy="438912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6" name="Rectangle 25">
              <a:extLst>
                <a:ext uri="{FF2B5EF4-FFF2-40B4-BE49-F238E27FC236}">
                  <a16:creationId xmlns:a16="http://schemas.microsoft.com/office/drawing/2014/main" id="{AE6653D9-1DCF-7C42-9CF2-B7A90E6F7E5A}"/>
                </a:ext>
              </a:extLst>
            </p:cNvPr>
            <p:cNvSpPr/>
            <p:nvPr userDrawn="1"/>
          </p:nvSpPr>
          <p:spPr>
            <a:xfrm>
              <a:off x="3648456" y="2651760"/>
              <a:ext cx="1865376" cy="438912"/>
            </a:xfrm>
            <a:prstGeom prst="rect">
              <a:avLst/>
            </a:prstGeom>
            <a:solidFill>
              <a:srgbClr val="006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A3C1EA2-6262-4B4D-BFDB-372864B53E57}"/>
                </a:ext>
              </a:extLst>
            </p:cNvPr>
            <p:cNvSpPr/>
            <p:nvPr userDrawn="1"/>
          </p:nvSpPr>
          <p:spPr>
            <a:xfrm>
              <a:off x="5509260" y="2651760"/>
              <a:ext cx="1865376" cy="438912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614DC858-5BFD-0A46-ACB2-39AA1F3D801B}"/>
                </a:ext>
              </a:extLst>
            </p:cNvPr>
            <p:cNvSpPr/>
            <p:nvPr userDrawn="1"/>
          </p:nvSpPr>
          <p:spPr>
            <a:xfrm>
              <a:off x="7365492" y="2651760"/>
              <a:ext cx="1865376" cy="438912"/>
            </a:xfrm>
            <a:prstGeom prst="rect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Triangle 28">
              <a:extLst>
                <a:ext uri="{FF2B5EF4-FFF2-40B4-BE49-F238E27FC236}">
                  <a16:creationId xmlns:a16="http://schemas.microsoft.com/office/drawing/2014/main" id="{71F4E3CC-21AD-F945-8372-A18256CF23C7}"/>
                </a:ext>
              </a:extLst>
            </p:cNvPr>
            <p:cNvSpPr/>
            <p:nvPr userDrawn="1"/>
          </p:nvSpPr>
          <p:spPr>
            <a:xfrm>
              <a:off x="587502" y="2267712"/>
              <a:ext cx="539496" cy="384048"/>
            </a:xfrm>
            <a:prstGeom prst="triangle">
              <a:avLst/>
            </a:prstGeom>
            <a:solidFill>
              <a:srgbClr val="41B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30" name="Triangle 29">
              <a:extLst>
                <a:ext uri="{FF2B5EF4-FFF2-40B4-BE49-F238E27FC236}">
                  <a16:creationId xmlns:a16="http://schemas.microsoft.com/office/drawing/2014/main" id="{C4A0F0EF-A058-A946-84D5-5634C06D5572}"/>
                </a:ext>
              </a:extLst>
            </p:cNvPr>
            <p:cNvSpPr/>
            <p:nvPr userDrawn="1"/>
          </p:nvSpPr>
          <p:spPr>
            <a:xfrm>
              <a:off x="4318254" y="2267712"/>
              <a:ext cx="539496" cy="384048"/>
            </a:xfrm>
            <a:prstGeom prst="triangle">
              <a:avLst/>
            </a:prstGeom>
            <a:solidFill>
              <a:srgbClr val="0062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31" name="Triangle 30">
              <a:extLst>
                <a:ext uri="{FF2B5EF4-FFF2-40B4-BE49-F238E27FC236}">
                  <a16:creationId xmlns:a16="http://schemas.microsoft.com/office/drawing/2014/main" id="{09A00FEA-B455-6246-AE45-F93A7AABE231}"/>
                </a:ext>
              </a:extLst>
            </p:cNvPr>
            <p:cNvSpPr/>
            <p:nvPr userDrawn="1"/>
          </p:nvSpPr>
          <p:spPr>
            <a:xfrm>
              <a:off x="8026146" y="2267712"/>
              <a:ext cx="539496" cy="384048"/>
            </a:xfrm>
            <a:prstGeom prst="triangle">
              <a:avLst/>
            </a:prstGeom>
            <a:solidFill>
              <a:schemeClr val="bg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44" name="Triangle 43">
              <a:extLst>
                <a:ext uri="{FF2B5EF4-FFF2-40B4-BE49-F238E27FC236}">
                  <a16:creationId xmlns:a16="http://schemas.microsoft.com/office/drawing/2014/main" id="{D708C2CE-884E-044C-932B-64794D7F7EFA}"/>
                </a:ext>
              </a:extLst>
            </p:cNvPr>
            <p:cNvSpPr/>
            <p:nvPr userDrawn="1"/>
          </p:nvSpPr>
          <p:spPr>
            <a:xfrm rot="10800000">
              <a:off x="2450592" y="3090672"/>
              <a:ext cx="539496" cy="384048"/>
            </a:xfrm>
            <a:prstGeom prst="triangle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49" name="Triangle 48">
              <a:extLst>
                <a:ext uri="{FF2B5EF4-FFF2-40B4-BE49-F238E27FC236}">
                  <a16:creationId xmlns:a16="http://schemas.microsoft.com/office/drawing/2014/main" id="{AA98A588-D7EC-E34B-ABBC-C812789AF089}"/>
                </a:ext>
              </a:extLst>
            </p:cNvPr>
            <p:cNvSpPr/>
            <p:nvPr userDrawn="1"/>
          </p:nvSpPr>
          <p:spPr>
            <a:xfrm rot="10800000">
              <a:off x="6165342" y="3090672"/>
              <a:ext cx="539496" cy="384048"/>
            </a:xfrm>
            <a:prstGeom prst="triangle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rmAutofit fontScale="77500" lnSpcReduction="20000"/>
            </a:bodyPr>
            <a:lstStyle/>
            <a:p>
              <a:pPr algn="ctr"/>
              <a:endParaRPr lang="en-US" sz="1800"/>
            </a:p>
          </p:txBody>
        </p:sp>
        <p:sp>
          <p:nvSpPr>
            <p:cNvPr id="50" name="object 2">
              <a:extLst>
                <a:ext uri="{FF2B5EF4-FFF2-40B4-BE49-F238E27FC236}">
                  <a16:creationId xmlns:a16="http://schemas.microsoft.com/office/drawing/2014/main" id="{DDD0F621-D12F-B640-BDDB-0341446D0614}"/>
                </a:ext>
              </a:extLst>
            </p:cNvPr>
            <p:cNvSpPr txBox="1"/>
            <p:nvPr userDrawn="1"/>
          </p:nvSpPr>
          <p:spPr>
            <a:xfrm>
              <a:off x="659345" y="3474720"/>
              <a:ext cx="395810" cy="384048"/>
            </a:xfrm>
            <a:prstGeom prst="ellipse">
              <a:avLst/>
            </a:prstGeom>
            <a:solidFill>
              <a:srgbClr val="41B6E6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1</a:t>
              </a:r>
            </a:p>
          </p:txBody>
        </p:sp>
        <p:sp>
          <p:nvSpPr>
            <p:cNvPr id="51" name="object 2">
              <a:extLst>
                <a:ext uri="{FF2B5EF4-FFF2-40B4-BE49-F238E27FC236}">
                  <a16:creationId xmlns:a16="http://schemas.microsoft.com/office/drawing/2014/main" id="{EFC8C0AC-BF31-8F4C-BEBB-476B23D7965B}"/>
                </a:ext>
              </a:extLst>
            </p:cNvPr>
            <p:cNvSpPr txBox="1"/>
            <p:nvPr userDrawn="1"/>
          </p:nvSpPr>
          <p:spPr>
            <a:xfrm>
              <a:off x="2522434" y="1883662"/>
              <a:ext cx="395810" cy="384048"/>
            </a:xfrm>
            <a:prstGeom prst="ellipse">
              <a:avLst/>
            </a:prstGeom>
            <a:solidFill>
              <a:srgbClr val="63666A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2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  <p:sp>
          <p:nvSpPr>
            <p:cNvPr id="52" name="object 2">
              <a:extLst>
                <a:ext uri="{FF2B5EF4-FFF2-40B4-BE49-F238E27FC236}">
                  <a16:creationId xmlns:a16="http://schemas.microsoft.com/office/drawing/2014/main" id="{454AF190-49E4-E448-8AF0-2BCBD1BD8AC3}"/>
                </a:ext>
              </a:extLst>
            </p:cNvPr>
            <p:cNvSpPr txBox="1"/>
            <p:nvPr userDrawn="1"/>
          </p:nvSpPr>
          <p:spPr>
            <a:xfrm>
              <a:off x="6208681" y="1883661"/>
              <a:ext cx="395810" cy="384050"/>
            </a:xfrm>
            <a:prstGeom prst="ellipse">
              <a:avLst/>
            </a:prstGeom>
            <a:solidFill>
              <a:srgbClr val="FFA300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4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  <p:sp>
          <p:nvSpPr>
            <p:cNvPr id="53" name="object 2">
              <a:extLst>
                <a:ext uri="{FF2B5EF4-FFF2-40B4-BE49-F238E27FC236}">
                  <a16:creationId xmlns:a16="http://schemas.microsoft.com/office/drawing/2014/main" id="{C8F78263-DA86-F543-A5B8-6D0F3DD0CEF0}"/>
                </a:ext>
              </a:extLst>
            </p:cNvPr>
            <p:cNvSpPr txBox="1"/>
            <p:nvPr userDrawn="1"/>
          </p:nvSpPr>
          <p:spPr>
            <a:xfrm>
              <a:off x="4372620" y="3474720"/>
              <a:ext cx="395810" cy="384048"/>
            </a:xfrm>
            <a:prstGeom prst="ellipse">
              <a:avLst/>
            </a:prstGeom>
            <a:solidFill>
              <a:srgbClr val="00629B"/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3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  <p:sp>
          <p:nvSpPr>
            <p:cNvPr id="54" name="object 2">
              <a:extLst>
                <a:ext uri="{FF2B5EF4-FFF2-40B4-BE49-F238E27FC236}">
                  <a16:creationId xmlns:a16="http://schemas.microsoft.com/office/drawing/2014/main" id="{17651799-EBB4-DE4B-84C0-AF2BAC4C7ADA}"/>
                </a:ext>
              </a:extLst>
            </p:cNvPr>
            <p:cNvSpPr txBox="1"/>
            <p:nvPr userDrawn="1"/>
          </p:nvSpPr>
          <p:spPr>
            <a:xfrm>
              <a:off x="8101750" y="3474720"/>
              <a:ext cx="395810" cy="384048"/>
            </a:xfrm>
            <a:prstGeom prst="ellipse">
              <a:avLst/>
            </a:prstGeom>
            <a:solidFill>
              <a:schemeClr val="bg2">
                <a:lumMod val="50000"/>
              </a:schemeClr>
            </a:solidFill>
            <a:ln w="28575">
              <a:solidFill>
                <a:schemeClr val="bg1"/>
              </a:solidFill>
            </a:ln>
          </p:spPr>
          <p:txBody>
            <a:bodyPr vert="horz" wrap="none" lIns="0" tIns="0" rIns="0" bIns="0" rtlCol="0" anchor="ctr" anchorCtr="0">
              <a:normAutofit/>
            </a:bodyPr>
            <a:lstStyle/>
            <a:p>
              <a:pPr marL="9525" indent="-4763" algn="ctr">
                <a:lnSpc>
                  <a:spcPct val="100000"/>
                </a:lnSpc>
                <a:spcBef>
                  <a:spcPts val="79"/>
                </a:spcBef>
              </a:pPr>
              <a:r>
                <a:rPr lang="en-US" sz="1800" dirty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cs typeface="Trebuchet MS Regular" charset="0"/>
                </a:rPr>
                <a:t>5</a:t>
              </a:r>
              <a:endParaRPr sz="1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cs typeface="Trebuchet MS Regular" charset="0"/>
              </a:endParaRPr>
            </a:p>
          </p:txBody>
        </p:sp>
      </p:grpSp>
      <p:sp>
        <p:nvSpPr>
          <p:cNvPr id="55" name="Text Placeholder 3">
            <a:extLst>
              <a:ext uri="{FF2B5EF4-FFF2-40B4-BE49-F238E27FC236}">
                <a16:creationId xmlns:a16="http://schemas.microsoft.com/office/drawing/2014/main" id="{B136F2D4-8120-6745-AF56-12B694637DE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74321" y="1700784"/>
            <a:ext cx="1993392" cy="110796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6" name="Text Placeholder 3">
            <a:extLst>
              <a:ext uri="{FF2B5EF4-FFF2-40B4-BE49-F238E27FC236}">
                <a16:creationId xmlns:a16="http://schemas.microsoft.com/office/drawing/2014/main" id="{27D5652B-F0D1-6A47-99A7-4A492E2FAB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120641" y="1700784"/>
            <a:ext cx="1993392" cy="110796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7" name="Text Placeholder 3">
            <a:extLst>
              <a:ext uri="{FF2B5EF4-FFF2-40B4-BE49-F238E27FC236}">
                <a16:creationId xmlns:a16="http://schemas.microsoft.com/office/drawing/2014/main" id="{3FDEED65-2DAD-8747-8ED2-50CB6D9D36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9966961" y="1700784"/>
            <a:ext cx="1993392" cy="1107960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B5017829-45C4-074F-AE45-6F65C3D9CE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88337" y="4754880"/>
            <a:ext cx="1993392" cy="11079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28A17CA5-B3CD-5A4B-9F57-A8C8AAB648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34657" y="4754880"/>
            <a:ext cx="1993392" cy="1107960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spcBef>
                <a:spcPts val="900"/>
              </a:spcBef>
              <a:buNone/>
              <a:defRPr sz="900"/>
            </a:lvl1pPr>
            <a:lvl2pPr marL="557213" indent="-214313">
              <a:spcBef>
                <a:spcPts val="900"/>
              </a:spcBef>
              <a:buFont typeface="Arial" panose="020B0604020202020204" pitchFamily="34" charset="0"/>
              <a:buChar char="•"/>
              <a:defRPr sz="1200"/>
            </a:lvl2pPr>
            <a:lvl3pPr marL="900113" indent="-214313">
              <a:spcBef>
                <a:spcPts val="900"/>
              </a:spcBef>
              <a:buFont typeface="Arial" panose="020B0604020202020204" pitchFamily="34" charset="0"/>
              <a:buChar char="•"/>
              <a:defRPr sz="105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52518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F61D80B-A089-8847-B1FB-DF2EB49235C9}"/>
              </a:ext>
            </a:extLst>
          </p:cNvPr>
          <p:cNvGrpSpPr/>
          <p:nvPr userDrawn="1"/>
        </p:nvGrpSpPr>
        <p:grpSpPr>
          <a:xfrm>
            <a:off x="-1" y="0"/>
            <a:ext cx="12192001" cy="6858000"/>
            <a:chOff x="-1" y="0"/>
            <a:chExt cx="9144001" cy="51435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2750CA3-5E45-964B-AA6B-27D85A005C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0"/>
              <a:ext cx="9143999" cy="51435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6950665-B48B-F947-B7EB-ED058D261A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2565492"/>
              <a:ext cx="9144000" cy="1088908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FCAAEDA-A9B2-E64E-B4BE-4ACCC0AC5457}"/>
                </a:ext>
              </a:extLst>
            </p:cNvPr>
            <p:cNvSpPr/>
            <p:nvPr userDrawn="1"/>
          </p:nvSpPr>
          <p:spPr>
            <a:xfrm>
              <a:off x="0" y="2684543"/>
              <a:ext cx="9144000" cy="839475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63666A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FB9A60C-A876-034E-BA10-CF0A8D64BD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45289" y="2812388"/>
              <a:ext cx="2338893" cy="572030"/>
            </a:xfrm>
            <a:prstGeom prst="rect">
              <a:avLst/>
            </a:prstGeom>
          </p:spPr>
        </p:pic>
      </p:grp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055765A-5707-F147-BB40-C02F56C0B1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760720" y="3595931"/>
            <a:ext cx="5593080" cy="1102759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1800" b="0">
                <a:solidFill>
                  <a:srgbClr val="FFA300"/>
                </a:solidFill>
              </a:defRPr>
            </a:lvl1pPr>
          </a:lstStyle>
          <a:p>
            <a:pPr lvl="0"/>
            <a:r>
              <a:rPr lang="en-US" dirty="0"/>
              <a:t>Section Divider Arial Bold 24pt</a:t>
            </a:r>
          </a:p>
        </p:txBody>
      </p:sp>
    </p:spTree>
    <p:extLst>
      <p:ext uri="{BB962C8B-B14F-4D97-AF65-F5344CB8AC3E}">
        <p14:creationId xmlns:p14="http://schemas.microsoft.com/office/powerpoint/2010/main" val="3265268165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5F61D80B-A089-8847-B1FB-DF2EB49235C9}"/>
              </a:ext>
            </a:extLst>
          </p:cNvPr>
          <p:cNvGrpSpPr/>
          <p:nvPr userDrawn="1"/>
        </p:nvGrpSpPr>
        <p:grpSpPr>
          <a:xfrm>
            <a:off x="0" y="0"/>
            <a:ext cx="12192001" cy="6858000"/>
            <a:chOff x="-1" y="0"/>
            <a:chExt cx="9144001" cy="5143500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C2750CA3-5E45-964B-AA6B-27D85A005C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-1" y="0"/>
              <a:ext cx="9143999" cy="5143500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A6950665-B48B-F947-B7EB-ED058D261AB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0" y="2565492"/>
              <a:ext cx="9144000" cy="1088908"/>
            </a:xfrm>
            <a:prstGeom prst="rect">
              <a:avLst/>
            </a:prstGeom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FCAAEDA-A9B2-E64E-B4BE-4ACCC0AC5457}"/>
                </a:ext>
              </a:extLst>
            </p:cNvPr>
            <p:cNvSpPr/>
            <p:nvPr userDrawn="1"/>
          </p:nvSpPr>
          <p:spPr>
            <a:xfrm>
              <a:off x="0" y="2684543"/>
              <a:ext cx="9144000" cy="839475"/>
            </a:xfrm>
            <a:prstGeom prst="rect">
              <a:avLst/>
            </a:prstGeom>
            <a:solidFill>
              <a:srgbClr val="6366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>
                <a:solidFill>
                  <a:srgbClr val="63666A"/>
                </a:solidFill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BFB9A60C-A876-034E-BA10-CF0A8D64BDB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45289" y="2812388"/>
              <a:ext cx="2338893" cy="572030"/>
            </a:xfrm>
            <a:prstGeom prst="rect">
              <a:avLst/>
            </a:prstGeom>
          </p:spPr>
        </p:pic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id="{D6D8052D-5986-104C-991B-DC39F36DDBED}"/>
              </a:ext>
            </a:extLst>
          </p:cNvPr>
          <p:cNvSpPr/>
          <p:nvPr userDrawn="1"/>
        </p:nvSpPr>
        <p:spPr>
          <a:xfrm>
            <a:off x="8905642" y="3851664"/>
            <a:ext cx="1742785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r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A3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Questions?</a:t>
            </a:r>
          </a:p>
        </p:txBody>
      </p:sp>
    </p:spTree>
    <p:extLst>
      <p:ext uri="{BB962C8B-B14F-4D97-AF65-F5344CB8AC3E}">
        <p14:creationId xmlns:p14="http://schemas.microsoft.com/office/powerpoint/2010/main" val="412109483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0D120E99-577E-4888-9BC7-ACBC06B3A2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53474" y="6413123"/>
            <a:ext cx="66294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98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23">
            <a:extLst>
              <a:ext uri="{FF2B5EF4-FFF2-40B4-BE49-F238E27FC236}">
                <a16:creationId xmlns:a16="http://schemas.microsoft.com/office/drawing/2014/main" id="{44F1DB9B-DC23-42C5-96BE-226EE1440D6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76241" y="6525561"/>
            <a:ext cx="10872788" cy="108748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785"/>
            </a:lvl1pPr>
            <a:lvl2pPr marL="342043" indent="0">
              <a:buFontTx/>
              <a:buNone/>
              <a:defRPr sz="599"/>
            </a:lvl2pPr>
            <a:lvl3pPr marL="684086" indent="0">
              <a:buFontTx/>
              <a:buNone/>
              <a:defRPr sz="599"/>
            </a:lvl3pPr>
            <a:lvl4pPr marL="1026128" indent="0">
              <a:buFontTx/>
              <a:buNone/>
              <a:defRPr sz="599"/>
            </a:lvl4pPr>
            <a:lvl5pPr marL="1368171" indent="0">
              <a:buFontTx/>
              <a:buNone/>
              <a:defRPr sz="599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933518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/>
            </a:lvl1pPr>
            <a:lvl2pPr>
              <a:defRPr sz="2000"/>
            </a:lvl2pPr>
            <a:lvl3pPr marL="1022350" indent="-215900">
              <a:buFont typeface="Arial" pitchFamily="34" charset="0"/>
              <a:buChar char="•"/>
              <a:defRPr lang="en-US" sz="2000" b="0" dirty="0">
                <a:solidFill>
                  <a:schemeClr val="bg2"/>
                </a:solidFill>
                <a:latin typeface="+mn-lt"/>
              </a:defRPr>
            </a:lvl3pPr>
            <a:lvl4pPr marL="1143000" indent="-228600">
              <a:defRPr lang="en-US" sz="2000" b="1" dirty="0" smtClean="0">
                <a:solidFill>
                  <a:schemeClr val="bg2"/>
                </a:solidFill>
                <a:latin typeface="+mn-lt"/>
              </a:defRPr>
            </a:lvl4pPr>
            <a:lvl5pPr marL="1143000" indent="-228600">
              <a:defRPr lang="en-US" sz="2000" b="1" dirty="0">
                <a:solidFill>
                  <a:schemeClr val="bg2"/>
                </a:solidFill>
                <a:latin typeface="+mn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itle Placeholder 15"/>
          <p:cNvSpPr>
            <a:spLocks noGrp="1"/>
          </p:cNvSpPr>
          <p:nvPr>
            <p:ph type="title"/>
          </p:nvPr>
        </p:nvSpPr>
        <p:spPr>
          <a:xfrm>
            <a:off x="524256" y="81888"/>
            <a:ext cx="10727141" cy="1143000"/>
          </a:xfrm>
          <a:prstGeom prst="rect">
            <a:avLst/>
          </a:prstGeom>
        </p:spPr>
        <p:txBody>
          <a:bodyPr rtlCol="0" anchor="b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3628809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3339" y="1534161"/>
            <a:ext cx="5365749" cy="4412615"/>
          </a:xfrm>
        </p:spPr>
        <p:txBody>
          <a:bodyPr/>
          <a:lstStyle>
            <a:lvl1pPr>
              <a:defRPr sz="2000" b="1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8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16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376064" y="1522786"/>
            <a:ext cx="5365749" cy="4423989"/>
          </a:xfrm>
        </p:spPr>
        <p:txBody>
          <a:bodyPr/>
          <a:lstStyle>
            <a:lvl1pPr>
              <a:defRPr sz="2000" b="1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  <a:lvl2pPr>
              <a:defRPr sz="18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2pPr>
            <a:lvl3pPr>
              <a:defRPr sz="1600" b="0"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3pPr>
            <a:lvl4pPr>
              <a:defRPr sz="18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18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39" y="81888"/>
            <a:ext cx="11344592" cy="1143000"/>
          </a:xfrm>
        </p:spPr>
        <p:txBody>
          <a:bodyPr/>
          <a:lstStyle>
            <a:lvl1pPr>
              <a:defRPr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5BDC0937-69B6-41FC-A3ED-947BCF5D4115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>
              <a:spcAft>
                <a:spcPts val="0"/>
              </a:spcAft>
            </a:pPr>
            <a:endParaRPr lang="en-US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A0FB814-6A99-45AB-99E2-42519091400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buClr>
                <a:schemeClr val="bg2">
                  <a:lumMod val="75000"/>
                </a:schemeClr>
              </a:buClr>
              <a:defRPr>
                <a:solidFill>
                  <a:srgbClr val="071D49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marL="182880" indent="-182880">
              <a:spcBef>
                <a:spcPts val="0"/>
              </a:spcBef>
              <a:spcAft>
                <a:spcPts val="600"/>
              </a:spcAft>
              <a:buSzPct val="100000"/>
              <a:buFont typeface="+mj-lt"/>
              <a:buAutoNum type="arabicPeriod"/>
            </a:pPr>
            <a:endParaRPr lang="en-US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6CF0BFAA-DB3C-4227-BEC5-F53D6845EEAB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0" y="6492876"/>
            <a:ext cx="2728392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71D49"/>
                </a:solidFill>
                <a:latin typeface="+mj-lt"/>
              </a:defRPr>
            </a:lvl1pPr>
          </a:lstStyle>
          <a:p>
            <a:fld id="{DA29096C-B62D-475C-AEF6-3F18739B8DB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873486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68352" y="1397000"/>
            <a:ext cx="5365749" cy="4886325"/>
          </a:xfrm>
        </p:spPr>
        <p:txBody>
          <a:bodyPr/>
          <a:lstStyle>
            <a:lvl1pPr>
              <a:defRPr sz="2667" b="1">
                <a:solidFill>
                  <a:schemeClr val="bg2"/>
                </a:solidFill>
              </a:defRPr>
            </a:lvl1pPr>
            <a:lvl2pPr>
              <a:defRPr sz="2400" b="0">
                <a:solidFill>
                  <a:schemeClr val="bg2"/>
                </a:solidFill>
              </a:defRPr>
            </a:lvl2pPr>
            <a:lvl3pPr>
              <a:defRPr sz="2133" b="0">
                <a:solidFill>
                  <a:schemeClr val="bg2"/>
                </a:solidFill>
              </a:defRPr>
            </a:lvl3pPr>
            <a:lvl4pPr>
              <a:defRPr sz="24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24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0"/>
          </p:nvPr>
        </p:nvSpPr>
        <p:spPr>
          <a:xfrm>
            <a:off x="6376064" y="1385627"/>
            <a:ext cx="5365749" cy="4886325"/>
          </a:xfrm>
        </p:spPr>
        <p:txBody>
          <a:bodyPr/>
          <a:lstStyle>
            <a:lvl1pPr>
              <a:defRPr sz="2667" b="1">
                <a:solidFill>
                  <a:schemeClr val="bg2"/>
                </a:solidFill>
              </a:defRPr>
            </a:lvl1pPr>
            <a:lvl2pPr>
              <a:defRPr sz="2400" b="0">
                <a:solidFill>
                  <a:schemeClr val="bg2"/>
                </a:solidFill>
              </a:defRPr>
            </a:lvl2pPr>
            <a:lvl3pPr>
              <a:defRPr sz="2133" b="0">
                <a:solidFill>
                  <a:schemeClr val="bg2"/>
                </a:solidFill>
              </a:defRPr>
            </a:lvl3pPr>
            <a:lvl4pPr>
              <a:defRPr sz="2400" b="0">
                <a:solidFill>
                  <a:schemeClr val="bg2"/>
                </a:solidFill>
                <a:effectLst/>
                <a:latin typeface="+mj-lt"/>
              </a:defRPr>
            </a:lvl4pPr>
            <a:lvl5pPr>
              <a:defRPr sz="2400" b="0">
                <a:solidFill>
                  <a:schemeClr val="bg2"/>
                </a:solidFill>
                <a:effectLst/>
                <a:latin typeface="+mj-lt"/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5"/>
          <p:cNvSpPr>
            <a:spLocks noGrp="1"/>
          </p:cNvSpPr>
          <p:nvPr>
            <p:ph type="title"/>
          </p:nvPr>
        </p:nvSpPr>
        <p:spPr>
          <a:xfrm>
            <a:off x="0" y="8467"/>
            <a:ext cx="12192000" cy="77893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>
              <a:defRPr sz="4267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91490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5204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47DBD6F-3CB8-724A-8541-1DE586DAD4D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algn="l"/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7C8810-3500-704E-B4E4-F4F86F60B23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96FA21FF-ACDC-4BBB-8A90-6963CB0D7C0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6B641679-88E9-2B4E-9BF0-F7212CA91F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4C7E6CD5-587D-DC40-887E-06B51FFF66D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296335" y="1161829"/>
            <a:ext cx="11599333" cy="4097467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 12">
            <a:extLst>
              <a:ext uri="{FF2B5EF4-FFF2-40B4-BE49-F238E27FC236}">
                <a16:creationId xmlns:a16="http://schemas.microsoft.com/office/drawing/2014/main" id="{C713F504-A04C-8947-BD8F-04D16BB2B19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296335" y="5890643"/>
            <a:ext cx="11599333" cy="607205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8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GB" dirty="0"/>
              <a:t>References and Footnotes</a:t>
            </a:r>
          </a:p>
        </p:txBody>
      </p:sp>
    </p:spTree>
    <p:extLst>
      <p:ext uri="{BB962C8B-B14F-4D97-AF65-F5344CB8AC3E}">
        <p14:creationId xmlns:p14="http://schemas.microsoft.com/office/powerpoint/2010/main" val="54757751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A11221-AEC8-4F20-A19B-7F1DDF8993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3930" y="607061"/>
            <a:ext cx="10683433" cy="2078267"/>
          </a:xfrm>
        </p:spPr>
        <p:txBody>
          <a:bodyPr anchor="ctr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BE16377-A904-4475-ACD2-C5EE764AB3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3930" y="3124873"/>
            <a:ext cx="10683433" cy="1655763"/>
          </a:xfrm>
        </p:spPr>
        <p:txBody>
          <a:bodyPr>
            <a:normAutofit/>
          </a:bodyPr>
          <a:lstStyle>
            <a:lvl1pPr marL="0" indent="0" algn="ctr">
              <a:buNone/>
              <a:defRPr sz="18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65874EA-58E4-43D8-83A9-0F00DC59379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63928" y="5220183"/>
            <a:ext cx="10683435" cy="1181100"/>
          </a:xfrm>
        </p:spPr>
        <p:txBody>
          <a:bodyPr>
            <a:normAutofit/>
          </a:bodyPr>
          <a:lstStyle>
            <a:lvl1pPr marL="0" indent="0" algn="ctr">
              <a:buFontTx/>
              <a:buNone/>
              <a:defRPr sz="1200"/>
            </a:lvl1pPr>
            <a:lvl2pPr marL="457189" indent="0" algn="ctr">
              <a:buFontTx/>
              <a:buNone/>
              <a:defRPr/>
            </a:lvl2pPr>
            <a:lvl3pPr marL="914377" indent="0" algn="ctr">
              <a:buFontTx/>
              <a:buNone/>
              <a:defRPr/>
            </a:lvl3pPr>
            <a:lvl4pPr marL="1371566" indent="0" algn="ctr">
              <a:buFontTx/>
              <a:buNone/>
              <a:defRPr/>
            </a:lvl4pPr>
            <a:lvl5pPr marL="1828754" indent="0" algn="ctr">
              <a:buFontTx/>
              <a:buNone/>
              <a:defRPr/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13485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DDF29-F9EF-4C76-9060-6B75AA550E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72937" y="1425044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A5F0E98-669A-494C-8C73-FD5365573A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972937" y="2248957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D9C060F-C12B-4187-8998-4897EC0090B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5350" y="1425044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640590A-E1D3-4EB5-AF4F-AEA78BE4B09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5350" y="2248957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9CD5F32-5ABD-4CA2-A5F1-9681E4BD81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2323" y="6472556"/>
            <a:ext cx="1164735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8FB59D-A481-4154-A62F-9C33CAD592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23" y="156876"/>
            <a:ext cx="11647357" cy="7291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611359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09794308-319B-44E6-8CEE-5FCA265059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323" y="156876"/>
            <a:ext cx="11647357" cy="72915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D061F295-CD7C-4385-89B6-69CCC3FDBA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72323" y="6472556"/>
            <a:ext cx="11647357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445363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294C1-EE60-41E1-489E-6C7486F2F5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F367D88-4060-A2CD-ABF6-A223616007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84F08B-F2F6-C90F-16B8-FE379FE529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118D63-9136-9A90-B670-03A8E3340D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6A7A18-9FD2-E573-ECFF-A15800AD76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BE50B0-CFDD-5B4D-A87C-E5FCFAB0DDC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709238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Sho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CC7049-9E85-6D47-8947-FB81F614D76A}"/>
              </a:ext>
            </a:extLst>
          </p:cNvPr>
          <p:cNvSpPr/>
          <p:nvPr userDrawn="1"/>
        </p:nvSpPr>
        <p:spPr>
          <a:xfrm>
            <a:off x="1" y="5596469"/>
            <a:ext cx="12192000" cy="12615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A74E7-9D58-484C-A8F3-83EE1732E3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110" y="500332"/>
            <a:ext cx="10307782" cy="2871865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46p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8C6541-C4A5-0F4E-B98F-CDF4FAE065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9818" y="3459565"/>
            <a:ext cx="10307781" cy="86211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TITLE ARIAL BOLD UPPERCAS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369D8A-0780-064F-916B-8C1A23055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8906" y="4321676"/>
            <a:ext cx="10328693" cy="554359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Date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2757E6-0C7E-9A47-8EF1-C2C12D969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6584" y="5741009"/>
            <a:ext cx="2739484" cy="784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47686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CC7049-9E85-6D47-8947-FB81F614D76A}"/>
              </a:ext>
            </a:extLst>
          </p:cNvPr>
          <p:cNvSpPr/>
          <p:nvPr userDrawn="1"/>
        </p:nvSpPr>
        <p:spPr>
          <a:xfrm>
            <a:off x="1" y="5596469"/>
            <a:ext cx="12192000" cy="12615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A74E7-9D58-484C-A8F3-83EE1732E3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108" y="559838"/>
            <a:ext cx="10335489" cy="1670438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46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46pt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8C6541-C4A5-0F4E-B98F-CDF4FAE065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2109" y="2317644"/>
            <a:ext cx="10335489" cy="350913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TITLE ARIAL BOLD UPPERCAS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369D8A-0780-064F-916B-8C1A23055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8905" y="2750548"/>
            <a:ext cx="10328693" cy="350913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Date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2757E6-0C7E-9A47-8EF1-C2C12D969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6584" y="5741009"/>
            <a:ext cx="2739484" cy="784676"/>
          </a:xfrm>
          <a:prstGeom prst="rect">
            <a:avLst/>
          </a:prstGeom>
        </p:spPr>
      </p:pic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A7F62EEE-EE5F-ED45-A133-ABFDB191CA2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42514" y="3310469"/>
            <a:ext cx="4049486" cy="228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D727BABB-F268-C14B-A1E2-ABE6920D136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093028" y="3310469"/>
            <a:ext cx="4049486" cy="228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FFC8AAC7-F6F0-A74F-ACE6-5096A625587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3310469"/>
            <a:ext cx="4093028" cy="2286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99309210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Lon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ECC7049-9E85-6D47-8947-FB81F614D76A}"/>
              </a:ext>
            </a:extLst>
          </p:cNvPr>
          <p:cNvSpPr/>
          <p:nvPr userDrawn="1"/>
        </p:nvSpPr>
        <p:spPr>
          <a:xfrm>
            <a:off x="1" y="5596469"/>
            <a:ext cx="12192000" cy="12615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FEA74E7-9D58-484C-A8F3-83EE1732E3D9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42110" y="701040"/>
            <a:ext cx="10307782" cy="2671157"/>
          </a:xfrm>
          <a:prstGeom prst="rect">
            <a:avLst/>
          </a:prstGeom>
        </p:spPr>
        <p:txBody>
          <a:bodyPr anchor="b">
            <a:normAutofit/>
          </a:bodyPr>
          <a:lstStyle>
            <a:lvl1pPr algn="ctr"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32pt Title Can Be Two Lines If Needed Space Her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38C6541-C4A5-0F4E-B98F-CDF4FAE065A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69818" y="3459565"/>
            <a:ext cx="10307781" cy="613671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ctr">
              <a:buNone/>
              <a:defRPr sz="20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HEAD TITLE ARIAL BOLD UPPERCAS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13369D8A-0780-064F-916B-8C1A2305589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942110" y="4262364"/>
            <a:ext cx="10335489" cy="613671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Date Her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92757E6-0C7E-9A47-8EF1-C2C12D9693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736584" y="5741009"/>
            <a:ext cx="2739484" cy="784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503307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2055765A-5707-F147-BB40-C02F56C0B15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42110" y="1950720"/>
            <a:ext cx="10411690" cy="2407920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None/>
              <a:defRPr sz="4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ection Divider Arial Bold 44pt</a:t>
            </a:r>
          </a:p>
        </p:txBody>
      </p:sp>
    </p:spTree>
    <p:extLst>
      <p:ext uri="{BB962C8B-B14F-4D97-AF65-F5344CB8AC3E}">
        <p14:creationId xmlns:p14="http://schemas.microsoft.com/office/powerpoint/2010/main" val="4119848494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D591B4F-17D3-634B-80FB-8275A7C476C0}"/>
              </a:ext>
            </a:extLst>
          </p:cNvPr>
          <p:cNvCxnSpPr/>
          <p:nvPr userDrawn="1"/>
        </p:nvCxnSpPr>
        <p:spPr>
          <a:xfrm>
            <a:off x="0" y="844400"/>
            <a:ext cx="12192000" cy="0"/>
          </a:xfrm>
          <a:prstGeom prst="line">
            <a:avLst/>
          </a:prstGeom>
          <a:ln>
            <a:solidFill>
              <a:srgbClr val="63656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8B2F5DC-12FC-A649-BFA0-DBD05B6034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7" y="346806"/>
            <a:ext cx="10476722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69080396-60D6-9D40-8DBF-4D606F3C947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1703297"/>
            <a:ext cx="10476722" cy="392748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7584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76118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Title + Head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7315E7D-D716-E648-B800-EA984E72A5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2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4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7CE242A-1B9D-3644-AEBB-2DC2F5826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7" y="346806"/>
            <a:ext cx="10476722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7BD09DA-55FB-C646-9687-9A5FA9683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7" y="2078587"/>
            <a:ext cx="10476722" cy="355219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920597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0D1BE8DA-77C8-AA49-9F71-A42471F9D5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2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4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DD9D7CC-FB4D-DA4B-BE9C-DA068C1D66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7" y="2078587"/>
            <a:ext cx="10476722" cy="355219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8213928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3155" y="332409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sz="3200" b="1" baseline="0">
                <a:solidFill>
                  <a:schemeClr val="tx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 hasCustomPrompt="1"/>
          </p:nvPr>
        </p:nvSpPr>
        <p:spPr>
          <a:xfrm>
            <a:off x="541868" y="1493101"/>
            <a:ext cx="10972800" cy="4711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621192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6400" y="1600206"/>
            <a:ext cx="11480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06400" y="274637"/>
            <a:ext cx="11480800" cy="1143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 i="0">
                <a:solidFill>
                  <a:srgbClr val="000000"/>
                </a:solidFill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8672997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DB6EE91B-CD7A-421D-B30E-2A29046A2A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73152"/>
            <a:ext cx="12192000" cy="7794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BC415278-F057-4471-B85D-CA71418E630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31BBECA1-9F7E-4EA5-8454-70318D11DB5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DFFE3CA-F3E1-4ECD-A7EC-97BBFEAB14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4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32CE7BA-AF59-40C6-8C7F-922E27F1F3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4"/>
            <a:ext cx="2743200" cy="365125"/>
          </a:xfrm>
          <a:prstGeom prst="rect">
            <a:avLst/>
          </a:prstGeom>
        </p:spPr>
        <p:txBody>
          <a:bodyPr/>
          <a:lstStyle/>
          <a:p>
            <a:fld id="{6334B41D-A9F0-426F-BC5E-CADAAECAB79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058123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1D040C-95E2-8A42-BF16-C33A44252A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C7EADFD-BFF9-C541-B131-06BFCAE38B7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CB6559-5311-494D-8F67-AADFBC24FF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41837F1-49D8-A344-BC00-757A919A9A9B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C8DA06E-B1BA-D54C-BB99-641F47FA1EB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47867" y="6176965"/>
            <a:ext cx="9837737" cy="654051"/>
          </a:xfrm>
        </p:spPr>
        <p:txBody>
          <a:bodyPr anchor="b">
            <a:normAutofit/>
          </a:bodyPr>
          <a:lstStyle>
            <a:lvl1pPr marL="0" indent="0">
              <a:buNone/>
              <a:defRPr sz="675"/>
            </a:lvl1pPr>
          </a:lstStyle>
          <a:p>
            <a:pPr lvl="0"/>
            <a:r>
              <a:rPr lang="en-US" dirty="0"/>
              <a:t>References / Footnote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93FCA23-9627-43BB-BA80-9FB0253B2D9C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757416"/>
            <a:ext cx="12192000" cy="10058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D123670-E374-46BF-9CEE-2D89A1E72545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515"/>
            <a:ext cx="12192000" cy="10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761127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FC0446-27C6-424F-AE49-EF5557315B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78691" y="1363111"/>
            <a:ext cx="5631528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19CD710-570B-9E47-AB32-05F80744DFC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78691" y="2187026"/>
            <a:ext cx="5631528" cy="39893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D3F7F-F922-8147-A7EE-45D24FA44B7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26341" y="1363111"/>
            <a:ext cx="5659263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891" indent="0">
              <a:buNone/>
              <a:defRPr sz="1500" b="1"/>
            </a:lvl2pPr>
            <a:lvl3pPr marL="685783" indent="0">
              <a:buNone/>
              <a:defRPr sz="1351" b="1"/>
            </a:lvl3pPr>
            <a:lvl4pPr marL="1028674" indent="0">
              <a:buNone/>
              <a:defRPr sz="1200" b="1"/>
            </a:lvl4pPr>
            <a:lvl5pPr marL="1371566" indent="0">
              <a:buNone/>
              <a:defRPr sz="1200" b="1"/>
            </a:lvl5pPr>
            <a:lvl6pPr marL="1714457" indent="0">
              <a:buNone/>
              <a:defRPr sz="1200" b="1"/>
            </a:lvl6pPr>
            <a:lvl7pPr marL="2057349" indent="0">
              <a:buNone/>
              <a:defRPr sz="1200" b="1"/>
            </a:lvl7pPr>
            <a:lvl8pPr marL="2400240" indent="0">
              <a:buNone/>
              <a:defRPr sz="1200" b="1"/>
            </a:lvl8pPr>
            <a:lvl9pPr marL="2743131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4A67C0-28F2-8644-B78B-B9E8EF7DDCA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26341" y="2187026"/>
            <a:ext cx="5659263" cy="398936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0C3A55E-BF0B-6C4A-8708-8114ED8051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141837F1-49D8-A344-BC00-757A919A9A9B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B181094-989A-FD41-A44B-80D5F0DF4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24D22C31-D72D-F641-A711-8C7BD4D139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47867" y="6176965"/>
            <a:ext cx="9837737" cy="654051"/>
          </a:xfrm>
        </p:spPr>
        <p:txBody>
          <a:bodyPr anchor="b">
            <a:normAutofit/>
          </a:bodyPr>
          <a:lstStyle>
            <a:lvl1pPr marL="0" indent="0">
              <a:buNone/>
              <a:defRPr sz="675"/>
            </a:lvl1pPr>
          </a:lstStyle>
          <a:p>
            <a:pPr lvl="0"/>
            <a:r>
              <a:rPr lang="en-US" dirty="0"/>
              <a:t>References / Footnot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23C955F-4CCA-447D-A2C7-DA73D1D59400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757416"/>
            <a:ext cx="12192000" cy="10058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ECD8FA8E-AE3F-4FDC-9837-52D711C913C9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8515"/>
            <a:ext cx="12192000" cy="10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60861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72307296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+ Bullets_vertical des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1">
            <a:extLst>
              <a:ext uri="{FF2B5EF4-FFF2-40B4-BE49-F238E27FC236}">
                <a16:creationId xmlns:a16="http://schemas.microsoft.com/office/drawing/2014/main" id="{8862A787-F01B-D54C-89F4-0E3239919BB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29178" y="2296334"/>
            <a:ext cx="10024621" cy="3818715"/>
          </a:xfrm>
          <a:prstGeom prst="rect">
            <a:avLst/>
          </a:prstGeom>
        </p:spPr>
        <p:txBody>
          <a:bodyPr anchor="t">
            <a:normAutofit/>
          </a:bodyPr>
          <a:lstStyle>
            <a:lvl1pPr marL="571500" marR="0" indent="-57150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  <a:tabLst/>
              <a:defRPr sz="3200"/>
            </a:lvl1pPr>
          </a:lstStyle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 </a:t>
            </a:r>
          </a:p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</a:t>
            </a:r>
          </a:p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</a:t>
            </a:r>
          </a:p>
          <a:p>
            <a:pPr marL="571500" indent="-571500">
              <a:lnSpc>
                <a:spcPct val="150000"/>
              </a:lnSpc>
              <a:buClr>
                <a:srgbClr val="12689B"/>
              </a:buClr>
              <a:buSzPct val="125000"/>
              <a:buFont typeface="Arial" panose="020B0604020202020204" pitchFamily="34" charset="0"/>
              <a:buChar char="•"/>
            </a:pPr>
            <a:r>
              <a:rPr lang="en-US" sz="3200" dirty="0"/>
              <a:t>Bullet Arial 32pt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C024580C-E0EF-AE44-9E9F-FD1D4AFF92B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29178" y="1526053"/>
            <a:ext cx="10025062" cy="6746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D8AE60D-85D3-5D43-A5DC-7BC5C53FE6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29178" y="544724"/>
            <a:ext cx="10024621" cy="603826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sz="3000" b="1">
                <a:solidFill>
                  <a:schemeClr val="accent1"/>
                </a:solidFill>
              </a:defRPr>
            </a:lvl1pPr>
          </a:lstStyle>
          <a:p>
            <a:r>
              <a:rPr lang="en-US" sz="3000" b="1" dirty="0">
                <a:solidFill>
                  <a:srgbClr val="12689B"/>
                </a:solidFill>
              </a:rPr>
              <a:t>Arial Bold 30pt Section Heade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E1EC6F-D049-9E49-95E0-68AA7A35EC2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7402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4286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6">
            <a:extLst>
              <a:ext uri="{FF2B5EF4-FFF2-40B4-BE49-F238E27FC236}">
                <a16:creationId xmlns:a16="http://schemas.microsoft.com/office/drawing/2014/main" id="{0B9AA686-32A1-0DF2-6103-6B8756DCB8C9}"/>
              </a:ext>
            </a:extLst>
          </p:cNvPr>
          <p:cNvSpPr/>
          <p:nvPr userDrawn="1"/>
        </p:nvSpPr>
        <p:spPr>
          <a:xfrm>
            <a:off x="-2544" y="6346700"/>
            <a:ext cx="12195816" cy="534272"/>
          </a:xfrm>
          <a:custGeom>
            <a:avLst/>
            <a:gdLst/>
            <a:ahLst/>
            <a:cxnLst/>
            <a:rect l="l" t="t" r="r" b="b"/>
            <a:pathLst>
              <a:path w="12193270" h="6199505">
                <a:moveTo>
                  <a:pt x="12193206" y="0"/>
                </a:moveTo>
                <a:lnTo>
                  <a:pt x="0" y="0"/>
                </a:lnTo>
                <a:lnTo>
                  <a:pt x="0" y="6199073"/>
                </a:lnTo>
                <a:lnTo>
                  <a:pt x="12193206" y="6199073"/>
                </a:lnTo>
                <a:lnTo>
                  <a:pt x="1219320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pPr lvl="1"/>
            <a:endParaRPr sz="1351"/>
          </a:p>
        </p:txBody>
      </p:sp>
      <p:sp>
        <p:nvSpPr>
          <p:cNvPr id="3" name="object 6">
            <a:extLst>
              <a:ext uri="{FF2B5EF4-FFF2-40B4-BE49-F238E27FC236}">
                <a16:creationId xmlns:a16="http://schemas.microsoft.com/office/drawing/2014/main" id="{619190F4-38AD-1D4E-990F-118EC3572D26}"/>
              </a:ext>
            </a:extLst>
          </p:cNvPr>
          <p:cNvSpPr/>
          <p:nvPr userDrawn="1"/>
        </p:nvSpPr>
        <p:spPr>
          <a:xfrm>
            <a:off x="2" y="2514599"/>
            <a:ext cx="12193271" cy="3832100"/>
          </a:xfrm>
          <a:custGeom>
            <a:avLst/>
            <a:gdLst/>
            <a:ahLst/>
            <a:cxnLst/>
            <a:rect l="l" t="t" r="r" b="b"/>
            <a:pathLst>
              <a:path w="12193270" h="6199505">
                <a:moveTo>
                  <a:pt x="12193206" y="0"/>
                </a:moveTo>
                <a:lnTo>
                  <a:pt x="0" y="0"/>
                </a:lnTo>
                <a:lnTo>
                  <a:pt x="0" y="6199073"/>
                </a:lnTo>
                <a:lnTo>
                  <a:pt x="12193206" y="6199073"/>
                </a:lnTo>
                <a:lnTo>
                  <a:pt x="12193206" y="0"/>
                </a:lnTo>
                <a:close/>
              </a:path>
            </a:pathLst>
          </a:custGeom>
          <a:noFill/>
        </p:spPr>
        <p:txBody>
          <a:bodyPr wrap="square" lIns="0" tIns="0" rIns="0" bIns="0" rtlCol="0"/>
          <a:lstStyle/>
          <a:p>
            <a:pPr lvl="1"/>
            <a:endParaRPr sz="1351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A209048E-43B3-584D-8C8B-F7C1E2412FE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ctrTitle" hasCustomPrompt="1"/>
          </p:nvPr>
        </p:nvSpPr>
        <p:spPr>
          <a:xfrm>
            <a:off x="182879" y="762001"/>
            <a:ext cx="11846563" cy="1054099"/>
          </a:xfrm>
        </p:spPr>
        <p:txBody>
          <a:bodyPr numCol="1" anchor="b">
            <a:normAutofit/>
          </a:bodyPr>
          <a:lstStyle>
            <a:lvl1pPr algn="ctr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Title</a:t>
            </a:r>
            <a:endParaRPr lang="en-US">
              <a:effectLst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DB8C280-0E60-D685-950C-C02D08626BF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2877" y="2631442"/>
            <a:ext cx="11846563" cy="2769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8E667946-7789-283F-B37B-2A6A4C4C58BA}"/>
              </a:ext>
            </a:extLst>
          </p:cNvPr>
          <p:cNvSpPr/>
          <p:nvPr userDrawn="1"/>
        </p:nvSpPr>
        <p:spPr>
          <a:xfrm>
            <a:off x="-2544" y="0"/>
            <a:ext cx="12195816" cy="534272"/>
          </a:xfrm>
          <a:custGeom>
            <a:avLst/>
            <a:gdLst/>
            <a:ahLst/>
            <a:cxnLst/>
            <a:rect l="l" t="t" r="r" b="b"/>
            <a:pathLst>
              <a:path w="12193270" h="6199505">
                <a:moveTo>
                  <a:pt x="12193206" y="0"/>
                </a:moveTo>
                <a:lnTo>
                  <a:pt x="0" y="0"/>
                </a:lnTo>
                <a:lnTo>
                  <a:pt x="0" y="6199073"/>
                </a:lnTo>
                <a:lnTo>
                  <a:pt x="12193206" y="6199073"/>
                </a:lnTo>
                <a:lnTo>
                  <a:pt x="12193206" y="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/>
          <a:lstStyle/>
          <a:p>
            <a:pPr lvl="1"/>
            <a:endParaRPr sz="1351"/>
          </a:p>
        </p:txBody>
      </p:sp>
      <p:sp>
        <p:nvSpPr>
          <p:cNvPr id="4" name="Text Placeholder 5">
            <a:extLst>
              <a:ext uri="{FF2B5EF4-FFF2-40B4-BE49-F238E27FC236}">
                <a16:creationId xmlns:a16="http://schemas.microsoft.com/office/drawing/2014/main" id="{DA42D916-824F-E40E-743D-3A9C34F7D31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95" y="6353874"/>
            <a:ext cx="11374967" cy="369332"/>
          </a:xfrm>
        </p:spPr>
        <p:txBody>
          <a:bodyPr anchor="b">
            <a:noAutofit/>
          </a:bodyPr>
          <a:lstStyle>
            <a:lvl1pPr marL="0" indent="0">
              <a:buNone/>
              <a:defRPr sz="1000">
                <a:solidFill>
                  <a:schemeClr val="bg1"/>
                </a:solidFill>
                <a:latin typeface="+mn-lt"/>
              </a:defRPr>
            </a:lvl1pPr>
            <a:lvl2pPr marL="342891" indent="0">
              <a:buFont typeface="Arial" panose="020B0604020202020204" pitchFamily="34" charset="0"/>
              <a:buNone/>
              <a:defRPr>
                <a:latin typeface="+mn-lt"/>
              </a:defRPr>
            </a:lvl2pPr>
            <a:lvl3pPr marL="685783" indent="0">
              <a:buFont typeface="Arial" panose="020B0604020202020204" pitchFamily="34" charset="0"/>
              <a:buNone/>
              <a:defRPr>
                <a:latin typeface="+mn-lt"/>
              </a:defRPr>
            </a:lvl3pPr>
            <a:lvl4pPr marL="1028674" indent="0">
              <a:buFont typeface="Arial" panose="020B0604020202020204" pitchFamily="34" charset="0"/>
              <a:buNone/>
              <a:defRPr>
                <a:latin typeface="+mn-lt"/>
              </a:defRPr>
            </a:lvl4pPr>
            <a:lvl5pPr marL="1371566" indent="0">
              <a:buFont typeface="Arial" panose="020B0604020202020204" pitchFamily="34" charset="0"/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54022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72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260872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176541" y="648775"/>
            <a:ext cx="11863059" cy="430887"/>
          </a:xfrm>
        </p:spPr>
        <p:txBody>
          <a:bodyPr lIns="0" tIns="0" rIns="0" bIns="0"/>
          <a:lstStyle>
            <a:lvl1pPr>
              <a:defRPr/>
            </a:lvl1pPr>
          </a:lstStyle>
          <a:p>
            <a:endParaRPr lang="en-NL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76541" y="1447801"/>
            <a:ext cx="11863059" cy="276999"/>
          </a:xfrm>
        </p:spPr>
        <p:txBody>
          <a:bodyPr lIns="0" tIns="0" rIns="0" bIns="0"/>
          <a:lstStyle>
            <a:lvl1pPr>
              <a:defRPr/>
            </a:lvl1pPr>
            <a:lvl2pPr marL="723882" indent="-380990">
              <a:buClr>
                <a:srgbClr val="FF0000"/>
              </a:buClr>
              <a:buFont typeface="Arial" panose="020B0604020202020204" pitchFamily="34" charset="0"/>
              <a:buChar char="•"/>
              <a:defRPr/>
            </a:lvl2pPr>
          </a:lstStyle>
          <a:p>
            <a:endParaRPr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47CE633D-A34B-1743-ACEC-45ED90352AB3}"/>
              </a:ext>
            </a:extLst>
          </p:cNvPr>
          <p:cNvCxnSpPr>
            <a:cxnSpLocks/>
          </p:cNvCxnSpPr>
          <p:nvPr userDrawn="1"/>
        </p:nvCxnSpPr>
        <p:spPr>
          <a:xfrm>
            <a:off x="176541" y="1146584"/>
            <a:ext cx="118630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8" name="Slide Number Placeholder 11">
            <a:extLst>
              <a:ext uri="{FF2B5EF4-FFF2-40B4-BE49-F238E27FC236}">
                <a16:creationId xmlns:a16="http://schemas.microsoft.com/office/drawing/2014/main" id="{16D55C31-3549-0067-BD53-F7997B77FC57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592561" y="6451104"/>
            <a:ext cx="44704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511BAF-3BAC-4704-984F-D5F7B7C79A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7C27D9-0B1E-25DD-CD39-DCC5060F44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95" y="6353874"/>
            <a:ext cx="11374967" cy="369332"/>
          </a:xfrm>
        </p:spPr>
        <p:txBody>
          <a:bodyPr anchor="b">
            <a:noAutofit/>
          </a:bodyPr>
          <a:lstStyle>
            <a:lvl1pPr marL="0" indent="0">
              <a:buNone/>
              <a:defRPr sz="1000">
                <a:latin typeface="+mn-lt"/>
              </a:defRPr>
            </a:lvl1pPr>
            <a:lvl2pPr marL="342891" indent="0">
              <a:buFont typeface="Arial" panose="020B0604020202020204" pitchFamily="34" charset="0"/>
              <a:buNone/>
              <a:defRPr>
                <a:latin typeface="+mn-lt"/>
              </a:defRPr>
            </a:lvl2pPr>
            <a:lvl3pPr marL="685783" indent="0">
              <a:buFont typeface="Arial" panose="020B0604020202020204" pitchFamily="34" charset="0"/>
              <a:buNone/>
              <a:defRPr>
                <a:latin typeface="+mn-lt"/>
              </a:defRPr>
            </a:lvl3pPr>
            <a:lvl4pPr marL="1028674" indent="0">
              <a:buFont typeface="Arial" panose="020B0604020202020204" pitchFamily="34" charset="0"/>
              <a:buNone/>
              <a:defRPr>
                <a:latin typeface="+mn-lt"/>
              </a:defRPr>
            </a:lvl4pPr>
            <a:lvl5pPr marL="1371566" indent="0">
              <a:buFont typeface="Arial" panose="020B0604020202020204" pitchFamily="34" charset="0"/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95386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176541" y="648775"/>
            <a:ext cx="11863059" cy="430887"/>
          </a:xfrm>
        </p:spPr>
        <p:txBody>
          <a:bodyPr lIns="0" tIns="0" rIns="0" bIns="0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NL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EF0CF84-E6C5-E64B-8DA1-57A74D447E78}"/>
              </a:ext>
            </a:extLst>
          </p:cNvPr>
          <p:cNvCxnSpPr>
            <a:cxnSpLocks/>
          </p:cNvCxnSpPr>
          <p:nvPr userDrawn="1"/>
        </p:nvCxnSpPr>
        <p:spPr>
          <a:xfrm>
            <a:off x="176541" y="1146584"/>
            <a:ext cx="11863059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5" name="Slide Number Placeholder 11">
            <a:extLst>
              <a:ext uri="{FF2B5EF4-FFF2-40B4-BE49-F238E27FC236}">
                <a16:creationId xmlns:a16="http://schemas.microsoft.com/office/drawing/2014/main" id="{BC665E6E-615A-2B88-BAD7-9C890005236D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592561" y="6451104"/>
            <a:ext cx="44704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511BAF-3BAC-4704-984F-D5F7B7C79A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0AC0E0E-7A8C-0E11-36CD-88E2900C4C9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17595" y="6353874"/>
            <a:ext cx="11374967" cy="369332"/>
          </a:xfrm>
        </p:spPr>
        <p:txBody>
          <a:bodyPr anchor="b">
            <a:noAutofit/>
          </a:bodyPr>
          <a:lstStyle>
            <a:lvl1pPr marL="0" indent="0">
              <a:buNone/>
              <a:defRPr sz="1000">
                <a:latin typeface="+mn-lt"/>
              </a:defRPr>
            </a:lvl1pPr>
            <a:lvl2pPr marL="342891" indent="0">
              <a:buFont typeface="Arial" panose="020B0604020202020204" pitchFamily="34" charset="0"/>
              <a:buNone/>
              <a:defRPr>
                <a:latin typeface="+mn-lt"/>
              </a:defRPr>
            </a:lvl2pPr>
            <a:lvl3pPr marL="685783" indent="0">
              <a:buFont typeface="Arial" panose="020B0604020202020204" pitchFamily="34" charset="0"/>
              <a:buNone/>
              <a:defRPr>
                <a:latin typeface="+mn-lt"/>
              </a:defRPr>
            </a:lvl3pPr>
            <a:lvl4pPr marL="1028674" indent="0">
              <a:buFont typeface="Arial" panose="020B0604020202020204" pitchFamily="34" charset="0"/>
              <a:buNone/>
              <a:defRPr>
                <a:latin typeface="+mn-lt"/>
              </a:defRPr>
            </a:lvl4pPr>
            <a:lvl5pPr marL="1371566" indent="0">
              <a:buFont typeface="Arial" panose="020B0604020202020204" pitchFamily="34" charset="0"/>
              <a:buNone/>
              <a:defRPr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483706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37422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4802" y="3172953"/>
            <a:ext cx="11571109" cy="891931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2667" b="1" i="0">
                <a:solidFill>
                  <a:srgbClr val="CD113B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4803" y="4312357"/>
            <a:ext cx="11627552" cy="1953556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2133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F42DBC-C000-474C-847A-96A1FE0230FB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D8009FEC-A01C-EB4F-9AED-98C23E3BD7A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478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44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02941447-81A8-E34A-8E29-11F044513D7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04800" y="264669"/>
            <a:ext cx="11582400" cy="713539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304800" y="1083734"/>
            <a:ext cx="11582400" cy="4697420"/>
          </a:xfrm>
          <a:prstGeom prst="rect">
            <a:avLst/>
          </a:prstGeo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  <a:lvl2pPr>
              <a:defRPr sz="1867">
                <a:solidFill>
                  <a:schemeClr val="tx1"/>
                </a:solidFill>
              </a:defRPr>
            </a:lvl2pPr>
            <a:lvl3pPr>
              <a:defRPr sz="1600">
                <a:solidFill>
                  <a:schemeClr val="tx1"/>
                </a:solidFill>
              </a:defRPr>
            </a:lvl3pPr>
            <a:lvl4pPr>
              <a:defRPr sz="1600">
                <a:solidFill>
                  <a:schemeClr val="tx1"/>
                </a:solidFill>
              </a:defRPr>
            </a:lvl4pPr>
            <a:lvl5pP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43B82D-07E2-9F0E-1479-AA31802D6A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6032820"/>
            <a:ext cx="11582400" cy="3640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B32A4BB-30EE-EED6-0E5E-471805061252}"/>
              </a:ext>
            </a:extLst>
          </p:cNvPr>
          <p:cNvSpPr/>
          <p:nvPr userDrawn="1"/>
        </p:nvSpPr>
        <p:spPr>
          <a:xfrm>
            <a:off x="609600" y="6367346"/>
            <a:ext cx="4709532" cy="490654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69114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32">
          <p15:clr>
            <a:srgbClr val="FBAE40"/>
          </p15:clr>
        </p15:guide>
        <p15:guide id="4" pos="144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32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133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EA077D-40D2-7645-91D9-F5061C772B13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24AA7F1F-F248-F943-913A-EBF08A13E99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2230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102225"/>
            <a:ext cx="5689600" cy="4712423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599" y="1102225"/>
            <a:ext cx="5689599" cy="4712423"/>
          </a:xfrm>
          <a:prstGeom prst="rect">
            <a:avLst/>
          </a:prstGeo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590444B3-43E0-CD49-8543-3A769AE78B9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4800" y="287248"/>
            <a:ext cx="11582400" cy="713539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D3012CDD-4BD8-4A94-10F7-01242FBFE49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16084"/>
            <a:ext cx="11582400" cy="3640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8450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orient="horz" pos="132">
          <p15:clr>
            <a:srgbClr val="FBAE40"/>
          </p15:clr>
        </p15:guide>
        <p15:guide id="4" pos="144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368923"/>
            <a:ext cx="7315200" cy="3527975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2133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fld id="{7C5520E0-F525-124B-8DCB-FDFCBFF95DED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304800" y="275960"/>
            <a:ext cx="11582400" cy="713539"/>
          </a:xfrm>
          <a:prstGeom prst="rect">
            <a:avLst/>
          </a:prstGeom>
        </p:spPr>
        <p:txBody>
          <a:bodyPr anchor="ctr"/>
          <a:lstStyle>
            <a:lvl1pPr>
              <a:defRPr sz="3200" b="1"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4FF5620F-FA0F-0DA4-6BF9-C5229BBFDC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16084"/>
            <a:ext cx="11582400" cy="36406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0242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orient="horz" pos="132">
          <p15:clr>
            <a:srgbClr val="FBAE40"/>
          </p15:clr>
        </p15:guide>
        <p15:guide id="3" pos="2880">
          <p15:clr>
            <a:srgbClr val="FBAE40"/>
          </p15:clr>
        </p15:guide>
        <p15:guide id="4" pos="144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838831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6397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545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9742202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98547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901749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510182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992293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016134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53822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4811065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80605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4/16/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815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1812871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51136" y="1"/>
            <a:ext cx="2340864" cy="267175"/>
          </a:xfrm>
        </p:spPr>
        <p:txBody>
          <a:bodyPr/>
          <a:lstStyle>
            <a:lvl1pPr algn="r">
              <a:defRPr sz="1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72FE6E3-A06C-45E8-B6D7-98992BE91393}"/>
              </a:ext>
            </a:extLst>
          </p:cNvPr>
          <p:cNvCxnSpPr>
            <a:cxnSpLocks/>
          </p:cNvCxnSpPr>
          <p:nvPr userDrawn="1"/>
        </p:nvCxnSpPr>
        <p:spPr>
          <a:xfrm>
            <a:off x="164290" y="6415343"/>
            <a:ext cx="1174236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le 1">
            <a:extLst>
              <a:ext uri="{FF2B5EF4-FFF2-40B4-BE49-F238E27FC236}">
                <a16:creationId xmlns:a16="http://schemas.microsoft.com/office/drawing/2014/main" id="{CD64E7F1-99DF-44BC-AB1D-46A6A8CDB9C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5600" y="2062805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3733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8BF6F45-2C4D-4D26-B263-FD2054C3548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55600" y="3601149"/>
            <a:ext cx="103632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133" b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11525669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673">
          <p15:clr>
            <a:srgbClr val="FBAE40"/>
          </p15:clr>
        </p15:guide>
        <p15:guide id="2" pos="611">
          <p15:clr>
            <a:srgbClr val="FBAE40"/>
          </p15:clr>
        </p15:guide>
        <p15:guide id="3" pos="1075">
          <p15:clr>
            <a:srgbClr val="FBAE40"/>
          </p15:clr>
        </p15:guide>
        <p15:guide id="4" orient="horz" pos="433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Oral or Po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55600" y="1889869"/>
            <a:ext cx="10363200" cy="147002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>
            <a:lvl1pPr algn="l">
              <a:defRPr lang="en-US" sz="3733" b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55600" y="3428213"/>
            <a:ext cx="10363200" cy="419616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2133" b="0">
                <a:solidFill>
                  <a:schemeClr val="accent1"/>
                </a:solidFill>
              </a:defRPr>
            </a:lvl1pPr>
            <a:lvl2pPr marL="4571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author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9ED57D8-0216-4E00-A170-28372EC4083A}"/>
              </a:ext>
            </a:extLst>
          </p:cNvPr>
          <p:cNvCxnSpPr>
            <a:cxnSpLocks/>
          </p:cNvCxnSpPr>
          <p:nvPr userDrawn="1"/>
        </p:nvCxnSpPr>
        <p:spPr>
          <a:xfrm>
            <a:off x="164290" y="6415343"/>
            <a:ext cx="11742365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9851136" y="1"/>
            <a:ext cx="2340864" cy="267175"/>
          </a:xfrm>
        </p:spPr>
        <p:txBody>
          <a:bodyPr/>
          <a:lstStyle>
            <a:lvl1pPr algn="r">
              <a:defRPr sz="14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HIGHLY CONFIDENTIA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C96920-974E-4924-9A66-A625F150206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55600" y="3916151"/>
            <a:ext cx="10363200" cy="353043"/>
          </a:xfr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 dirty="0"/>
              <a:t>Click to add affiliations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4079710"/>
      </p:ext>
    </p:extLst>
  </p:cSld>
  <p:clrMapOvr>
    <a:masterClrMapping/>
  </p:clrMapOvr>
  <p:transition spd="slow">
    <p:fade/>
  </p:transition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0DED229-FF74-4A62-88C2-BBB1F4AD100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8462" y="1397000"/>
            <a:ext cx="11435077" cy="4622800"/>
          </a:xfrm>
        </p:spPr>
        <p:txBody>
          <a:bodyPr/>
          <a:lstStyle>
            <a:lvl1pPr marL="0" indent="0">
              <a:buNone/>
              <a:defRPr b="0">
                <a:solidFill>
                  <a:schemeClr val="tx2"/>
                </a:solidFill>
              </a:defRPr>
            </a:lvl1pPr>
            <a:lvl2pPr marL="256026" indent="-256026">
              <a:buFont typeface="Arial" panose="020B0604020202020204" pitchFamily="34" charset="0"/>
              <a:buChar char="•"/>
              <a:defRPr sz="1800"/>
            </a:lvl2pPr>
            <a:lvl3pPr marL="755885" indent="-341367">
              <a:buFont typeface="Arial" panose="020B0604020202020204" pitchFamily="34" charset="0"/>
              <a:buChar char="–"/>
              <a:defRPr sz="1600"/>
            </a:lvl3pPr>
            <a:lvl4pPr marL="1182594" indent="-268217">
              <a:buFont typeface="Arial" panose="020B0604020202020204" pitchFamily="34" charset="0"/>
              <a:buChar char="•"/>
              <a:defRPr sz="1400"/>
            </a:lvl4pPr>
            <a:lvl5pPr marL="1609304" indent="-304792">
              <a:buFont typeface="Arial" panose="020B0604020202020204" pitchFamily="34" charset="0"/>
              <a:buChar char="–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6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604FB1-BAAF-42A4-8F0F-109AB7DA65F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71545795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3E8465C9-2B18-4CC9-AD75-2C78F880FA8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0"/>
          </p:nvPr>
        </p:nvSpPr>
        <p:spPr>
          <a:xfrm>
            <a:off x="378461" y="1396999"/>
            <a:ext cx="5552016" cy="472863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6266179" y="1397001"/>
            <a:ext cx="5547360" cy="472863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75F867A-F92D-47D8-87B4-6EA882EE7AA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01877363"/>
      </p:ext>
    </p:extLst>
  </p:cSld>
  <p:clrMapOvr>
    <a:masterClrMapping/>
  </p:clrMapOvr>
  <p:transition spd="slow">
    <p:fade/>
  </p:transition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29725604-E347-496D-96EC-C1B5EDC5FDA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200" y="1397000"/>
            <a:ext cx="5553600" cy="56110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68800" y="1397000"/>
            <a:ext cx="5553600" cy="561109"/>
          </a:xfrm>
        </p:spPr>
        <p:txBody>
          <a:bodyPr anchor="t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1"/>
          </p:nvPr>
        </p:nvSpPr>
        <p:spPr>
          <a:xfrm>
            <a:off x="379200" y="2022765"/>
            <a:ext cx="5553600" cy="4042833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 marL="609585" indent="-194728">
              <a:defRPr sz="1600"/>
            </a:lvl3pPr>
            <a:lvl4pPr marL="1071007" indent="-156629">
              <a:defRPr sz="1467"/>
            </a:lvl4pPr>
            <a:lvl5pPr marL="1523962" indent="-220128"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2"/>
          </p:nvPr>
        </p:nvSpPr>
        <p:spPr>
          <a:xfrm>
            <a:off x="6268800" y="2022765"/>
            <a:ext cx="5553600" cy="4042833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 marL="609585" indent="-194728">
              <a:defRPr sz="1600"/>
            </a:lvl3pPr>
            <a:lvl4pPr marL="1071007" indent="-156629">
              <a:defRPr sz="1467"/>
            </a:lvl4pPr>
            <a:lvl5pPr marL="1523962" indent="-220128"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94658AF-DF89-4F97-A843-90FCEEA4CA9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31750677"/>
      </p:ext>
    </p:extLst>
  </p:cSld>
  <p:clrMapOvr>
    <a:masterClrMapping/>
  </p:clrMapOvr>
  <p:transition spd="slow"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20169CC9-E48A-4A98-8478-7E438438D4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65179722"/>
      </p:ext>
    </p:extLst>
  </p:cSld>
  <p:clrMapOvr>
    <a:masterClrMapping/>
  </p:clrMapOvr>
  <p:transition spd="slow">
    <p:fade/>
  </p:transition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7339D56-A983-4B5A-B7BB-65D8E60E263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665818" y="0"/>
            <a:ext cx="2526183" cy="249283"/>
          </a:xfrm>
        </p:spPr>
        <p:txBody>
          <a:bodyPr/>
          <a:lstStyle>
            <a:lvl1pPr algn="r">
              <a:defRPr sz="1067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Study nam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49247" y="6332095"/>
            <a:ext cx="66294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lang="en-US" sz="1200" smtClean="0"/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52792155"/>
      </p:ext>
    </p:extLst>
  </p:cSld>
  <p:clrMapOvr>
    <a:masterClrMapping/>
  </p:clrMapOvr>
  <p:transition spd="slow">
    <p:fade/>
  </p:transition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464324A-64F2-4D18-F983-996D71503EA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E56D631-7D6A-420F-24EA-2C12A2AF52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042508"/>
      </p:ext>
    </p:extLst>
  </p:cSld>
  <p:clrMapOvr>
    <a:masterClrMapping/>
  </p:clrMapOvr>
  <p:transition spd="slow">
    <p:fade/>
  </p:transition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9996337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6ADE75-E882-410A-A36C-4E264367D7B2}" type="datetimeFigureOut">
              <a:rPr lang="en-US" smtClean="0"/>
              <a:t>4/16/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334B41D-A9F0-426F-BC5E-CADAAECAB79D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E87CCE0-1B75-456A-B1B3-8070B17603FE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784848"/>
            <a:ext cx="12192000" cy="7315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886427D-20BC-4558-BC20-B809EDC150BB}"/>
              </a:ext>
            </a:extLst>
          </p:cNvPr>
          <p:cNvPicPr>
            <a:picLocks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73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977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54065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 logos">
    <p:bg>
      <p:bgPr>
        <a:gradFill>
          <a:gsLst>
            <a:gs pos="50000">
              <a:srgbClr val="00A195"/>
            </a:gs>
            <a:gs pos="0">
              <a:srgbClr val="071D49"/>
            </a:gs>
            <a:gs pos="100000">
              <a:srgbClr val="808285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mid ud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6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0" y="576000"/>
            <a:ext cx="8228275" cy="3895639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53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No logos">
    <p:bg>
      <p:bgPr>
        <a:gradFill>
          <a:gsLst>
            <a:gs pos="50000">
              <a:srgbClr val="00A195"/>
            </a:gs>
            <a:gs pos="0">
              <a:srgbClr val="071D49"/>
            </a:gs>
            <a:gs pos="100000">
              <a:srgbClr val="808285"/>
            </a:gs>
          </a:gsLst>
          <a:lin ang="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mid ud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62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76000" y="576000"/>
            <a:ext cx="8228275" cy="3895639"/>
          </a:xfrm>
        </p:spPr>
        <p:txBody>
          <a:bodyPr anchor="t" anchorCtr="0"/>
          <a:lstStyle>
            <a:lvl1pPr algn="l">
              <a:lnSpc>
                <a:spcPct val="83000"/>
              </a:lnSpc>
              <a:defRPr sz="6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  <a:prstGeom prst="rect">
            <a:avLst/>
          </a:prstGeo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7826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7" y="1806575"/>
            <a:ext cx="11036566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15090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8" y="1806575"/>
            <a:ext cx="54108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>
          <a:xfrm>
            <a:off x="6204775" y="1806575"/>
            <a:ext cx="54108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0651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26B43"/>
          </p15:clr>
        </p15:guide>
        <p15:guide id="2" pos="3775">
          <p15:clr>
            <a:srgbClr val="F26B43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8" y="1806575"/>
            <a:ext cx="35352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>
          <a:xfrm>
            <a:off x="4327474" y="1806575"/>
            <a:ext cx="35352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idx="15"/>
          </p:nvPr>
        </p:nvSpPr>
        <p:spPr>
          <a:xfrm>
            <a:off x="8078950" y="1806575"/>
            <a:ext cx="35352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5947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92">
          <p15:clr>
            <a:srgbClr val="F26B43"/>
          </p15:clr>
        </p15:guide>
        <p15:guide id="2" pos="2725">
          <p15:clr>
            <a:srgbClr val="F26B43"/>
          </p15:clr>
        </p15:guide>
        <p15:guide id="3" pos="4954">
          <p15:clr>
            <a:srgbClr val="F26B43"/>
          </p15:clr>
        </p15:guide>
        <p15:guide id="4" pos="5086">
          <p15:clr>
            <a:srgbClr val="F26B43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75997" y="576000"/>
            <a:ext cx="5412053" cy="505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4"/>
          </p:nvPr>
        </p:nvSpPr>
        <p:spPr>
          <a:xfrm>
            <a:off x="575998" y="1062421"/>
            <a:ext cx="5412053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576263" y="1806575"/>
            <a:ext cx="5410200" cy="4473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idx="1"/>
          </p:nvPr>
        </p:nvSpPr>
        <p:spPr>
          <a:xfrm>
            <a:off x="6203950" y="684000"/>
            <a:ext cx="5411536" cy="5596150"/>
          </a:xfrm>
        </p:spPr>
        <p:txBody>
          <a:bodyPr tIns="648000" anchor="ctr" anchorCtr="0"/>
          <a:lstStyle>
            <a:lvl1pPr marL="0" indent="0" algn="ctr">
              <a:buNone/>
              <a:defRPr sz="16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8247560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26B43"/>
          </p15:clr>
        </p15:guide>
        <p15:guide id="2" pos="3772">
          <p15:clr>
            <a:srgbClr val="F26B43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75998" y="576000"/>
            <a:ext cx="5416816" cy="505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5416815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" name="Content Placeholder 3"/>
          <p:cNvSpPr>
            <a:spLocks noGrp="1"/>
          </p:cNvSpPr>
          <p:nvPr>
            <p:ph idx="1"/>
          </p:nvPr>
        </p:nvSpPr>
        <p:spPr>
          <a:xfrm>
            <a:off x="575998" y="1806575"/>
            <a:ext cx="5410800" cy="4473796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idx="14"/>
          </p:nvPr>
        </p:nvSpPr>
        <p:spPr>
          <a:xfrm>
            <a:off x="6204775" y="684000"/>
            <a:ext cx="5410800" cy="559615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2529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08">
          <p15:clr>
            <a:srgbClr val="F26B43"/>
          </p15:clr>
        </p15:guide>
        <p15:guide id="2" pos="3775">
          <p15:clr>
            <a:srgbClr val="F26B43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5998" y="970157"/>
            <a:ext cx="11039488" cy="2571340"/>
          </a:xfrm>
        </p:spPr>
        <p:txBody>
          <a:bodyPr anchor="ctr" anchorCtr="0"/>
          <a:lstStyle>
            <a:lvl1pPr algn="ctr">
              <a:lnSpc>
                <a:spcPct val="94000"/>
              </a:lnSpc>
              <a:defRPr sz="3000" b="0">
                <a:solidFill>
                  <a:srgbClr val="00A195"/>
                </a:solidFill>
              </a:defRPr>
            </a:lvl1pPr>
          </a:lstStyle>
          <a:p>
            <a:r>
              <a:rPr lang="en-US"/>
              <a:t>Click to edit Master title style 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75997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3"/>
          <p:cNvSpPr>
            <a:spLocks noGrp="1"/>
          </p:cNvSpPr>
          <p:nvPr userDrawn="1">
            <p:ph type="body" sz="quarter" idx="15"/>
          </p:nvPr>
        </p:nvSpPr>
        <p:spPr>
          <a:xfrm>
            <a:off x="3391200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206400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9021600" y="4993419"/>
            <a:ext cx="2599200" cy="389614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1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6"/>
          <p:cNvSpPr>
            <a:spLocks noGrp="1"/>
          </p:cNvSpPr>
          <p:nvPr userDrawn="1">
            <p:ph type="pic" sz="quarter" idx="14" hasCustomPrompt="1"/>
          </p:nvPr>
        </p:nvSpPr>
        <p:spPr>
          <a:xfrm>
            <a:off x="1263597" y="3649497"/>
            <a:ext cx="1224000" cy="1224000"/>
          </a:xfrm>
          <a:prstGeom prst="ellipse">
            <a:avLst/>
          </a:prstGeom>
        </p:spPr>
        <p:txBody>
          <a:bodyPr tIns="10800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29" name="Picture Placeholder 7"/>
          <p:cNvSpPr>
            <a:spLocks noGrp="1"/>
          </p:cNvSpPr>
          <p:nvPr>
            <p:ph type="pic" sz="quarter" idx="18" hasCustomPrompt="1"/>
          </p:nvPr>
        </p:nvSpPr>
        <p:spPr>
          <a:xfrm>
            <a:off x="4078800" y="3649497"/>
            <a:ext cx="1224000" cy="1224000"/>
          </a:xfrm>
          <a:prstGeom prst="ellipse">
            <a:avLst/>
          </a:prstGeom>
        </p:spPr>
        <p:txBody>
          <a:bodyPr tIns="108000" bIns="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30" name="Picture Placeholder 8"/>
          <p:cNvSpPr>
            <a:spLocks noGrp="1"/>
          </p:cNvSpPr>
          <p:nvPr>
            <p:ph type="pic" sz="quarter" idx="19" hasCustomPrompt="1"/>
          </p:nvPr>
        </p:nvSpPr>
        <p:spPr>
          <a:xfrm>
            <a:off x="6894000" y="3649497"/>
            <a:ext cx="1224000" cy="1224000"/>
          </a:xfrm>
          <a:prstGeom prst="ellipse">
            <a:avLst/>
          </a:prstGeom>
        </p:spPr>
        <p:txBody>
          <a:bodyPr tIns="10800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31" name="Picture Placeholder 9"/>
          <p:cNvSpPr>
            <a:spLocks noGrp="1"/>
          </p:cNvSpPr>
          <p:nvPr>
            <p:ph type="pic" sz="quarter" idx="20" hasCustomPrompt="1"/>
          </p:nvPr>
        </p:nvSpPr>
        <p:spPr>
          <a:xfrm>
            <a:off x="9709200" y="3649497"/>
            <a:ext cx="1224000" cy="1224000"/>
          </a:xfrm>
          <a:prstGeom prst="ellipse">
            <a:avLst/>
          </a:prstGeom>
        </p:spPr>
        <p:txBody>
          <a:bodyPr tIns="108000" anchor="b" anchorCtr="0">
            <a:normAutofit/>
          </a:bodyPr>
          <a:lstStyle>
            <a:lvl1pPr marL="0" indent="0" algn="ctr">
              <a:buNone/>
              <a:defRPr sz="900"/>
            </a:lvl1pPr>
          </a:lstStyle>
          <a:p>
            <a:r>
              <a:rPr lang="en-US" dirty="0"/>
              <a:t>Click icon to add picture or icon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575997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3391200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23"/>
          </p:nvPr>
        </p:nvSpPr>
        <p:spPr>
          <a:xfrm>
            <a:off x="6206400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4"/>
          </p:nvPr>
        </p:nvSpPr>
        <p:spPr>
          <a:xfrm>
            <a:off x="9021600" y="5470497"/>
            <a:ext cx="2599200" cy="812242"/>
          </a:xfrm>
        </p:spPr>
        <p:txBody>
          <a:bodyPr lIns="612000" rIns="612000"/>
          <a:lstStyle>
            <a:lvl1pPr marL="0" indent="0" algn="ctr">
              <a:lnSpc>
                <a:spcPct val="95000"/>
              </a:lnSpc>
              <a:buNone/>
              <a:defRPr sz="1400" b="0">
                <a:solidFill>
                  <a:schemeClr val="accent1"/>
                </a:solidFill>
              </a:defRPr>
            </a:lvl1pPr>
            <a:lvl2pPr algn="ctr">
              <a:lnSpc>
                <a:spcPct val="95000"/>
              </a:lnSpc>
              <a:defRPr sz="1400" b="0">
                <a:solidFill>
                  <a:schemeClr val="accent1"/>
                </a:solidFill>
              </a:defRPr>
            </a:lvl2pPr>
            <a:lvl3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3pPr>
            <a:lvl4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4pPr>
            <a:lvl5pPr marL="0" indent="0" algn="ctr">
              <a:lnSpc>
                <a:spcPct val="95000"/>
              </a:lnSpc>
              <a:buFont typeface="Arial" panose="020B0604020202020204" pitchFamily="34" charset="0"/>
              <a:buChar char="​"/>
              <a:defRPr sz="14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44438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2">
          <p15:clr>
            <a:srgbClr val="F26B43"/>
          </p15:clr>
        </p15:guide>
        <p15:guide id="2" pos="2000">
          <p15:clr>
            <a:srgbClr val="F26B43"/>
          </p15:clr>
        </p15:guide>
        <p15:guide id="3" pos="2136">
          <p15:clr>
            <a:srgbClr val="F26B43"/>
          </p15:clr>
        </p15:guide>
        <p15:guide id="4" pos="3773">
          <p15:clr>
            <a:srgbClr val="F26B43"/>
          </p15:clr>
        </p15:guide>
        <p15:guide id="5" pos="3909">
          <p15:clr>
            <a:srgbClr val="F26B43"/>
          </p15:clr>
        </p15:guide>
        <p15:guide id="6" pos="5546">
          <p15:clr>
            <a:srgbClr val="F26B43"/>
          </p15:clr>
        </p15:guide>
        <p15:guide id="7" pos="5682">
          <p15:clr>
            <a:srgbClr val="F26B43"/>
          </p15:clr>
        </p15:guide>
        <p15:guide id="8" pos="7315">
          <p15:clr>
            <a:srgbClr val="F26B43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/>
          </p:nvPr>
        </p:nvSpPr>
        <p:spPr>
          <a:xfrm>
            <a:off x="575998" y="1062421"/>
            <a:ext cx="8228276" cy="512762"/>
          </a:xfrm>
        </p:spPr>
        <p:txBody>
          <a:bodyPr/>
          <a:lstStyle>
            <a:lvl1pPr marL="0" indent="0" algn="l">
              <a:lnSpc>
                <a:spcPct val="95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2800">
                <a:solidFill>
                  <a:srgbClr val="00A195"/>
                </a:solidFill>
              </a:defRPr>
            </a:lvl1pPr>
            <a:lvl2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2pPr>
            <a:lvl3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3pPr>
            <a:lvl4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4pPr>
            <a:lvl5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5pPr>
            <a:lvl6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6pPr>
            <a:lvl7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7pPr>
            <a:lvl8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8pPr>
            <a:lvl9pPr marL="0" indent="0" algn="l">
              <a:spcBef>
                <a:spcPts val="0"/>
              </a:spcBef>
              <a:buFont typeface="Arial" panose="020B0604020202020204" pitchFamily="34" charset="0"/>
              <a:buChar char="​"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94819688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0346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393549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 AbbVie Blue">
    <p:bg>
      <p:bgPr>
        <a:solidFill>
          <a:srgbClr val="071D4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smid ud" hidden="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9629"/>
          </a:xfrm>
          <a:prstGeom prst="rect">
            <a:avLst/>
          </a:prstGeom>
        </p:spPr>
      </p:pic>
      <p:sp>
        <p:nvSpPr>
          <p:cNvPr id="4" name="Date_DateCustomA" hidden="1"/>
          <p:cNvSpPr>
            <a:spLocks noGrp="1"/>
          </p:cNvSpPr>
          <p:nvPr>
            <p:ph type="dt" sz="half" idx="10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5" name="FLD_PresentationTitle" hidden="1"/>
          <p:cNvSpPr>
            <a:spLocks noGrp="1"/>
          </p:cNvSpPr>
          <p:nvPr>
            <p:ph type="ftr" sz="quarter" idx="11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 hidden="1"/>
          <p:cNvSpPr>
            <a:spLocks noGrp="1"/>
          </p:cNvSpPr>
          <p:nvPr>
            <p:ph type="sldNum" sz="quarter" idx="12"/>
          </p:nvPr>
        </p:nvSpPr>
        <p:spPr>
          <a:xfrm>
            <a:off x="0" y="7020000"/>
            <a:ext cx="0" cy="0"/>
          </a:xfrm>
        </p:spPr>
        <p:txBody>
          <a:bodyPr/>
          <a:lstStyle>
            <a:lvl1pPr>
              <a:defRPr sz="100">
                <a:noFill/>
              </a:defRPr>
            </a:lvl1pPr>
          </a:lstStyle>
          <a:p>
            <a:fld id="{24C8C45C-947F-4981-8B3F-4F32E973C90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22191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46">
          <p15:clr>
            <a:srgbClr val="F26B43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EA40D4-1F13-4799-8025-142084EA44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997" y="576000"/>
            <a:ext cx="10803203" cy="50566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5E6C2E-DB74-4B9F-B831-CB4AF89776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997" y="1806575"/>
            <a:ext cx="10803203" cy="447379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AD21DF-4B97-4EA4-A3A2-9B09145DB3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9840D5C-A652-4FC2-8163-5471DAD25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789F70-9E39-4C20-B1D4-6B45E9EAE2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2746314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57217272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524453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05235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799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2203527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8245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3858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1022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88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020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059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1708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18228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77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24964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4363099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00" y="2708920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8632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8683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5627" y="4507115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5627" y="2852936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4051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3151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492675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2207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64452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7880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1_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1864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4523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1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41101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50568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1_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198782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2446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6959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454413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498622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83088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588406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0673270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7244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8770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6890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269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81682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1295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2059" y="2347916"/>
            <a:ext cx="11425767" cy="16208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1708" y="4283078"/>
            <a:ext cx="9408584" cy="1931987"/>
          </a:xfrm>
        </p:spPr>
        <p:txBody>
          <a:bodyPr/>
          <a:lstStyle>
            <a:lvl1pPr marL="0" indent="0" algn="ctr">
              <a:buNone/>
              <a:defRPr/>
            </a:lvl1pPr>
            <a:lvl2pPr marL="457058" indent="0" algn="ctr">
              <a:buNone/>
              <a:defRPr/>
            </a:lvl2pPr>
            <a:lvl3pPr marL="914115" indent="0" algn="ctr">
              <a:buNone/>
              <a:defRPr/>
            </a:lvl3pPr>
            <a:lvl4pPr marL="1371173" indent="0" algn="ctr">
              <a:buNone/>
              <a:defRPr/>
            </a:lvl4pPr>
            <a:lvl5pPr marL="1828231" indent="0" algn="ctr">
              <a:buNone/>
              <a:defRPr/>
            </a:lvl5pPr>
            <a:lvl6pPr marL="2285289" indent="0" algn="ctr">
              <a:buNone/>
              <a:defRPr/>
            </a:lvl6pPr>
            <a:lvl7pPr marL="2742347" indent="0" algn="ctr">
              <a:buNone/>
              <a:defRPr/>
            </a:lvl7pPr>
            <a:lvl8pPr marL="3199405" indent="0" algn="ctr">
              <a:buNone/>
              <a:defRPr/>
            </a:lvl8pPr>
            <a:lvl9pPr marL="3656462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05341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772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37211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4363099"/>
            <a:ext cx="11423651" cy="15017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5400" y="2708920"/>
            <a:ext cx="11423651" cy="16541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8" indent="0">
              <a:buNone/>
              <a:defRPr sz="1800"/>
            </a:lvl2pPr>
            <a:lvl3pPr marL="914115" indent="0">
              <a:buNone/>
              <a:defRPr sz="1700"/>
            </a:lvl3pPr>
            <a:lvl4pPr marL="1371173" indent="0">
              <a:buNone/>
              <a:defRPr sz="1400"/>
            </a:lvl4pPr>
            <a:lvl5pPr marL="1828231" indent="0">
              <a:buNone/>
              <a:defRPr sz="1400"/>
            </a:lvl5pPr>
            <a:lvl6pPr marL="2285289" indent="0">
              <a:buNone/>
              <a:defRPr sz="1400"/>
            </a:lvl6pPr>
            <a:lvl7pPr marL="2742347" indent="0">
              <a:buNone/>
              <a:defRPr sz="1400"/>
            </a:lvl7pPr>
            <a:lvl8pPr marL="3199405" indent="0">
              <a:buNone/>
              <a:defRPr sz="1400"/>
            </a:lvl8pPr>
            <a:lvl9pPr marL="3656462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87292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978216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4" y="303219"/>
            <a:ext cx="12096751" cy="1258887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3101" y="1692275"/>
            <a:ext cx="5937251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3101" y="2397125"/>
            <a:ext cx="5937251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28371" y="1692275"/>
            <a:ext cx="5941484" cy="70485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8" indent="0">
              <a:buNone/>
              <a:defRPr sz="2000" b="1"/>
            </a:lvl2pPr>
            <a:lvl3pPr marL="914115" indent="0">
              <a:buNone/>
              <a:defRPr sz="1800" b="1"/>
            </a:lvl3pPr>
            <a:lvl4pPr marL="1371173" indent="0">
              <a:buNone/>
              <a:defRPr sz="1700" b="1"/>
            </a:lvl4pPr>
            <a:lvl5pPr marL="1828231" indent="0">
              <a:buNone/>
              <a:defRPr sz="1700" b="1"/>
            </a:lvl5pPr>
            <a:lvl6pPr marL="2285289" indent="0">
              <a:buNone/>
              <a:defRPr sz="1700" b="1"/>
            </a:lvl6pPr>
            <a:lvl7pPr marL="2742347" indent="0">
              <a:buNone/>
              <a:defRPr sz="1700" b="1"/>
            </a:lvl7pPr>
            <a:lvl8pPr marL="3199405" indent="0">
              <a:buNone/>
              <a:defRPr sz="1700" b="1"/>
            </a:lvl8pPr>
            <a:lvl9pPr marL="3656462" indent="0">
              <a:buNone/>
              <a:defRPr sz="17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28371" y="2397125"/>
            <a:ext cx="5941484" cy="43561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0915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54596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1074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3585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36285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8892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24057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592738" y="627063"/>
            <a:ext cx="2868084" cy="62357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986369" y="627063"/>
            <a:ext cx="8403167" cy="62357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9354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x" preserve="1">
  <p:cSld name="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6368" y="627068"/>
            <a:ext cx="11474451" cy="126047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86369" y="2101854"/>
            <a:ext cx="5634567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824138" y="2101854"/>
            <a:ext cx="5636684" cy="476091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35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227013"/>
            <a:ext cx="10358967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912286" y="1416053"/>
            <a:ext cx="10358967" cy="4799013"/>
          </a:xfrm>
        </p:spPr>
        <p:txBody>
          <a:bodyPr/>
          <a:lstStyle/>
          <a:p>
            <a:pPr lvl="0"/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1497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4400" y="228600"/>
            <a:ext cx="10363200" cy="1219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914400" y="1828800"/>
            <a:ext cx="10363200" cy="4114800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9144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8400"/>
            <a:ext cx="38608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8400"/>
            <a:ext cx="2540000" cy="4572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0A90E337-F800-1146-8455-677861B99144}" type="slidenum">
              <a:rPr lang="en-US" altLang="x-none"/>
              <a:pPr/>
              <a:t>‹#›</a:t>
            </a:fld>
            <a:endParaRPr lang="en-US" altLang="x-none"/>
          </a:p>
        </p:txBody>
      </p:sp>
    </p:spTree>
    <p:extLst>
      <p:ext uri="{BB962C8B-B14F-4D97-AF65-F5344CB8AC3E}">
        <p14:creationId xmlns:p14="http://schemas.microsoft.com/office/powerpoint/2010/main" val="60278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Question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question"/>
          <p:cNvSpPr>
            <a:spLocks noGrp="1"/>
          </p:cNvSpPr>
          <p:nvPr>
            <p:ph type="body" idx="10" hasCustomPrompt="1"/>
          </p:nvPr>
        </p:nvSpPr>
        <p:spPr>
          <a:xfrm>
            <a:off x="912283" y="1522413"/>
            <a:ext cx="10367432" cy="685800"/>
          </a:xfrm>
        </p:spPr>
        <p:txBody>
          <a:bodyPr/>
          <a:lstStyle>
            <a:lvl1pPr marL="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1pPr>
            <a:lvl2pPr marL="5222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2pPr>
            <a:lvl3pPr marL="979488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3pPr>
            <a:lvl4pPr marL="1371600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4pPr>
            <a:lvl5pPr marL="1762125" indent="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FontTx/>
              <a:buNone/>
              <a:defRPr/>
            </a:lvl5pPr>
          </a:lstStyle>
          <a:p>
            <a:pPr lvl="0"/>
            <a:r>
              <a:rPr lang="en-US"/>
              <a:t>Click to add question here</a:t>
            </a:r>
          </a:p>
        </p:txBody>
      </p:sp>
      <p:sp>
        <p:nvSpPr>
          <p:cNvPr id="4" name="choices"/>
          <p:cNvSpPr>
            <a:spLocks noGrp="1"/>
          </p:cNvSpPr>
          <p:nvPr>
            <p:ph type="body" sz="quarter" idx="11" hasCustomPrompt="1"/>
          </p:nvPr>
        </p:nvSpPr>
        <p:spPr>
          <a:xfrm>
            <a:off x="912284" y="2360613"/>
            <a:ext cx="4955645" cy="3810000"/>
          </a:xfrm>
          <a:prstGeom prst="rect">
            <a:avLst/>
          </a:prstGeom>
        </p:spPr>
        <p:txBody>
          <a:bodyPr>
            <a:normAutofit/>
          </a:bodyPr>
          <a:lstStyle>
            <a:lvl1pPr marL="612775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1pPr>
            <a:lvl2pPr marL="1036638" indent="-51435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2pPr>
            <a:lvl3pPr marL="1436688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3pPr>
            <a:lvl4pPr marL="1828800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4pPr>
            <a:lvl5pPr marL="2219325" indent="-457200" algn="l" defTabSz="412750" rtl="0" eaLnBrk="0" fontAlgn="base" hangingPunct="0">
              <a:spcBef>
                <a:spcPct val="30000"/>
              </a:spcBef>
              <a:buClr>
                <a:srgbClr val="000000"/>
              </a:buClr>
              <a:buAutoNum type="arabicPeriod"/>
              <a:defRPr/>
            </a:lvl5pPr>
          </a:lstStyle>
          <a:p>
            <a:pPr lvl="0"/>
            <a:r>
              <a:rPr lang="en-US"/>
              <a:t>Click to add choices here</a:t>
            </a:r>
          </a:p>
        </p:txBody>
      </p:sp>
      <p:sp>
        <p:nvSpPr>
          <p:cNvPr id="5" name="chartPosition"/>
          <p:cNvSpPr>
            <a:spLocks noGrp="1"/>
          </p:cNvSpPr>
          <p:nvPr>
            <p:ph type="chart" sz="quarter" idx="12"/>
          </p:nvPr>
        </p:nvSpPr>
        <p:spPr>
          <a:xfrm>
            <a:off x="6324072" y="2360613"/>
            <a:ext cx="4955645" cy="3810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340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eypoint Clock Sh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Oval 2" hidden="1"/>
          <p:cNvSpPr/>
          <p:nvPr userDrawn="1">
            <p:custDataLst>
              <p:tags r:id="rId1"/>
            </p:custDataLst>
          </p:nvPr>
        </p:nvSpPr>
        <p:spPr bwMode="auto">
          <a:xfrm>
            <a:off x="10922001" y="5905503"/>
            <a:ext cx="846667" cy="483015"/>
          </a:xfrm>
          <a:prstGeom prst="ellipse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</a:pPr>
            <a:r>
              <a:rPr kumimoji="0" lang="en-US" sz="2400" b="0" i="0" u="none" strike="noStrike" cap="none" normalizeH="0" baseline="0">
                <a:ln>
                  <a:noFill/>
                </a:ln>
                <a:effectLst/>
                <a:latin typeface="Times New Roman" pitchFamily="18" charset="0"/>
              </a:rPr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9814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624320" y="6323295"/>
            <a:ext cx="5350933" cy="304800"/>
          </a:xfrm>
        </p:spPr>
        <p:txBody>
          <a:bodyPr anchor="b"/>
          <a:lstStyle>
            <a:lvl1pPr marL="0" indent="0" algn="r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214316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3C474B-B3C8-4D2B-9A58-47D3CEA19AC6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74202" y="6441567"/>
            <a:ext cx="6043601" cy="164148"/>
          </a:xfr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0B1DE9-DF1E-478B-8EAC-D83EF13FF69C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E66119-3E50-4912-A6A4-0A2C0585246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8368" y="5791202"/>
            <a:ext cx="4906433" cy="395817"/>
          </a:xfrm>
        </p:spPr>
        <p:txBody>
          <a:bodyPr anchor="b" anchorCtr="0"/>
          <a:lstStyle>
            <a:lvl1pPr marL="0" indent="0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Abbreviation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2D06BD1-1203-411A-80B7-868D8D7562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26676" y="5801362"/>
            <a:ext cx="4906433" cy="395817"/>
          </a:xfrm>
        </p:spPr>
        <p:txBody>
          <a:bodyPr anchor="b" anchorCtr="0"/>
          <a:lstStyle>
            <a:lvl1pPr marL="0" indent="0" algn="r">
              <a:buNone/>
              <a:defRPr sz="933" b="0"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Referenc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73020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207264" y="6322423"/>
            <a:ext cx="5350933" cy="304800"/>
          </a:xfrm>
        </p:spPr>
        <p:txBody>
          <a:bodyPr anchor="b"/>
          <a:lstStyle>
            <a:lvl1pPr marL="0" indent="0">
              <a:spcBef>
                <a:spcPts val="0"/>
              </a:spcBef>
              <a:buNone/>
              <a:defRPr sz="1000"/>
            </a:lvl1pPr>
            <a:lvl2pPr marL="457200" indent="0">
              <a:buNone/>
              <a:defRPr sz="105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</a:lstStyle>
          <a:p>
            <a:pPr lvl="0"/>
            <a:r>
              <a:rPr lang="en-US" dirty="0"/>
              <a:t>Click to edit Master text style</a:t>
            </a:r>
          </a:p>
        </p:txBody>
      </p:sp>
    </p:spTree>
    <p:extLst>
      <p:ext uri="{BB962C8B-B14F-4D97-AF65-F5344CB8AC3E}">
        <p14:creationId xmlns:p14="http://schemas.microsoft.com/office/powerpoint/2010/main" val="1224893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106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>
                <a:cs typeface="ＭＳ Ｐゴシック"/>
              </a:rPr>
              <a:pPr>
                <a:defRPr/>
              </a:pPr>
              <a:t>‹#›</a:t>
            </a:fld>
            <a:endParaRPr lang="en-GB">
              <a:cs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13829502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9" y="6631088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3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2E99AA7-133A-E54F-B877-701653B6C8E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4913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09600" y="6210780"/>
            <a:ext cx="5488517" cy="447993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098118" y="6210780"/>
            <a:ext cx="5488517" cy="447993"/>
          </a:xfrm>
        </p:spPr>
        <p:txBody>
          <a:bodyPr anchor="b"/>
          <a:lstStyle>
            <a:lvl1pPr marL="0" indent="0" algn="r">
              <a:spcAft>
                <a:spcPts val="0"/>
              </a:spcAft>
              <a:buNone/>
              <a:defRPr sz="1200"/>
            </a:lvl1pPr>
            <a:lvl2pPr marL="376244" indent="0">
              <a:buNone/>
              <a:defRPr/>
            </a:lvl2pPr>
            <a:lvl3pPr marL="722324" indent="0">
              <a:buNone/>
              <a:defRPr/>
            </a:lvl3pPr>
            <a:lvl4pPr marL="995380" indent="0">
              <a:buNone/>
              <a:defRPr/>
            </a:lvl4pPr>
            <a:lvl5pPr marL="1395435" indent="0">
              <a:buFont typeface="Arial" pitchFamily="34" charset="0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4902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NEW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1430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30767" y="6631087"/>
            <a:ext cx="7738116" cy="153888"/>
          </a:xfrm>
        </p:spPr>
        <p:txBody>
          <a:bodyPr lIns="0" tIns="0" rIns="0" bIns="0" anchor="b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1000">
                <a:solidFill>
                  <a:srgbClr val="000066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  <a:endParaRPr lang="en-GB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3"/>
          </p:nvPr>
        </p:nvSpPr>
        <p:spPr>
          <a:xfrm>
            <a:off x="4233" y="6489701"/>
            <a:ext cx="533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FFFFFF"/>
                </a:solidFill>
                <a:cs typeface="+mn-cs"/>
              </a:defRPr>
            </a:lvl1pPr>
          </a:lstStyle>
          <a:p>
            <a:pPr>
              <a:defRPr/>
            </a:pPr>
            <a:fld id="{796EC0D8-CF13-B54F-AABB-1280F8E58F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6054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7485" y="115889"/>
            <a:ext cx="10991849" cy="779671"/>
          </a:xfrm>
        </p:spPr>
        <p:txBody>
          <a:bodyPr>
            <a:normAutofit/>
          </a:bodyPr>
          <a:lstStyle>
            <a:lvl1pPr algn="l">
              <a:defRPr sz="2800" b="1" i="0">
                <a:solidFill>
                  <a:srgbClr val="064F59"/>
                </a:solidFill>
                <a:latin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7284" y="1376989"/>
            <a:ext cx="10972800" cy="4525963"/>
          </a:xfrm>
        </p:spPr>
        <p:txBody>
          <a:bodyPr lIns="0" rtlCol="0">
            <a:normAutofit/>
          </a:bodyPr>
          <a:lstStyle>
            <a:lvl1pPr>
              <a:defRPr lang="en-US" sz="2100" dirty="0" smtClean="0"/>
            </a:lvl1pPr>
            <a:lvl2pPr>
              <a:defRPr lang="en-US" sz="2000" dirty="0" smtClean="0"/>
            </a:lvl2pPr>
            <a:lvl3pPr>
              <a:defRPr lang="en-US" sz="2000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1"/>
          <p:cNvSpPr>
            <a:spLocks noGrp="1"/>
          </p:cNvSpPr>
          <p:nvPr>
            <p:ph type="body" sz="quarter" idx="10"/>
          </p:nvPr>
        </p:nvSpPr>
        <p:spPr>
          <a:xfrm>
            <a:off x="615951" y="6289940"/>
            <a:ext cx="10993967" cy="463313"/>
          </a:xfr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200"/>
              </a:spcBef>
              <a:buNone/>
              <a:defRPr sz="1000" b="0">
                <a:solidFill>
                  <a:srgbClr val="064F59"/>
                </a:solidFill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9012767" y="6491289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100" b="0" i="0">
                <a:solidFill>
                  <a:srgbClr val="064F59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865B40A2-B197-3B46-BE14-65D655D5485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2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64F59">
                    <a:tint val="75000"/>
                  </a:srgbClr>
                </a:solidFill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34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0243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Picture with Caption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"/>
          <p:cNvSpPr>
            <a:spLocks noGrp="1"/>
          </p:cNvSpPr>
          <p:nvPr>
            <p:ph type="pic" idx="21"/>
          </p:nvPr>
        </p:nvSpPr>
        <p:spPr>
          <a:xfrm>
            <a:off x="2389718" y="1368921"/>
            <a:ext cx="7315205" cy="472708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31" name="Title Text"/>
          <p:cNvSpPr txBox="1">
            <a:spLocks noGrp="1"/>
          </p:cNvSpPr>
          <p:nvPr>
            <p:ph type="title"/>
          </p:nvPr>
        </p:nvSpPr>
        <p:spPr>
          <a:xfrm>
            <a:off x="609600" y="490452"/>
            <a:ext cx="10972800" cy="713544"/>
          </a:xfrm>
          <a:prstGeom prst="rect">
            <a:avLst/>
          </a:prstGeom>
        </p:spPr>
        <p:txBody>
          <a:bodyPr anchor="t"/>
          <a:lstStyle>
            <a:lvl1pPr defTabSz="609585">
              <a:lnSpc>
                <a:spcPct val="100000"/>
              </a:lnSpc>
              <a:defRPr sz="4267" b="0">
                <a:solidFill>
                  <a:srgbClr val="CD11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32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49623" y="6506164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2066150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Section Header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Text"/>
          <p:cNvSpPr txBox="1">
            <a:spLocks noGrp="1"/>
          </p:cNvSpPr>
          <p:nvPr>
            <p:ph type="title"/>
          </p:nvPr>
        </p:nvSpPr>
        <p:spPr>
          <a:xfrm>
            <a:off x="963084" y="4406901"/>
            <a:ext cx="10363201" cy="1362080"/>
          </a:xfrm>
          <a:prstGeom prst="rect">
            <a:avLst/>
          </a:prstGeom>
        </p:spPr>
        <p:txBody>
          <a:bodyPr anchor="t"/>
          <a:lstStyle>
            <a:lvl1pPr defTabSz="609585">
              <a:lnSpc>
                <a:spcPct val="100000"/>
              </a:lnSpc>
              <a:defRPr sz="4267" cap="all">
                <a:solidFill>
                  <a:srgbClr val="CD11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22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963084" y="2906711"/>
            <a:ext cx="10363201" cy="1500189"/>
          </a:xfrm>
          <a:prstGeom prst="rect">
            <a:avLst/>
          </a:prstGeom>
        </p:spPr>
        <p:txBody>
          <a:bodyPr anchor="b"/>
          <a:lstStyle>
            <a:lvl1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1pPr>
            <a:lvl2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2pPr>
            <a:lvl3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3pPr>
            <a:lvl4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4pPr>
            <a:lvl5pPr marL="0" indent="0" defTabSz="609585">
              <a:spcBef>
                <a:spcPts val="533"/>
              </a:spcBef>
              <a:buClrTx/>
              <a:buSzTx/>
              <a:buNone/>
              <a:defRPr sz="2667">
                <a:solidFill>
                  <a:srgbClr val="000000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3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49623" y="6506164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0BA3126-6806-5879-28F4-B65F53EA7F8C}"/>
              </a:ext>
            </a:extLst>
          </p:cNvPr>
          <p:cNvSpPr/>
          <p:nvPr userDrawn="1"/>
        </p:nvSpPr>
        <p:spPr>
          <a:xfrm>
            <a:off x="609600" y="6367346"/>
            <a:ext cx="4709532" cy="490654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981819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Title Slid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Text"/>
          <p:cNvSpPr txBox="1">
            <a:spLocks noGrp="1"/>
          </p:cNvSpPr>
          <p:nvPr>
            <p:ph type="title"/>
          </p:nvPr>
        </p:nvSpPr>
        <p:spPr>
          <a:xfrm>
            <a:off x="914400" y="3466467"/>
            <a:ext cx="10363200" cy="891936"/>
          </a:xfrm>
          <a:prstGeom prst="rect">
            <a:avLst/>
          </a:prstGeom>
        </p:spPr>
        <p:txBody>
          <a:bodyPr anchor="t"/>
          <a:lstStyle>
            <a:lvl1pPr algn="ctr" defTabSz="609585">
              <a:lnSpc>
                <a:spcPct val="100000"/>
              </a:lnSpc>
              <a:defRPr sz="4267" b="0">
                <a:solidFill>
                  <a:srgbClr val="CD113B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t>Title Text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738668" y="5429209"/>
            <a:ext cx="8534405" cy="1073775"/>
          </a:xfrm>
          <a:prstGeom prst="rect">
            <a:avLst/>
          </a:prstGeom>
        </p:spPr>
        <p:txBody>
          <a:bodyPr/>
          <a:lstStyle>
            <a:lvl1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1pPr>
            <a:lvl2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2pPr>
            <a:lvl3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3pPr>
            <a:lvl4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4pPr>
            <a:lvl5pPr marL="0" indent="0" algn="ctr" defTabSz="609585">
              <a:spcBef>
                <a:spcPts val="533"/>
              </a:spcBef>
              <a:buClrTx/>
              <a:buSzTx/>
              <a:buNone/>
              <a:defRPr sz="2400">
                <a:solidFill>
                  <a:srgbClr val="000000"/>
                </a:solidFill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249623" y="6506164"/>
            <a:ext cx="332779" cy="338550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82553882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3466469"/>
            <a:ext cx="10363200" cy="89193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4267" b="0" i="0">
                <a:solidFill>
                  <a:srgbClr val="CD113B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38671" y="5429210"/>
            <a:ext cx="8534400" cy="107376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2F42DBC-C000-474C-847A-96A1FE0230FB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8009FEC-A01C-EB4F-9AED-98C23E3BD7AC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06775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3100" y="301625"/>
            <a:ext cx="4421717" cy="127952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55690" y="301628"/>
            <a:ext cx="7514167" cy="645159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3100" y="1581156"/>
            <a:ext cx="4421717" cy="5172075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8563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7DE6A48-BD34-9247-8CD2-A207D07E22B4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2941447-81A8-E34A-8E29-11F044513D7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609600" y="1368922"/>
            <a:ext cx="10972800" cy="4947903"/>
          </a:xfrm>
          <a:prstGeom prst="rect">
            <a:avLst/>
          </a:prstGeom>
        </p:spPr>
        <p:txBody>
          <a:bodyPr/>
          <a:lstStyle>
            <a:lvl1pPr>
              <a:defRPr sz="2667">
                <a:solidFill>
                  <a:schemeClr val="tx1"/>
                </a:solidFill>
              </a:defRPr>
            </a:lvl1pPr>
            <a:lvl2pPr>
              <a:defRPr sz="2400">
                <a:solidFill>
                  <a:schemeClr val="tx1"/>
                </a:solidFill>
              </a:defRPr>
            </a:lvl2pPr>
            <a:lvl3pPr>
              <a:defRPr sz="2133">
                <a:solidFill>
                  <a:schemeClr val="tx1"/>
                </a:solidFill>
              </a:defRPr>
            </a:lvl3pPr>
            <a:lvl4pPr>
              <a:defRPr sz="1867">
                <a:solidFill>
                  <a:schemeClr val="tx1"/>
                </a:solidFill>
              </a:defRPr>
            </a:lvl4pPr>
            <a:lvl5pPr>
              <a:defRPr sz="1867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060025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2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667">
                <a:solidFill>
                  <a:schemeClr val="tx1"/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CEA077D-40D2-7645-91D9-F5061C772B13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4AA7F1F-F248-F943-913A-EBF08A13E99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35669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368922"/>
            <a:ext cx="5384800" cy="3537599"/>
          </a:xfrm>
          <a:prstGeom prst="rect">
            <a:avLst/>
          </a:prstGeo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2112AE92-20AD-8D4C-BE5B-92E66A82D5FE}" type="datetime1">
              <a:rPr lang="en-US"/>
              <a:pPr/>
              <a:t>4/16/25</a:t>
            </a:fld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590444B3-43E0-CD49-8543-3A769AE78B9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rgbClr val="CD113B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614932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1368923"/>
            <a:ext cx="7315200" cy="4727077"/>
          </a:xfrm>
          <a:prstGeom prst="rect">
            <a:avLst/>
          </a:prstGeom>
        </p:spPr>
        <p:txBody>
          <a:bodyPr rtlCol="0">
            <a:normAutofit/>
          </a:bodyPr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en-US" noProof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C5520E0-F525-124B-8DCB-FDFCBFF95DED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609600" y="490453"/>
            <a:ext cx="10972800" cy="71353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CD113B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961220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4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 bwMode="blackWhite">
          <a:xfrm>
            <a:off x="438152" y="1335315"/>
            <a:ext cx="11324357" cy="4855936"/>
          </a:xfrm>
          <a:prstGeom prst="rect">
            <a:avLst/>
          </a:prstGeom>
        </p:spPr>
        <p:txBody>
          <a:bodyPr vert="horz">
            <a:normAutofit/>
          </a:bodyPr>
          <a:lstStyle>
            <a:lvl1pPr marL="623872" indent="-623872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Arial" panose="020B0604020202020204" pitchFamily="34" charset="0"/>
              <a:buChar char="•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71566" indent="-625459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Calibri" panose="020F0502020204030204" pitchFamily="34" charset="0"/>
              <a:buChar char="–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120847" indent="-63022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Arial" panose="020B0604020202020204" pitchFamily="34" charset="0"/>
              <a:buChar char="•"/>
              <a:tabLst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502441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- 1.a. Out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 userDrawn="1"/>
        </p:nvSpPr>
        <p:spPr>
          <a:xfrm>
            <a:off x="6079069" y="6645275"/>
            <a:ext cx="184731" cy="369332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endParaRPr lang="en-US" sz="18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38153" y="283701"/>
            <a:ext cx="11446639" cy="747712"/>
          </a:xfrm>
          <a:prstGeom prst="rect">
            <a:avLst/>
          </a:prstGeom>
        </p:spPr>
        <p:txBody>
          <a:bodyPr vert="horz" anchor="ctr">
            <a:normAutofit/>
          </a:bodyPr>
          <a:lstStyle>
            <a:lvl1pPr marL="0" indent="0" algn="l">
              <a:buFontTx/>
              <a:buNone/>
              <a:defRPr sz="4400" b="1" baseline="0">
                <a:solidFill>
                  <a:srgbClr val="CD113B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blackWhite">
          <a:xfrm>
            <a:off x="438152" y="1306287"/>
            <a:ext cx="11446933" cy="4884964"/>
          </a:xfrm>
          <a:prstGeom prst="rect">
            <a:avLst/>
          </a:prstGeom>
        </p:spPr>
        <p:txBody>
          <a:bodyPr vert="horz">
            <a:normAutofit/>
          </a:bodyPr>
          <a:lstStyle>
            <a:lvl1pPr marL="681022" indent="-681022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SzPct val="100000"/>
              <a:buFont typeface="+mj-lt"/>
              <a:buAutoNum type="arabicPeriod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71566" indent="-625459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+mj-lt"/>
              <a:buAutoNum type="alphaLcPeriod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2062111" indent="-630223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ClrTx/>
              <a:buFont typeface="+mj-lt"/>
              <a:buAutoNum type="arabicParenR"/>
              <a:defRPr sz="3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 sz="3200" baseline="0"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85926824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02590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9AC0DC-C6E5-3829-A18E-9B0259D4D03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A66D7C-F725-063B-94BC-E1011D50172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11C26B6-7247-4327-E946-0143CA45726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BD35615-AFEC-DA91-7416-1492918EAE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5A98EE-5177-E0A2-75A8-D2809F0573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23837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8EBF9-3313-549A-ADA0-FFAA10D59C9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D6983B-F31D-B582-0A38-AFDC471865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139369F-083A-D0E0-E33A-8EEC321082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4942DC-4B50-19DB-2BF1-5A596618CD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7980FD-1982-85B4-A34E-5FBFC46702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51556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BD5A95-EE7C-3F6E-4BBA-5758D4BA35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19758E-935E-015B-7778-498B2450B4C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F52FF6-E063-3A14-9DFA-66EF8F4BC5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5493BA-6645-DD53-6663-9B2CA249F4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6A0D66E-E4CD-5DD5-41B7-EDDDD5597E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95010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635255" y="5291143"/>
            <a:ext cx="8064500" cy="6254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635255" y="674691"/>
            <a:ext cx="8064500" cy="4537075"/>
          </a:xfrm>
        </p:spPr>
        <p:txBody>
          <a:bodyPr/>
          <a:lstStyle>
            <a:lvl1pPr marL="0" indent="0">
              <a:buNone/>
              <a:defRPr sz="3200"/>
            </a:lvl1pPr>
            <a:lvl2pPr marL="457058" indent="0">
              <a:buNone/>
              <a:defRPr sz="2800"/>
            </a:lvl2pPr>
            <a:lvl3pPr marL="914115" indent="0">
              <a:buNone/>
              <a:defRPr sz="2400"/>
            </a:lvl3pPr>
            <a:lvl4pPr marL="1371173" indent="0">
              <a:buNone/>
              <a:defRPr sz="2000"/>
            </a:lvl4pPr>
            <a:lvl5pPr marL="1828231" indent="0">
              <a:buNone/>
              <a:defRPr sz="2000"/>
            </a:lvl5pPr>
            <a:lvl6pPr marL="2285289" indent="0">
              <a:buNone/>
              <a:defRPr sz="2000"/>
            </a:lvl6pPr>
            <a:lvl7pPr marL="2742347" indent="0">
              <a:buNone/>
              <a:defRPr sz="2000"/>
            </a:lvl7pPr>
            <a:lvl8pPr marL="3199405" indent="0">
              <a:buNone/>
              <a:defRPr sz="2000"/>
            </a:lvl8pPr>
            <a:lvl9pPr marL="3656462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635255" y="5916613"/>
            <a:ext cx="8064500" cy="887412"/>
          </a:xfrm>
        </p:spPr>
        <p:txBody>
          <a:bodyPr/>
          <a:lstStyle>
            <a:lvl1pPr marL="0" indent="0">
              <a:buNone/>
              <a:defRPr sz="1400"/>
            </a:lvl1pPr>
            <a:lvl2pPr marL="457058" indent="0">
              <a:buNone/>
              <a:defRPr sz="1200"/>
            </a:lvl2pPr>
            <a:lvl3pPr marL="914115" indent="0">
              <a:buNone/>
              <a:defRPr sz="1000"/>
            </a:lvl3pPr>
            <a:lvl4pPr marL="1371173" indent="0">
              <a:buNone/>
              <a:defRPr sz="900"/>
            </a:lvl4pPr>
            <a:lvl5pPr marL="1828231" indent="0">
              <a:buNone/>
              <a:defRPr sz="900"/>
            </a:lvl5pPr>
            <a:lvl6pPr marL="2285289" indent="0">
              <a:buNone/>
              <a:defRPr sz="900"/>
            </a:lvl6pPr>
            <a:lvl7pPr marL="2742347" indent="0">
              <a:buNone/>
              <a:defRPr sz="900"/>
            </a:lvl7pPr>
            <a:lvl8pPr marL="3199405" indent="0">
              <a:buNone/>
              <a:defRPr sz="900"/>
            </a:lvl8pPr>
            <a:lvl9pPr marL="365646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56414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997E2DE-E276-89E0-9268-8B715F7267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DA2772-8F1F-2DEC-8A06-60810080D18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D46C04A-04D2-BEB6-380C-538593F9A64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A6BDD88-467D-3938-F0B0-998431885A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C8F32-4A39-9A39-E562-6E8E2C3A31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A26D1F7-D88D-418B-6E77-5A215AC037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42244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79A047-2621-4DCC-5508-4BB250ACF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55DF10-400F-C0B8-B4EC-D2BC35F3D3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0D1965A-C0FE-1B6A-D888-6F2B9DF6B0F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2C1D169-4DA9-90BD-D461-C726D302C2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A66A440-B057-BE2F-ADF9-6E96E3A93E6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20609C-53E3-3A5B-B1F9-F0C7F77995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B632385-BB7D-42A7-BA08-A12E0F649A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490C04A-963E-5277-DED3-515D7EB1D1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81203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1CF44-4B1F-F1BF-E65D-8FEC5F16DD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C65F413-1F09-8450-EFC2-D7699CA06C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759696-EC50-9318-04BE-5621C9E5EE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8A4C68-3143-E795-5AFB-20D94F9F0D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223677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610751C-4546-8C8A-3E7C-DBBAC2CB41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D6B6851-D88C-B891-8040-77553B026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51D2D07-5607-B5BC-9DD6-460303F47B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14732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79697-BD26-304F-86F4-9D6F6C93E7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25E81F1-4751-89A9-F4BE-5B7286DFD3E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7E0E78-0706-F7CA-066B-B0CD6D1ED4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05579A-A2B4-51FC-34FE-9C80BD07C8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4AD8550-654E-6A6B-375D-B0B6D8A62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F36B524-0D3E-CF1B-FD17-FC9D3208F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6580557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65C5DB6-1B69-F5CC-9F94-42955D7FF1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C27B58F-B3BC-FD7C-E7C0-27733E9F1AD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42DAFC-7312-565B-FE85-D029D20CA1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DF86D2-F3E3-23B8-8371-C0FD0F33DB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179E7AB-D783-8C62-A336-45E88E105F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21F08B-763A-666F-8D7C-4D5A187054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6750305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5266DA-0910-55A2-B608-B6979B2FD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4BB4F9C-C368-C424-6BC8-9A22D81EC25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6AE57E-FC36-1E68-74C8-4CA191189B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896572-42ED-6609-1C74-3A7A548CC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F0F924-CC55-8394-B73E-FD79D7C325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742231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6A19B21-383A-CCEF-1868-3D6F0BC97DA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8F065B-341F-2439-F3C4-3E4A5478286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4757B10-99D4-A1AB-07A3-7374B2D6D7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0E4566-E8C6-01EE-394E-818657A097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E6F221-4898-7C7F-437A-CDBBBF393D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002228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Title + Header +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77315E7D-D716-E648-B800-EA984E72A5B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77077" y="974462"/>
            <a:ext cx="10476723" cy="974064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4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Arial Bold 40pt Titl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C7CE242A-1B9D-3644-AEBB-2DC2F582692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77077" y="346806"/>
            <a:ext cx="10476722" cy="497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Arial Bold 28pt Section Header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B7BD09DA-55FB-C646-9687-9A5FA9683F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77077" y="2078587"/>
            <a:ext cx="10476722" cy="3552192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/>
            </a:lvl1pPr>
          </a:lstStyle>
          <a:p>
            <a:pPr lvl="0"/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Bullet Arial 20pt</a:t>
            </a:r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412750" marR="0" lvl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397806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42333"/>
            <a:ext cx="12192000" cy="817563"/>
          </a:xfrm>
        </p:spPr>
        <p:txBody>
          <a:bodyPr>
            <a:normAutofit/>
          </a:bodyPr>
          <a:lstStyle>
            <a:lvl1pPr>
              <a:defRPr sz="4267" b="1">
                <a:latin typeface="Helvetica" pitchFamily="34" charset="0"/>
                <a:cs typeface="Helvetica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="1">
                <a:latin typeface="Helvetica" pitchFamily="34" charset="0"/>
                <a:cs typeface="Helvetica" pitchFamily="34" charset="0"/>
              </a:defRPr>
            </a:lvl1pPr>
            <a:lvl2pPr>
              <a:defRPr b="1">
                <a:latin typeface="Helvetica" pitchFamily="34" charset="0"/>
                <a:cs typeface="Helvetica" pitchFamily="34" charset="0"/>
              </a:defRPr>
            </a:lvl2pPr>
            <a:lvl3pPr>
              <a:defRPr b="1">
                <a:latin typeface="Helvetica" pitchFamily="34" charset="0"/>
                <a:cs typeface="Helvetica" pitchFamily="34" charset="0"/>
              </a:defRPr>
            </a:lvl3pPr>
            <a:lvl4pPr>
              <a:defRPr b="1">
                <a:latin typeface="Helvetica" pitchFamily="34" charset="0"/>
                <a:cs typeface="Helvetica" pitchFamily="34" charset="0"/>
              </a:defRPr>
            </a:lvl4pPr>
            <a:lvl5pPr>
              <a:defRPr b="1">
                <a:latin typeface="Helvetica" pitchFamily="34" charset="0"/>
                <a:cs typeface="Helvetica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10939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5" Type="http://schemas.openxmlformats.org/officeDocument/2006/relationships/tags" Target="../tags/tag21.xml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theme" Target="../theme/theme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78.xml"/><Relationship Id="rId7" Type="http://schemas.openxmlformats.org/officeDocument/2006/relationships/slideLayout" Target="../slideLayouts/slideLayout8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5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96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9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19.xml"/><Relationship Id="rId34" Type="http://schemas.openxmlformats.org/officeDocument/2006/relationships/slideLayout" Target="../slideLayouts/slideLayout132.xml"/><Relationship Id="rId42" Type="http://schemas.openxmlformats.org/officeDocument/2006/relationships/image" Target="../media/image5.png"/><Relationship Id="rId7" Type="http://schemas.openxmlformats.org/officeDocument/2006/relationships/slideLayout" Target="../slideLayouts/slideLayout10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slideLayout" Target="../slideLayouts/slideLayout127.xml"/><Relationship Id="rId41" Type="http://schemas.openxmlformats.org/officeDocument/2006/relationships/theme" Target="../theme/theme5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slideLayout" Target="../slideLayouts/slideLayout130.xml"/><Relationship Id="rId37" Type="http://schemas.openxmlformats.org/officeDocument/2006/relationships/slideLayout" Target="../slideLayouts/slideLayout135.xml"/><Relationship Id="rId40" Type="http://schemas.openxmlformats.org/officeDocument/2006/relationships/slideLayout" Target="../slideLayouts/slideLayout138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slideLayout" Target="../slideLayouts/slideLayout126.xml"/><Relationship Id="rId36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slideLayout" Target="../slideLayouts/slideLayout128.xml"/><Relationship Id="rId35" Type="http://schemas.openxmlformats.org/officeDocument/2006/relationships/slideLayout" Target="../slideLayouts/slideLayout133.xml"/><Relationship Id="rId8" Type="http://schemas.openxmlformats.org/officeDocument/2006/relationships/slideLayout" Target="../slideLayouts/slideLayout106.xml"/><Relationship Id="rId3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33" Type="http://schemas.openxmlformats.org/officeDocument/2006/relationships/slideLayout" Target="../slideLayouts/slideLayout131.xml"/><Relationship Id="rId38" Type="http://schemas.openxmlformats.org/officeDocument/2006/relationships/slideLayout" Target="../slideLayouts/slideLayout136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ags" Target="../tags/tag9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14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145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144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image" Target="../media/image10.emf"/><Relationship Id="rId5" Type="http://schemas.openxmlformats.org/officeDocument/2006/relationships/slideLayout" Target="../slideLayouts/slideLayout147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146.xml"/><Relationship Id="rId9" Type="http://schemas.openxmlformats.org/officeDocument/2006/relationships/image" Target="../media/image3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51.xml"/><Relationship Id="rId7" Type="http://schemas.openxmlformats.org/officeDocument/2006/relationships/slideLayout" Target="../slideLayouts/slideLayout155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50.xml"/><Relationship Id="rId1" Type="http://schemas.openxmlformats.org/officeDocument/2006/relationships/slideLayout" Target="../slideLayouts/slideLayout149.xml"/><Relationship Id="rId6" Type="http://schemas.openxmlformats.org/officeDocument/2006/relationships/slideLayout" Target="../slideLayouts/slideLayout154.xml"/><Relationship Id="rId11" Type="http://schemas.openxmlformats.org/officeDocument/2006/relationships/slideLayout" Target="../slideLayouts/slideLayout159.xml"/><Relationship Id="rId5" Type="http://schemas.openxmlformats.org/officeDocument/2006/relationships/slideLayout" Target="../slideLayouts/slideLayout153.xml"/><Relationship Id="rId10" Type="http://schemas.openxmlformats.org/officeDocument/2006/relationships/slideLayout" Target="../slideLayouts/slideLayout158.xml"/><Relationship Id="rId4" Type="http://schemas.openxmlformats.org/officeDocument/2006/relationships/slideLayout" Target="../slideLayouts/slideLayout152.xml"/><Relationship Id="rId9" Type="http://schemas.openxmlformats.org/officeDocument/2006/relationships/slideLayout" Target="../slideLayouts/slideLayout157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7.xml"/><Relationship Id="rId3" Type="http://schemas.openxmlformats.org/officeDocument/2006/relationships/slideLayout" Target="../slideLayouts/slideLayout162.xml"/><Relationship Id="rId7" Type="http://schemas.openxmlformats.org/officeDocument/2006/relationships/slideLayout" Target="../slideLayouts/slideLayout166.xml"/><Relationship Id="rId12" Type="http://schemas.openxmlformats.org/officeDocument/2006/relationships/tags" Target="../tags/tag13.xml"/><Relationship Id="rId2" Type="http://schemas.openxmlformats.org/officeDocument/2006/relationships/slideLayout" Target="../slideLayouts/slideLayout161.xml"/><Relationship Id="rId1" Type="http://schemas.openxmlformats.org/officeDocument/2006/relationships/slideLayout" Target="../slideLayouts/slideLayout160.xml"/><Relationship Id="rId6" Type="http://schemas.openxmlformats.org/officeDocument/2006/relationships/slideLayout" Target="../slideLayouts/slideLayout165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64.xml"/><Relationship Id="rId10" Type="http://schemas.openxmlformats.org/officeDocument/2006/relationships/slideLayout" Target="../slideLayouts/slideLayout169.xml"/><Relationship Id="rId4" Type="http://schemas.openxmlformats.org/officeDocument/2006/relationships/slideLayout" Target="../slideLayouts/slideLayout163.xml"/><Relationship Id="rId9" Type="http://schemas.openxmlformats.org/officeDocument/2006/relationships/slideLayout" Target="../slideLayouts/slideLayout1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19556B3-89A1-A44F-B845-0089CD720DE3}"/>
              </a:ext>
            </a:extLst>
          </p:cNvPr>
          <p:cNvPicPr>
            <a:picLocks noChangeAspect="1"/>
          </p:cNvPicPr>
          <p:nvPr userDrawn="1"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785479" y="6137487"/>
            <a:ext cx="2389449" cy="557538"/>
          </a:xfrm>
          <a:prstGeom prst="rect">
            <a:avLst/>
          </a:prstGeom>
          <a:effectLst>
            <a:outerShdw blurRad="50800" dist="63500" dir="5400000" algn="t" rotWithShape="0">
              <a:srgbClr val="D0D8E1"/>
            </a:outerShdw>
          </a:effectLst>
        </p:spPr>
      </p:pic>
    </p:spTree>
    <p:extLst>
      <p:ext uri="{BB962C8B-B14F-4D97-AF65-F5344CB8AC3E}">
        <p14:creationId xmlns:p14="http://schemas.microsoft.com/office/powerpoint/2010/main" val="3280441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908" r:id="rId1"/>
    <p:sldLayoutId id="2147485909" r:id="rId2"/>
    <p:sldLayoutId id="2147485910" r:id="rId3"/>
    <p:sldLayoutId id="2147485911" r:id="rId4"/>
    <p:sldLayoutId id="2147485912" r:id="rId5"/>
    <p:sldLayoutId id="2147485913" r:id="rId6"/>
    <p:sldLayoutId id="2147485914" r:id="rId7"/>
    <p:sldLayoutId id="2147485915" r:id="rId8"/>
    <p:sldLayoutId id="2147485916" r:id="rId9"/>
    <p:sldLayoutId id="2147485917" r:id="rId10"/>
    <p:sldLayoutId id="2147485918" r:id="rId11"/>
    <p:sldLayoutId id="2147485919" r:id="rId12"/>
    <p:sldLayoutId id="2147485920" r:id="rId13"/>
    <p:sldLayoutId id="2147485921" r:id="rId14"/>
    <p:sldLayoutId id="2147485922" r:id="rId15"/>
    <p:sldLayoutId id="2147485923" r:id="rId16"/>
    <p:sldLayoutId id="2147485924" r:id="rId17"/>
    <p:sldLayoutId id="2147485925" r:id="rId18"/>
    <p:sldLayoutId id="2147485926" r:id="rId19"/>
    <p:sldLayoutId id="2147485927" r:id="rId20"/>
    <p:sldLayoutId id="2147485928" r:id="rId21"/>
    <p:sldLayoutId id="2147485929" r:id="rId22"/>
    <p:sldLayoutId id="2147485930" r:id="rId23"/>
    <p:sldLayoutId id="2147485931" r:id="rId24"/>
    <p:sldLayoutId id="2147485932" r:id="rId25"/>
    <p:sldLayoutId id="2147485935" r:id="rId26"/>
    <p:sldLayoutId id="2147485936" r:id="rId27"/>
    <p:sldLayoutId id="2147485937" r:id="rId28"/>
    <p:sldLayoutId id="2147485938" r:id="rId29"/>
    <p:sldLayoutId id="2147485939" r:id="rId30"/>
    <p:sldLayoutId id="2147485940" r:id="rId31"/>
    <p:sldLayoutId id="2147485941" r:id="rId32"/>
    <p:sldLayoutId id="2147485942" r:id="rId33"/>
    <p:sldLayoutId id="2147485943" r:id="rId34"/>
    <p:sldLayoutId id="2147485944" r:id="rId35"/>
    <p:sldLayoutId id="2147485945" r:id="rId36"/>
    <p:sldLayoutId id="2147485946" r:id="rId37"/>
    <p:sldLayoutId id="2147485947" r:id="rId38"/>
    <p:sldLayoutId id="2147485948" r:id="rId39"/>
    <p:sldLayoutId id="2147485949" r:id="rId40"/>
    <p:sldLayoutId id="2147485950" r:id="rId41"/>
    <p:sldLayoutId id="2147485951" r:id="rId42"/>
    <p:sldLayoutId id="2147485952" r:id="rId43"/>
    <p:sldLayoutId id="2147485953" r:id="rId44"/>
    <p:sldLayoutId id="2147485954" r:id="rId45"/>
    <p:sldLayoutId id="2147485955" r:id="rId46"/>
    <p:sldLayoutId id="2147485956" r:id="rId47"/>
    <p:sldLayoutId id="2147485957" r:id="rId48"/>
    <p:sldLayoutId id="2147485958" r:id="rId49"/>
    <p:sldLayoutId id="2147485959" r:id="rId50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: Single Corner Rounded 18">
            <a:extLst>
              <a:ext uri="{FF2B5EF4-FFF2-40B4-BE49-F238E27FC236}">
                <a16:creationId xmlns:a16="http://schemas.microsoft.com/office/drawing/2014/main" id="{F7CD3589-86C7-458A-AF19-715B922CDC09}"/>
              </a:ext>
            </a:extLst>
          </p:cNvPr>
          <p:cNvSpPr/>
          <p:nvPr userDrawn="1"/>
        </p:nvSpPr>
        <p:spPr>
          <a:xfrm rot="10800000">
            <a:off x="10088880" y="0"/>
            <a:ext cx="2103120" cy="267629"/>
          </a:xfrm>
          <a:prstGeom prst="round1Rect">
            <a:avLst/>
          </a:prstGeom>
          <a:gradFill flip="none" rotWithShape="1">
            <a:gsLst>
              <a:gs pos="48000">
                <a:srgbClr val="006C64"/>
              </a:gs>
              <a:gs pos="76000">
                <a:srgbClr val="006C64"/>
              </a:gs>
              <a:gs pos="15000">
                <a:srgbClr val="041E49"/>
              </a:gs>
              <a:gs pos="100000">
                <a:srgbClr val="009D94"/>
              </a:gs>
            </a:gsLst>
            <a:path path="circle">
              <a:fillToRect l="100000" t="100000"/>
            </a:path>
            <a:tileRect r="-100000" b="-100000"/>
          </a:gradFill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noProof="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DE5897B-6D5A-4132-A5DE-70C5E9119ADA}"/>
              </a:ext>
            </a:extLst>
          </p:cNvPr>
          <p:cNvSpPr txBox="1"/>
          <p:nvPr userDrawn="1"/>
        </p:nvSpPr>
        <p:spPr>
          <a:xfrm>
            <a:off x="9655314" y="-13790"/>
            <a:ext cx="2971800" cy="3000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350" i="1" dirty="0">
                <a:solidFill>
                  <a:schemeClr val="bg1"/>
                </a:solidFill>
              </a:rPr>
              <a:t>Epcoritamab in R/R CL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5997" y="576000"/>
            <a:ext cx="8228277" cy="50566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5997" y="1806575"/>
            <a:ext cx="8228277" cy="447379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grpSp>
        <p:nvGrpSpPr>
          <p:cNvPr id="17" name="Group 16" hidden="1"/>
          <p:cNvGrpSpPr/>
          <p:nvPr/>
        </p:nvGrpSpPr>
        <p:grpSpPr>
          <a:xfrm>
            <a:off x="574675" y="-301039"/>
            <a:ext cx="11042525" cy="7560000"/>
            <a:chOff x="574675" y="-301039"/>
            <a:chExt cx="11042525" cy="7560000"/>
          </a:xfrm>
        </p:grpSpPr>
        <p:sp>
          <p:nvSpPr>
            <p:cNvPr id="12" name="Rectangle 11"/>
            <p:cNvSpPr/>
            <p:nvPr userDrawn="1"/>
          </p:nvSpPr>
          <p:spPr>
            <a:xfrm>
              <a:off x="574675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3281306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987937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8694568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11401200" y="-301039"/>
              <a:ext cx="216000" cy="7560000"/>
            </a:xfrm>
            <a:prstGeom prst="rect">
              <a:avLst/>
            </a:prstGeom>
            <a:solidFill>
              <a:srgbClr val="808080">
                <a:alpha val="23922"/>
              </a:srgbClr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2000" noProof="0" dirty="0"/>
            </a:p>
          </p:txBody>
        </p:sp>
      </p:grpSp>
      <p:sp>
        <p:nvSpPr>
          <p:cNvPr id="18" name="Rectangle 7">
            <a:extLst>
              <a:ext uri="{FF2B5EF4-FFF2-40B4-BE49-F238E27FC236}">
                <a16:creationId xmlns:a16="http://schemas.microsoft.com/office/drawing/2014/main" id="{B80A0E04-CE3F-482B-B4A0-6A5A4D378D1D}"/>
              </a:ext>
            </a:extLst>
          </p:cNvPr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auto">
          <a:xfrm>
            <a:off x="0" y="6533024"/>
            <a:ext cx="12192000" cy="324976"/>
          </a:xfrm>
          <a:prstGeom prst="rect">
            <a:avLst/>
          </a:prstGeom>
          <a:gradFill flip="none" rotWithShape="1">
            <a:gsLst>
              <a:gs pos="50000">
                <a:srgbClr val="00A195"/>
              </a:gs>
              <a:gs pos="0">
                <a:srgbClr val="071D49"/>
              </a:gs>
              <a:gs pos="100000">
                <a:srgbClr val="808285"/>
              </a:gs>
            </a:gsLst>
            <a:lin ang="0" scaled="1"/>
            <a:tileRect/>
          </a:gradFill>
          <a:ln>
            <a:noFill/>
          </a:ln>
          <a:effectLst/>
        </p:spPr>
        <p:txBody>
          <a:bodyPr wrap="none" lIns="91430" tIns="45718" rIns="91430" bIns="45718" anchor="ctr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algn="ctr" defTabSz="45720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marR="0" lvl="0" indent="0" algn="ctr" defTabSz="457143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70605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9A916FA-27EF-447D-AAD4-4D37AE0CB6E9}"/>
              </a:ext>
            </a:extLst>
          </p:cNvPr>
          <p:cNvSpPr txBox="1"/>
          <p:nvPr userDrawn="1"/>
        </p:nvSpPr>
        <p:spPr>
          <a:xfrm>
            <a:off x="8694568" y="6667840"/>
            <a:ext cx="3356772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</a:rPr>
              <a:t>ASH 2024</a:t>
            </a:r>
          </a:p>
        </p:txBody>
      </p:sp>
    </p:spTree>
    <p:extLst>
      <p:ext uri="{BB962C8B-B14F-4D97-AF65-F5344CB8AC3E}">
        <p14:creationId xmlns:p14="http://schemas.microsoft.com/office/powerpoint/2010/main" val="1057966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50" r:id="rId1"/>
    <p:sldLayoutId id="2147486251" r:id="rId2"/>
    <p:sldLayoutId id="2147486252" r:id="rId3"/>
    <p:sldLayoutId id="2147486253" r:id="rId4"/>
    <p:sldLayoutId id="2147486254" r:id="rId5"/>
    <p:sldLayoutId id="2147486255" r:id="rId6"/>
    <p:sldLayoutId id="2147486256" r:id="rId7"/>
    <p:sldLayoutId id="2147486257" r:id="rId8"/>
    <p:sldLayoutId id="2147486258" r:id="rId9"/>
    <p:sldLayoutId id="2147486259" r:id="rId10"/>
    <p:sldLayoutId id="2147486260" r:id="rId11"/>
    <p:sldLayoutId id="2147486261" r:id="rId12"/>
    <p:sldLayoutId id="2147486262" r:id="rId13"/>
  </p:sldLayoutIdLst>
  <p:hf sldNum="0" hdr="0" ftr="0" dt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2800" b="1" kern="1200">
          <a:solidFill>
            <a:srgbClr val="00A195"/>
          </a:solidFill>
          <a:latin typeface="+mj-lt"/>
          <a:ea typeface="+mj-ea"/>
          <a:cs typeface="+mj-cs"/>
        </a:defRPr>
      </a:lvl1pPr>
    </p:titleStyle>
    <p:bodyStyle>
      <a:lvl1pPr marL="216000" indent="-2160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15900" algn="l" defTabSz="914400" rtl="0" eaLnBrk="1" latinLnBrk="0" hangingPunct="1">
        <a:lnSpc>
          <a:spcPct val="101000"/>
        </a:lnSpc>
        <a:spcBef>
          <a:spcPts val="0"/>
        </a:spcBef>
        <a:buFont typeface="Helvetica" pitchFamily="2" charset="0"/>
        <a:buChar char="–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15900" algn="l" defTabSz="914400" rtl="0" eaLnBrk="1" latinLnBrk="0" hangingPunct="1">
        <a:lnSpc>
          <a:spcPct val="101000"/>
        </a:lnSpc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Helvetica" pitchFamily="2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143000" indent="-215900" algn="l" defTabSz="914400" rtl="0" eaLnBrk="1" latinLnBrk="0" hangingPunct="1">
        <a:lnSpc>
          <a:spcPct val="101000"/>
        </a:lnSpc>
        <a:spcBef>
          <a:spcPts val="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1138">
          <p15:clr>
            <a:srgbClr val="F26B43"/>
          </p15:clr>
        </p15:guide>
        <p15:guide id="4" orient="horz" pos="3956">
          <p15:clr>
            <a:srgbClr val="F26B43"/>
          </p15:clr>
        </p15:guide>
        <p15:guide id="8" orient="horz" pos="362">
          <p15:clr>
            <a:srgbClr val="F26B43"/>
          </p15:clr>
        </p15:guide>
        <p15:guide id="9" orient="horz" pos="1036">
          <p15:clr>
            <a:srgbClr val="F26B43"/>
          </p15:clr>
        </p15:guide>
        <p15:guide id="10" pos="362">
          <p15:clr>
            <a:srgbClr val="F26B43"/>
          </p15:clr>
        </p15:guide>
        <p15:guide id="17" pos="731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2ECF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912286" y="227013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itle style</a:t>
            </a:r>
          </a:p>
        </p:txBody>
      </p:sp>
      <p:sp>
        <p:nvSpPr>
          <p:cNvPr id="1028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2286" y="1416053"/>
            <a:ext cx="10358967" cy="4799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7125302-5F8B-1E48-8B53-B80353F88A23}"/>
              </a:ext>
            </a:extLst>
          </p:cNvPr>
          <p:cNvPicPr>
            <a:picLocks noChangeAspect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85479" y="6137486"/>
            <a:ext cx="2389449" cy="557538"/>
          </a:xfrm>
          <a:prstGeom prst="rect">
            <a:avLst/>
          </a:prstGeom>
          <a:effectLst>
            <a:outerShdw blurRad="50800" dist="63500" dir="5400000" algn="t" rotWithShape="0">
              <a:srgbClr val="D0D8E1"/>
            </a:outerShdw>
          </a:effectLst>
        </p:spPr>
      </p:pic>
    </p:spTree>
    <p:extLst>
      <p:ext uri="{BB962C8B-B14F-4D97-AF65-F5344CB8AC3E}">
        <p14:creationId xmlns:p14="http://schemas.microsoft.com/office/powerpoint/2010/main" val="2843535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23" r:id="rId1"/>
    <p:sldLayoutId id="2147486124" r:id="rId2"/>
    <p:sldLayoutId id="2147486125" r:id="rId3"/>
    <p:sldLayoutId id="2147486126" r:id="rId4"/>
    <p:sldLayoutId id="2147486127" r:id="rId5"/>
    <p:sldLayoutId id="2147486128" r:id="rId6"/>
    <p:sldLayoutId id="2147486129" r:id="rId7"/>
    <p:sldLayoutId id="2147486130" r:id="rId8"/>
    <p:sldLayoutId id="2147486131" r:id="rId9"/>
    <p:sldLayoutId id="2147486132" r:id="rId10"/>
    <p:sldLayoutId id="2147486133" r:id="rId11"/>
    <p:sldLayoutId id="2147486134" r:id="rId12"/>
    <p:sldLayoutId id="2147486135" r:id="rId13"/>
    <p:sldLayoutId id="2147486136" r:id="rId14"/>
    <p:sldLayoutId id="2147486137" r:id="rId15"/>
    <p:sldLayoutId id="2147486138" r:id="rId16"/>
    <p:sldLayoutId id="2147486139" r:id="rId17"/>
    <p:sldLayoutId id="2147486140" r:id="rId18"/>
    <p:sldLayoutId id="2147486141" r:id="rId19"/>
    <p:sldLayoutId id="2147486142" r:id="rId20"/>
    <p:sldLayoutId id="2147486143" r:id="rId21"/>
    <p:sldLayoutId id="2147486144" r:id="rId22"/>
    <p:sldLayoutId id="2147486145" r:id="rId23"/>
    <p:sldLayoutId id="2147486146" r:id="rId24"/>
    <p:sldLayoutId id="2147486147" r:id="rId25"/>
  </p:sldLayoutIdLst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  <p:txStyles>
    <p:titleStyle>
      <a:lvl1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000" b="1">
          <a:solidFill>
            <a:srgbClr val="3333FF"/>
          </a:solidFill>
          <a:latin typeface="Calibri"/>
          <a:ea typeface="MS PGothic" pitchFamily="34" charset="-128"/>
          <a:cs typeface="Calibri"/>
        </a:defRPr>
      </a:lvl1pPr>
      <a:lvl2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2pPr>
      <a:lvl3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3pPr>
      <a:lvl4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4pPr>
      <a:lvl5pPr algn="ctr" defTabSz="412750" rtl="0" eaLnBrk="0" fontAlgn="base" hangingPunct="0">
        <a:lnSpc>
          <a:spcPct val="88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defRPr sz="3600" b="1">
          <a:solidFill>
            <a:srgbClr val="3333FF"/>
          </a:solidFill>
          <a:latin typeface="Calibri" charset="0"/>
          <a:ea typeface="MS PGothic" pitchFamily="34" charset="-128"/>
          <a:cs typeface="MS PGothic" charset="0"/>
        </a:defRPr>
      </a:lvl5pPr>
      <a:lvl6pPr marL="153622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6pPr>
      <a:lvl7pPr marL="1993281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7pPr>
      <a:lvl8pPr marL="245033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8pPr>
      <a:lvl9pPr marL="2907397" indent="-215834" algn="ctr" defTabSz="457058" rtl="0" fontAlgn="base" hangingPunct="0">
        <a:lnSpc>
          <a:spcPct val="93000"/>
        </a:lnSpc>
        <a:spcBef>
          <a:spcPct val="0"/>
        </a:spcBef>
        <a:spcAft>
          <a:spcPct val="0"/>
        </a:spcAft>
        <a:buClr>
          <a:srgbClr val="000000"/>
        </a:buClr>
        <a:buSzPct val="45000"/>
        <a:buFont typeface="Wingdings" pitchFamily="2" charset="2"/>
        <a:defRPr sz="2800" b="1">
          <a:solidFill>
            <a:srgbClr val="000000"/>
          </a:solidFill>
          <a:latin typeface="Times New Roman" pitchFamily="18" charset="0"/>
        </a:defRPr>
      </a:lvl9pPr>
    </p:titleStyle>
    <p:bodyStyle>
      <a:lvl1pPr marL="390525" indent="-292100" algn="l" defTabSz="412750" rtl="0" eaLnBrk="0" fontAlgn="base" hangingPunct="0">
        <a:lnSpc>
          <a:spcPct val="105000"/>
        </a:lnSpc>
        <a:spcBef>
          <a:spcPct val="30000"/>
        </a:spcBef>
        <a:spcAft>
          <a:spcPts val="800"/>
        </a:spcAft>
        <a:buClr>
          <a:srgbClr val="000000"/>
        </a:buClr>
        <a:buSzPct val="100000"/>
        <a:buFont typeface="Arial" pitchFamily="-72" charset="0"/>
        <a:buChar char="•"/>
        <a:defRPr sz="2900" b="1">
          <a:solidFill>
            <a:srgbClr val="000000"/>
          </a:solidFill>
          <a:latin typeface="Calibri" charset="0"/>
          <a:ea typeface="MS PGothic" pitchFamily="34" charset="-128"/>
          <a:cs typeface="MS PGothic" charset="0"/>
        </a:defRPr>
      </a:lvl1pPr>
      <a:lvl2pPr marL="782638" indent="-260350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600" b="1">
          <a:solidFill>
            <a:srgbClr val="000000"/>
          </a:solidFill>
          <a:latin typeface="Calibri" charset="0"/>
          <a:ea typeface="MS PGothic" pitchFamily="34" charset="-128"/>
        </a:defRPr>
      </a:lvl2pPr>
      <a:lvl3pPr marL="1173163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400" b="1">
          <a:solidFill>
            <a:srgbClr val="000000"/>
          </a:solidFill>
          <a:latin typeface="Calibri" charset="0"/>
          <a:ea typeface="ＭＳ Ｐゴシック" pitchFamily="-123" charset="-128"/>
          <a:cs typeface="ＭＳ Ｐゴシック" pitchFamily="-72" charset="-128"/>
        </a:defRPr>
      </a:lvl3pPr>
      <a:lvl4pPr marL="1565275" indent="-193675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75000"/>
        <a:buFont typeface="Symbol" pitchFamily="-72" charset="2"/>
        <a:buChar char=""/>
        <a:defRPr sz="2200" b="1">
          <a:solidFill>
            <a:srgbClr val="000000"/>
          </a:solidFill>
          <a:latin typeface="Calibri" charset="0"/>
          <a:ea typeface="ＭＳ Ｐゴシック" pitchFamily="-123" charset="-128"/>
        </a:defRPr>
      </a:lvl4pPr>
      <a:lvl5pPr marL="1957388" indent="-195263" algn="l" defTabSz="412750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rgbClr val="000000"/>
        </a:buClr>
        <a:buSzPct val="45000"/>
        <a:buFont typeface="Wingdings" pitchFamily="-72" charset="2"/>
        <a:buChar char=""/>
        <a:defRPr sz="2000" b="1">
          <a:solidFill>
            <a:srgbClr val="000000"/>
          </a:solidFill>
          <a:latin typeface="Calibri" charset="0"/>
          <a:ea typeface="ＭＳ Ｐゴシック" pitchFamily="-123" charset="-128"/>
        </a:defRPr>
      </a:lvl5pPr>
      <a:lvl6pPr marL="2615386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6pPr>
      <a:lvl7pPr marL="3072444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7pPr>
      <a:lvl8pPr marL="3529502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8pPr>
      <a:lvl9pPr marL="3986559" indent="-215834" algn="l" defTabSz="457058" rtl="0" fontAlgn="base" hangingPunct="0">
        <a:lnSpc>
          <a:spcPct val="93000"/>
        </a:lnSpc>
        <a:spcBef>
          <a:spcPct val="0"/>
        </a:spcBef>
        <a:spcAft>
          <a:spcPts val="288"/>
        </a:spcAft>
        <a:buClr>
          <a:srgbClr val="000000"/>
        </a:buClr>
        <a:buSzPct val="45000"/>
        <a:buFont typeface="Wingdings" pitchFamily="2" charset="2"/>
        <a:buChar char=""/>
        <a:defRPr sz="20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8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1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73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31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89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47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05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62" algn="l" defTabSz="91411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0" y="6492876"/>
            <a:ext cx="33189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6090422-FAC2-1B47-B696-15B7C4FF0E2E}" type="datetime1">
              <a:rPr lang="en-US" smtClean="0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0ABAB64-726D-C943-9B15-2E81C6025A8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3190A59-815D-9B1C-549B-6D98E7CA80BE}"/>
              </a:ext>
            </a:extLst>
          </p:cNvPr>
          <p:cNvSpPr/>
          <p:nvPr userDrawn="1"/>
        </p:nvSpPr>
        <p:spPr>
          <a:xfrm>
            <a:off x="609600" y="6367346"/>
            <a:ext cx="4709532" cy="490654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93233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49" r:id="rId1"/>
    <p:sldLayoutId id="2147486150" r:id="rId2"/>
    <p:sldLayoutId id="2147486151" r:id="rId3"/>
    <p:sldLayoutId id="2147486152" r:id="rId4"/>
    <p:sldLayoutId id="2147486153" r:id="rId5"/>
    <p:sldLayoutId id="2147486154" r:id="rId6"/>
    <p:sldLayoutId id="2147486155" r:id="rId7"/>
    <p:sldLayoutId id="2147486156" r:id="rId8"/>
    <p:sldLayoutId id="2147486157" r:id="rId9"/>
    <p:sldLayoutId id="2147486158" r:id="rId10"/>
    <p:sldLayoutId id="2147486159" r:id="rId11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kern="1200">
          <a:solidFill>
            <a:srgbClr val="CD113B"/>
          </a:solidFill>
          <a:latin typeface="Arial"/>
          <a:ea typeface="Geneva" pitchFamily="37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Geneva" pitchFamily="37" charset="-128"/>
          <a:cs typeface="Geneva" pitchFamily="37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Geneva" pitchFamily="37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Geneva" pitchFamily="37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51E74CA-7A7C-8963-FDE7-101EA4E169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A59FB86-CCFB-2342-8AEA-022172D1DB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367D3F-7C32-A42A-7E41-A52AA1D0E6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B64629E-5585-4F43-8AD1-08D843B81673}" type="datetimeFigureOut">
              <a:rPr lang="en-US" smtClean="0"/>
              <a:t>4/16/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89BEC0-0276-8006-A4B3-B4FE14FF34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6BC593-82A7-B0CE-EC6E-BE18392355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1E496A52-5801-44E9-B011-DA5A199331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492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61" r:id="rId1"/>
    <p:sldLayoutId id="2147486162" r:id="rId2"/>
    <p:sldLayoutId id="2147486163" r:id="rId3"/>
    <p:sldLayoutId id="2147486164" r:id="rId4"/>
    <p:sldLayoutId id="2147486165" r:id="rId5"/>
    <p:sldLayoutId id="2147486166" r:id="rId6"/>
    <p:sldLayoutId id="2147486167" r:id="rId7"/>
    <p:sldLayoutId id="2147486168" r:id="rId8"/>
    <p:sldLayoutId id="2147486169" r:id="rId9"/>
    <p:sldLayoutId id="2147486170" r:id="rId10"/>
    <p:sldLayoutId id="2147486171" r:id="rId11"/>
    <p:sldLayoutId id="2147486172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7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5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0AE6F66-B29F-4668-A4EA-667D000B91F0}"/>
              </a:ext>
            </a:extLst>
          </p:cNvPr>
          <p:cNvPicPr>
            <a:picLocks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0" y="6757416"/>
            <a:ext cx="12192000" cy="1005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477F7E0C-4139-41A2-B679-05345BCF6B00}"/>
              </a:ext>
            </a:extLst>
          </p:cNvPr>
          <p:cNvPicPr>
            <a:picLocks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0" y="-8515"/>
            <a:ext cx="12192000" cy="100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061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174" r:id="rId1"/>
    <p:sldLayoutId id="2147486175" r:id="rId2"/>
    <p:sldLayoutId id="2147486176" r:id="rId3"/>
    <p:sldLayoutId id="2147486177" r:id="rId4"/>
    <p:sldLayoutId id="2147486178" r:id="rId5"/>
    <p:sldLayoutId id="2147486179" r:id="rId6"/>
    <p:sldLayoutId id="2147486180" r:id="rId7"/>
    <p:sldLayoutId id="2147486181" r:id="rId8"/>
    <p:sldLayoutId id="2147486182" r:id="rId9"/>
    <p:sldLayoutId id="2147486183" r:id="rId10"/>
    <p:sldLayoutId id="2147486184" r:id="rId11"/>
    <p:sldLayoutId id="2147486185" r:id="rId12"/>
    <p:sldLayoutId id="2147486186" r:id="rId13"/>
    <p:sldLayoutId id="2147486187" r:id="rId14"/>
    <p:sldLayoutId id="2147486188" r:id="rId15"/>
    <p:sldLayoutId id="2147486189" r:id="rId16"/>
    <p:sldLayoutId id="2147486190" r:id="rId17"/>
    <p:sldLayoutId id="2147486191" r:id="rId18"/>
    <p:sldLayoutId id="2147486192" r:id="rId19"/>
    <p:sldLayoutId id="2147486193" r:id="rId20"/>
    <p:sldLayoutId id="2147486194" r:id="rId21"/>
    <p:sldLayoutId id="2147486195" r:id="rId22"/>
    <p:sldLayoutId id="2147486196" r:id="rId23"/>
    <p:sldLayoutId id="2147486197" r:id="rId24"/>
    <p:sldLayoutId id="2147486198" r:id="rId25"/>
    <p:sldLayoutId id="2147486199" r:id="rId26"/>
    <p:sldLayoutId id="2147486200" r:id="rId27"/>
    <p:sldLayoutId id="2147486201" r:id="rId28"/>
    <p:sldLayoutId id="2147486202" r:id="rId29"/>
    <p:sldLayoutId id="2147486203" r:id="rId30"/>
    <p:sldLayoutId id="2147486204" r:id="rId31"/>
    <p:sldLayoutId id="2147486205" r:id="rId32"/>
    <p:sldLayoutId id="2147486206" r:id="rId33"/>
    <p:sldLayoutId id="2147486207" r:id="rId34"/>
    <p:sldLayoutId id="2147486208" r:id="rId35"/>
    <p:sldLayoutId id="2147486209" r:id="rId36"/>
    <p:sldLayoutId id="2147486210" r:id="rId37"/>
    <p:sldLayoutId id="2147486211" r:id="rId38"/>
    <p:sldLayoutId id="2147486212" r:id="rId39"/>
    <p:sldLayoutId id="2147486213" r:id="rId40"/>
  </p:sldLayoutIdLst>
  <p:hf sldNum="0" hdr="0" ftr="0" dt="0"/>
  <p:txStyles>
    <p:titleStyle>
      <a:lvl1pPr algn="ctr" defTabSz="1219140" rtl="0" eaLnBrk="1" latinLnBrk="0" hangingPunct="1">
        <a:spcBef>
          <a:spcPct val="0"/>
        </a:spcBef>
        <a:buNone/>
        <a:defRPr sz="5333" b="1" kern="1200">
          <a:solidFill>
            <a:schemeClr val="tx1"/>
          </a:solidFill>
          <a:latin typeface="Helvetica" pitchFamily="34" charset="0"/>
          <a:ea typeface="+mj-ea"/>
          <a:cs typeface="Helvetica" pitchFamily="34" charset="0"/>
        </a:defRPr>
      </a:lvl1pPr>
    </p:titleStyle>
    <p:bodyStyle>
      <a:lvl1pPr marL="457178" indent="-457178" algn="l" defTabSz="1219140" rtl="0" eaLnBrk="1" latinLnBrk="0" hangingPunct="1">
        <a:spcBef>
          <a:spcPct val="20000"/>
        </a:spcBef>
        <a:buFont typeface="Arial" pitchFamily="34" charset="0"/>
        <a:buChar char="•"/>
        <a:defRPr sz="3733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1pPr>
      <a:lvl2pPr marL="990550" indent="-380981" algn="l" defTabSz="1219140" rtl="0" eaLnBrk="1" latinLnBrk="0" hangingPunct="1">
        <a:spcBef>
          <a:spcPct val="20000"/>
        </a:spcBef>
        <a:buFont typeface="Arial" pitchFamily="34" charset="0"/>
        <a:buChar char="–"/>
        <a:defRPr sz="3200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2pPr>
      <a:lvl3pPr marL="1523925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3pPr>
      <a:lvl4pPr marL="2133493" indent="-304784" algn="l" defTabSz="1219140" rtl="0" eaLnBrk="1" latinLnBrk="0" hangingPunct="1">
        <a:spcBef>
          <a:spcPct val="20000"/>
        </a:spcBef>
        <a:buFont typeface="Arial" pitchFamily="34" charset="0"/>
        <a:buChar char="–"/>
        <a:defRPr sz="2400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4pPr>
      <a:lvl5pPr marL="2743062" indent="-304784" algn="l" defTabSz="1219140" rtl="0" eaLnBrk="1" latinLnBrk="0" hangingPunct="1">
        <a:spcBef>
          <a:spcPct val="20000"/>
        </a:spcBef>
        <a:buFont typeface="Arial" pitchFamily="34" charset="0"/>
        <a:buChar char="»"/>
        <a:defRPr sz="2400" b="1" kern="1200">
          <a:solidFill>
            <a:schemeClr val="tx1"/>
          </a:solidFill>
          <a:latin typeface="Helvetica" pitchFamily="34" charset="0"/>
          <a:ea typeface="+mn-ea"/>
          <a:cs typeface="Helvetica" pitchFamily="34" charset="0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176542" y="648775"/>
            <a:ext cx="11838917" cy="43088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/>
            </a:lvl1pPr>
          </a:lstStyle>
          <a:p>
            <a:endParaRPr lang="en-NL"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76543" y="1371602"/>
            <a:ext cx="11838916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3" name="Slide Number Placeholder 11">
            <a:extLst>
              <a:ext uri="{FF2B5EF4-FFF2-40B4-BE49-F238E27FC236}">
                <a16:creationId xmlns:a16="http://schemas.microsoft.com/office/drawing/2014/main" id="{4DDD55A5-E286-DB56-F036-E7A2801933BE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592561" y="6451104"/>
            <a:ext cx="447040" cy="3651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F511BAF-3BAC-4704-984F-D5F7B7C79AA5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6"/>
    </p:custDataLst>
    <p:extLst>
      <p:ext uri="{BB962C8B-B14F-4D97-AF65-F5344CB8AC3E}">
        <p14:creationId xmlns:p14="http://schemas.microsoft.com/office/powerpoint/2010/main" val="1838494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15" r:id="rId1"/>
    <p:sldLayoutId id="2147486216" r:id="rId2"/>
    <p:sldLayoutId id="2147486217" r:id="rId3"/>
    <p:sldLayoutId id="2147486218" r:id="rId4"/>
  </p:sldLayoutIdLst>
  <p:hf hdr="0" dt="0"/>
  <p:txStyles>
    <p:titleStyle>
      <a:lvl1pPr>
        <a:defRPr sz="2800" b="1">
          <a:solidFill>
            <a:srgbClr val="005193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85744" indent="-285744">
        <a:buClr>
          <a:srgbClr val="ED1C23"/>
        </a:buClr>
        <a:buFont typeface="Arial" panose="020B0604020202020204" pitchFamily="34" charset="0"/>
        <a:buChar char="•"/>
        <a:defRPr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342891">
        <a:defRPr>
          <a:latin typeface="+mn-lt"/>
          <a:ea typeface="+mn-ea"/>
          <a:cs typeface="+mn-cs"/>
        </a:defRPr>
      </a:lvl2pPr>
      <a:lvl3pPr marL="685783">
        <a:defRPr>
          <a:latin typeface="+mn-lt"/>
          <a:ea typeface="+mn-ea"/>
          <a:cs typeface="+mn-cs"/>
        </a:defRPr>
      </a:lvl3pPr>
      <a:lvl4pPr marL="1028674">
        <a:defRPr>
          <a:latin typeface="+mn-lt"/>
          <a:ea typeface="+mn-ea"/>
          <a:cs typeface="+mn-cs"/>
        </a:defRPr>
      </a:lvl4pPr>
      <a:lvl5pPr marL="1371566">
        <a:defRPr>
          <a:latin typeface="+mn-lt"/>
          <a:ea typeface="+mn-ea"/>
          <a:cs typeface="+mn-cs"/>
        </a:defRPr>
      </a:lvl5pPr>
      <a:lvl6pPr marL="1714457">
        <a:defRPr>
          <a:latin typeface="+mn-lt"/>
          <a:ea typeface="+mn-ea"/>
          <a:cs typeface="+mn-cs"/>
        </a:defRPr>
      </a:lvl6pPr>
      <a:lvl7pPr marL="2057349">
        <a:defRPr>
          <a:latin typeface="+mn-lt"/>
          <a:ea typeface="+mn-ea"/>
          <a:cs typeface="+mn-cs"/>
        </a:defRPr>
      </a:lvl7pPr>
      <a:lvl8pPr marL="2400240">
        <a:defRPr>
          <a:latin typeface="+mn-lt"/>
          <a:ea typeface="+mn-ea"/>
          <a:cs typeface="+mn-cs"/>
        </a:defRPr>
      </a:lvl8pPr>
      <a:lvl9pPr marL="2743131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42891">
        <a:defRPr>
          <a:latin typeface="+mn-lt"/>
          <a:ea typeface="+mn-ea"/>
          <a:cs typeface="+mn-cs"/>
        </a:defRPr>
      </a:lvl2pPr>
      <a:lvl3pPr marL="685783">
        <a:defRPr>
          <a:latin typeface="+mn-lt"/>
          <a:ea typeface="+mn-ea"/>
          <a:cs typeface="+mn-cs"/>
        </a:defRPr>
      </a:lvl3pPr>
      <a:lvl4pPr marL="1028674">
        <a:defRPr>
          <a:latin typeface="+mn-lt"/>
          <a:ea typeface="+mn-ea"/>
          <a:cs typeface="+mn-cs"/>
        </a:defRPr>
      </a:lvl4pPr>
      <a:lvl5pPr marL="1371566">
        <a:defRPr>
          <a:latin typeface="+mn-lt"/>
          <a:ea typeface="+mn-ea"/>
          <a:cs typeface="+mn-cs"/>
        </a:defRPr>
      </a:lvl5pPr>
      <a:lvl6pPr marL="1714457">
        <a:defRPr>
          <a:latin typeface="+mn-lt"/>
          <a:ea typeface="+mn-ea"/>
          <a:cs typeface="+mn-cs"/>
        </a:defRPr>
      </a:lvl6pPr>
      <a:lvl7pPr marL="2057349">
        <a:defRPr>
          <a:latin typeface="+mn-lt"/>
          <a:ea typeface="+mn-ea"/>
          <a:cs typeface="+mn-cs"/>
        </a:defRPr>
      </a:lvl7pPr>
      <a:lvl8pPr marL="2400240">
        <a:defRPr>
          <a:latin typeface="+mn-lt"/>
          <a:ea typeface="+mn-ea"/>
          <a:cs typeface="+mn-cs"/>
        </a:defRPr>
      </a:lvl8pPr>
      <a:lvl9pPr marL="274313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9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9A7F3E7-97D9-0FA2-4961-0BB2C650D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39485394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95" imgH="396" progId="TCLayout.ActiveDocument.1">
                  <p:embed/>
                </p:oleObj>
              </mc:Choice>
              <mc:Fallback>
                <p:oleObj name="think-cell Slide" r:id="rId10" imgW="395" imgH="39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9A7F3E7-97D9-0FA2-4961-0BB2C650D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5200" y="6492876"/>
            <a:ext cx="3318933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96090422-FAC2-1B47-B696-15B7C4FF0E2E}" type="datetime1">
              <a:rPr lang="en-US" smtClean="0"/>
              <a:pPr/>
              <a:t>4/16/25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492876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600">
                <a:solidFill>
                  <a:srgbClr val="898989"/>
                </a:solidFill>
                <a:latin typeface="Calibri" charset="0"/>
              </a:defRPr>
            </a:lvl1pPr>
          </a:lstStyle>
          <a:p>
            <a:fld id="{B0ABAB64-726D-C943-9B15-2E81C6025A8E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705820A-F0AC-ACF3-D4B8-CCD3C6A7A39A}"/>
              </a:ext>
            </a:extLst>
          </p:cNvPr>
          <p:cNvSpPr/>
          <p:nvPr userDrawn="1"/>
        </p:nvSpPr>
        <p:spPr>
          <a:xfrm>
            <a:off x="609600" y="6367346"/>
            <a:ext cx="4709532" cy="490654"/>
          </a:xfrm>
          <a:prstGeom prst="rect">
            <a:avLst/>
          </a:prstGeom>
          <a:solidFill>
            <a:srgbClr val="C5C5C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1228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20" r:id="rId1"/>
    <p:sldLayoutId id="2147486221" r:id="rId2"/>
    <p:sldLayoutId id="2147486222" r:id="rId3"/>
    <p:sldLayoutId id="2147486223" r:id="rId4"/>
    <p:sldLayoutId id="2147486224" r:id="rId5"/>
    <p:sldLayoutId id="2147486225" r:id="rId6"/>
  </p:sldLayoutIdLst>
  <p:txStyles>
    <p:titleStyle>
      <a:lvl1pPr algn="l" defTabSz="609585" rtl="0" eaLnBrk="0" fontAlgn="base" hangingPunct="0">
        <a:spcBef>
          <a:spcPct val="0"/>
        </a:spcBef>
        <a:spcAft>
          <a:spcPct val="0"/>
        </a:spcAft>
        <a:defRPr sz="4267" kern="1200">
          <a:solidFill>
            <a:srgbClr val="CD113B"/>
          </a:solidFill>
          <a:latin typeface="Arial"/>
          <a:ea typeface="Geneva" pitchFamily="37" charset="-128"/>
          <a:cs typeface="Arial"/>
        </a:defRPr>
      </a:lvl1pPr>
      <a:lvl2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2pPr>
      <a:lvl3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3pPr>
      <a:lvl4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4pPr>
      <a:lvl5pPr algn="l" defTabSz="609585" rtl="0" eaLnBrk="0" fontAlgn="base" hangingPunct="0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  <a:cs typeface="Times New Roman" pitchFamily="18" charset="0"/>
        </a:defRPr>
      </a:lvl5pPr>
      <a:lvl6pPr marL="609585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6pPr>
      <a:lvl7pPr marL="1219170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7pPr>
      <a:lvl8pPr marL="1828754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8pPr>
      <a:lvl9pPr marL="2438339" algn="l" defTabSz="609585" rtl="0" fontAlgn="base">
        <a:spcBef>
          <a:spcPct val="0"/>
        </a:spcBef>
        <a:spcAft>
          <a:spcPct val="0"/>
        </a:spcAft>
        <a:defRPr sz="4267">
          <a:solidFill>
            <a:srgbClr val="800000"/>
          </a:solidFill>
          <a:latin typeface="Times New Roman" pitchFamily="37" charset="0"/>
          <a:ea typeface="Geneva" pitchFamily="37" charset="-128"/>
        </a:defRPr>
      </a:lvl9pPr>
    </p:titleStyle>
    <p:bodyStyle>
      <a:lvl1pPr marL="457189" indent="-457189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Geneva" pitchFamily="37" charset="-128"/>
          <a:cs typeface="Geneva" pitchFamily="37" charset="-128"/>
        </a:defRPr>
      </a:lvl1pPr>
      <a:lvl2pPr marL="990575" indent="-380990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67" kern="1200">
          <a:solidFill>
            <a:schemeClr val="tx1"/>
          </a:solidFill>
          <a:latin typeface="+mn-lt"/>
          <a:ea typeface="Geneva" pitchFamily="37" charset="-128"/>
          <a:cs typeface="+mn-cs"/>
        </a:defRPr>
      </a:lvl2pPr>
      <a:lvl3pPr marL="1523962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Geneva" pitchFamily="37" charset="-128"/>
          <a:cs typeface="+mn-cs"/>
        </a:defRPr>
      </a:lvl3pPr>
      <a:lvl4pPr marL="2133547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4pPr>
      <a:lvl5pPr marL="2743131" indent="-304792" algn="l" defTabSz="609585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133" kern="1200">
          <a:solidFill>
            <a:schemeClr val="tx1"/>
          </a:solidFill>
          <a:latin typeface="+mn-lt"/>
          <a:ea typeface="Geneva" pitchFamily="37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3C82B146-197E-4834-B56E-8211918EC04B}" type="datetimeFigureOut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4/16/25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fld id="{02BF06B5-C3C6-4377-B49B-4524B0A4C667}" type="slidenum">
              <a:rPr lang="en-US"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prstClr val="black">
                  <a:tint val="75000"/>
                </a:prstClr>
              </a:solidFill>
              <a:latin typeface="Calibri" panose="020F0502020204030204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378490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27" r:id="rId1"/>
    <p:sldLayoutId id="2147486228" r:id="rId2"/>
    <p:sldLayoutId id="2147486229" r:id="rId3"/>
    <p:sldLayoutId id="2147486230" r:id="rId4"/>
    <p:sldLayoutId id="2147486231" r:id="rId5"/>
    <p:sldLayoutId id="2147486232" r:id="rId6"/>
    <p:sldLayoutId id="2147486233" r:id="rId7"/>
    <p:sldLayoutId id="2147486234" r:id="rId8"/>
    <p:sldLayoutId id="2147486235" r:id="rId9"/>
    <p:sldLayoutId id="2147486236" r:id="rId10"/>
    <p:sldLayoutId id="214748623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8462" y="1397000"/>
            <a:ext cx="11435077" cy="46228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8462" y="160868"/>
            <a:ext cx="11435077" cy="677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45720" tIns="46038" rIns="45720" bIns="46038" numCol="1" anchor="b" anchorCtr="0" compatLnSpc="1">
            <a:prstTxWarp prst="textNoShape">
              <a:avLst/>
            </a:prstTxWarp>
          </a:bodyPr>
          <a:lstStyle/>
          <a:p>
            <a:pPr lvl="0" fontAlgn="base">
              <a:spcAft>
                <a:spcPct val="0"/>
              </a:spcAft>
            </a:pPr>
            <a:r>
              <a:rPr lang="en-US" dirty="0"/>
              <a:t>Click to edit Master title style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52176" y="6332095"/>
            <a:ext cx="662940" cy="365125"/>
          </a:xfrm>
          <a:prstGeom prst="rect">
            <a:avLst/>
          </a:prstGeom>
        </p:spPr>
        <p:txBody>
          <a:bodyPr vert="horz" lIns="91440" tIns="0" rIns="0" bIns="0" rtlCol="0" anchor="b" anchorCtr="0"/>
          <a:lstStyle>
            <a:lvl1pPr algn="r">
              <a:defRPr lang="en-US" sz="1200" smtClean="0">
                <a:solidFill>
                  <a:schemeClr val="tx2"/>
                </a:solidFill>
              </a:defRPr>
            </a:lvl1pPr>
          </a:lstStyle>
          <a:p>
            <a:fld id="{AF1AFCDA-ABCC-4704-AB71-48FDE4F2FA4C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DFE3E71B-E4E4-41CF-A614-6050F92BAF2C}"/>
              </a:ext>
            </a:extLst>
          </p:cNvPr>
          <p:cNvCxnSpPr>
            <a:cxnSpLocks/>
          </p:cNvCxnSpPr>
          <p:nvPr userDrawn="1"/>
        </p:nvCxnSpPr>
        <p:spPr>
          <a:xfrm>
            <a:off x="355601" y="846799"/>
            <a:ext cx="11459633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2D6AFE-3081-4645-96E7-B2E4051B11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9420" y="6333200"/>
            <a:ext cx="10765425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</p:spTree>
    <p:custDataLst>
      <p:tags r:id="rId12"/>
    </p:custDataLst>
    <p:extLst>
      <p:ext uri="{BB962C8B-B14F-4D97-AF65-F5344CB8AC3E}">
        <p14:creationId xmlns:p14="http://schemas.microsoft.com/office/powerpoint/2010/main" val="1668767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239" r:id="rId1"/>
    <p:sldLayoutId id="2147486240" r:id="rId2"/>
    <p:sldLayoutId id="2147486241" r:id="rId3"/>
    <p:sldLayoutId id="2147486242" r:id="rId4"/>
    <p:sldLayoutId id="2147486243" r:id="rId5"/>
    <p:sldLayoutId id="2147486244" r:id="rId6"/>
    <p:sldLayoutId id="2147486245" r:id="rId7"/>
    <p:sldLayoutId id="2147486246" r:id="rId8"/>
    <p:sldLayoutId id="2147486247" r:id="rId9"/>
    <p:sldLayoutId id="2147486248" r:id="rId10"/>
  </p:sldLayoutIdLst>
  <p:transition spd="slow">
    <p:fade/>
  </p:transition>
  <p:hf hdr="0" dt="0"/>
  <p:txStyles>
    <p:titleStyle>
      <a:lvl1pPr algn="l" defTabSz="1219170" rtl="0" eaLnBrk="1" latinLnBrk="0" hangingPunct="1">
        <a:lnSpc>
          <a:spcPct val="90000"/>
        </a:lnSpc>
        <a:spcBef>
          <a:spcPct val="0"/>
        </a:spcBef>
        <a:buNone/>
        <a:defRPr lang="en-US" sz="32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1219170" rtl="0" eaLnBrk="1" latinLnBrk="0" hangingPunct="1">
        <a:lnSpc>
          <a:spcPct val="90000"/>
        </a:lnSpc>
        <a:spcBef>
          <a:spcPts val="800"/>
        </a:spcBef>
        <a:spcAft>
          <a:spcPts val="400"/>
        </a:spcAft>
        <a:buClr>
          <a:schemeClr val="tx2"/>
        </a:buClr>
        <a:buFont typeface="Arial" panose="020B0604020202020204" pitchFamily="34" charset="0"/>
        <a:buNone/>
        <a:defRPr sz="2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6026" indent="-256026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755885" indent="-341367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182594" indent="-268217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9304" indent="-304792" algn="l" defTabSz="1219170" rtl="0" eaLnBrk="1" latinLnBrk="0" hangingPunct="1">
        <a:lnSpc>
          <a:spcPct val="90000"/>
        </a:lnSpc>
        <a:spcBef>
          <a:spcPts val="0"/>
        </a:spcBef>
        <a:spcAft>
          <a:spcPts val="800"/>
        </a:spcAft>
        <a:buClr>
          <a:schemeClr val="tx2"/>
        </a:buClr>
        <a:buFont typeface="Arial" panose="020B0604020202020204" pitchFamily="34" charset="0"/>
        <a:buChar char="–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860">
          <p15:clr>
            <a:srgbClr val="F26B43"/>
          </p15:clr>
        </p15:guide>
        <p15:guide id="2" pos="224">
          <p15:clr>
            <a:srgbClr val="F26B43"/>
          </p15:clr>
        </p15:guide>
        <p15:guide id="3" pos="7443">
          <p15:clr>
            <a:srgbClr val="F26B43"/>
          </p15:clr>
        </p15:guide>
        <p15:guide id="4" pos="3840">
          <p15:clr>
            <a:srgbClr val="F26B43"/>
          </p15:clr>
        </p15:guide>
        <p15:guide id="5" orient="horz" pos="2160">
          <p15:clr>
            <a:srgbClr val="F26B43"/>
          </p15:clr>
        </p15:guide>
        <p15:guide id="6" orient="horz" pos="4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5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5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6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56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56.xml"/><Relationship Id="rId5" Type="http://schemas.microsoft.com/office/2007/relationships/hdphoto" Target="../media/hdphoto2.wdp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6.xml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6.xml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56.xml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56.xm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5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56.xml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33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5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5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5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5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6.xml"/></Relationships>
</file>

<file path=ppt/slides/_rels/slide42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98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8.xml"/></Relationships>
</file>

<file path=ppt/slides/_rels/slide44.xml.rels><?xml version="1.0" encoding="UTF-8" standalone="yes"?>
<Relationships xmlns="http://schemas.openxmlformats.org/package/2006/relationships"><Relationship Id="rId3" Type="http://schemas.microsoft.com/office/2007/relationships/hdphoto" Target="../media/hdphoto8.wdp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16.xml"/><Relationship Id="rId6" Type="http://schemas.microsoft.com/office/2007/relationships/hdphoto" Target="../media/hdphoto10.wdp"/><Relationship Id="rId5" Type="http://schemas.microsoft.com/office/2007/relationships/hdphoto" Target="../media/hdphoto9.wdp"/><Relationship Id="rId4" Type="http://schemas.openxmlformats.org/officeDocument/2006/relationships/image" Target="../media/image45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9.xml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12" Type="http://schemas.microsoft.com/office/2007/relationships/hdphoto" Target="../media/hdphoto11.wdp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40.xml"/><Relationship Id="rId6" Type="http://schemas.openxmlformats.org/officeDocument/2006/relationships/image" Target="../media/image49.svg"/><Relationship Id="rId11" Type="http://schemas.openxmlformats.org/officeDocument/2006/relationships/image" Target="../media/image54.png"/><Relationship Id="rId5" Type="http://schemas.openxmlformats.org/officeDocument/2006/relationships/image" Target="../media/image48.png"/><Relationship Id="rId10" Type="http://schemas.openxmlformats.org/officeDocument/2006/relationships/image" Target="../media/image53.svg"/><Relationship Id="rId4" Type="http://schemas.openxmlformats.org/officeDocument/2006/relationships/image" Target="../media/image47.svg"/><Relationship Id="rId9" Type="http://schemas.openxmlformats.org/officeDocument/2006/relationships/image" Target="../media/image52.pn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4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4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4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7.xml"/><Relationship Id="rId4" Type="http://schemas.openxmlformats.org/officeDocument/2006/relationships/image" Target="../media/image56.png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8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79.xml"/><Relationship Id="rId5" Type="http://schemas.microsoft.com/office/2007/relationships/hdphoto" Target="../media/hdphoto12.wdp"/><Relationship Id="rId4" Type="http://schemas.openxmlformats.org/officeDocument/2006/relationships/image" Target="../media/image58.png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8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50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88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92.xml"/><Relationship Id="rId6" Type="http://schemas.microsoft.com/office/2007/relationships/hdphoto" Target="../media/hdphoto14.wdp"/><Relationship Id="rId5" Type="http://schemas.openxmlformats.org/officeDocument/2006/relationships/image" Target="../media/image60.png"/><Relationship Id="rId4" Type="http://schemas.microsoft.com/office/2007/relationships/hdphoto" Target="../media/hdphoto13.wdp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8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27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169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168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80.xml"/><Relationship Id="rId4" Type="http://schemas.openxmlformats.org/officeDocument/2006/relationships/chart" Target="../charts/chart3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168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80.xml"/><Relationship Id="rId4" Type="http://schemas.openxmlformats.org/officeDocument/2006/relationships/chart" Target="../charts/chart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18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80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8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8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5A6DE57-E1AC-4B23-CDDC-22AFE15B74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6">
            <a:extLst>
              <a:ext uri="{FF2B5EF4-FFF2-40B4-BE49-F238E27FC236}">
                <a16:creationId xmlns:a16="http://schemas.microsoft.com/office/drawing/2014/main" id="{D4428C47-6352-BC82-4BEE-1438084B20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38400" y="4572765"/>
            <a:ext cx="7315200" cy="51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lIns="0" tIns="0" rIns="0" bIns="0" numCol="1">
            <a:no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Jennifer R Brown, MD, PhD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0"/>
                <a:cs typeface="Calibri" panose="020F0502020204030204" pitchFamily="34" charset="0"/>
              </a:rPr>
              <a:t>Paolo Ghia, MD, PhD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</p:txBody>
      </p:sp>
      <p:sp>
        <p:nvSpPr>
          <p:cNvPr id="7" name="Text Box 3">
            <a:extLst>
              <a:ext uri="{FF2B5EF4-FFF2-40B4-BE49-F238E27FC236}">
                <a16:creationId xmlns:a16="http://schemas.microsoft.com/office/drawing/2014/main" id="{318B0A1C-DB52-F21A-06D3-5F734956EC7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27749" y="5791200"/>
            <a:ext cx="4536503" cy="94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="b"/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ts val="36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Moderator</a:t>
            </a:r>
            <a:endParaRPr kumimoji="0" lang="en-US" altLang="x-none" sz="3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ＭＳ Ｐゴシック" charset="-128"/>
              <a:cs typeface="Calibri" panose="020F050202020403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ts val="3640"/>
              </a:lnSpc>
              <a:spcBef>
                <a:spcPct val="0"/>
              </a:spcBef>
              <a:spcAft>
                <a:spcPts val="0"/>
              </a:spcAft>
              <a:buClr>
                <a:srgbClr val="000000"/>
              </a:buClr>
              <a:buSzPct val="80000"/>
              <a:buFont typeface="Wingdings" charset="2"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Neil Love, MD</a:t>
            </a:r>
          </a:p>
        </p:txBody>
      </p:sp>
      <p:sp>
        <p:nvSpPr>
          <p:cNvPr id="9" name="Text Box 7">
            <a:extLst>
              <a:ext uri="{FF2B5EF4-FFF2-40B4-BE49-F238E27FC236}">
                <a16:creationId xmlns:a16="http://schemas.microsoft.com/office/drawing/2014/main" id="{8310B332-D38A-5014-C700-12BE9848362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7392" y="4004319"/>
            <a:ext cx="289721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x-none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charset="-128"/>
                <a:cs typeface="Calibri" panose="020F0502020204030204" pitchFamily="34" charset="0"/>
              </a:rPr>
              <a:t>Faculty </a:t>
            </a:r>
          </a:p>
        </p:txBody>
      </p:sp>
      <p:sp>
        <p:nvSpPr>
          <p:cNvPr id="4" name="Rectangle 4">
            <a:extLst>
              <a:ext uri="{FF2B5EF4-FFF2-40B4-BE49-F238E27FC236}">
                <a16:creationId xmlns:a16="http://schemas.microsoft.com/office/drawing/2014/main" id="{0A839861-45B8-6132-A933-BA0CE71578B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0" y="229663"/>
            <a:ext cx="12192000" cy="1143000"/>
          </a:xfrm>
        </p:spPr>
        <p:txBody>
          <a:bodyPr wrap="square" anchor="ctr">
            <a:noAutofit/>
          </a:bodyPr>
          <a:lstStyle/>
          <a:p>
            <a:pPr>
              <a:lnSpc>
                <a:spcPts val="3800"/>
              </a:lnSpc>
              <a:spcBef>
                <a:spcPts val="2400"/>
              </a:spcBef>
            </a:pPr>
            <a:r>
              <a:rPr lang="en-US" sz="4200" dirty="0">
                <a:solidFill>
                  <a:srgbClr val="0331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Year in Review: </a:t>
            </a:r>
            <a:endParaRPr lang="en-US" sz="4200" dirty="0">
              <a:solidFill>
                <a:srgbClr val="00206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" name="Rectangle 4">
            <a:extLst>
              <a:ext uri="{FF2B5EF4-FFF2-40B4-BE49-F238E27FC236}">
                <a16:creationId xmlns:a16="http://schemas.microsoft.com/office/drawing/2014/main" id="{7B44CC76-A8EB-C852-AD54-DCD98417577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2577096"/>
            <a:ext cx="1219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Tuesday, March 25, 2025</a:t>
            </a:r>
            <a:b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</a:b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5:00 PM – 6:00 PM ET</a:t>
            </a:r>
            <a:endParaRPr kumimoji="0" lang="en-US" sz="32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3" name="Rectangle 4">
            <a:extLst>
              <a:ext uri="{FF2B5EF4-FFF2-40B4-BE49-F238E27FC236}">
                <a16:creationId xmlns:a16="http://schemas.microsoft.com/office/drawing/2014/main" id="{ACCD1663-A3B0-2093-A681-9BEA808C9D6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760012"/>
            <a:ext cx="12192000" cy="4885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ts val="4700"/>
              </a:lnSpc>
              <a:spcBef>
                <a:spcPts val="12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2600" b="0" i="1" u="none" strike="noStrike" kern="1200" cap="none" spc="0" normalizeH="0" baseline="0" noProof="0" dirty="0">
                <a:ln>
                  <a:noFill/>
                </a:ln>
                <a:solidFill>
                  <a:srgbClr val="015593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 CME/MOC-Accredited Live Webinar</a:t>
            </a:r>
            <a:endParaRPr kumimoji="0" lang="en-US" sz="2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 pitchFamily="34" charset="0"/>
              <a:ea typeface="MS PGothic" pitchFamily="34" charset="-128"/>
              <a:cs typeface="Calibri" panose="020F050202020403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63611582-4351-AD2F-7152-3BD2A2C3129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0" y="1076471"/>
            <a:ext cx="12192000" cy="6465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pPr marL="0" marR="0" lvl="0" indent="0" algn="ctr" defTabSz="412750" rtl="0" eaLnBrk="0" fontAlgn="base" latinLnBrk="0" hangingPunct="0">
              <a:lnSpc>
                <a:spcPts val="3800"/>
              </a:lnSpc>
              <a:spcBef>
                <a:spcPts val="24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None/>
              <a:tabLst/>
              <a:defRPr/>
            </a:pPr>
            <a:r>
              <a:rPr kumimoji="0" lang="en-US" sz="4200" b="1" i="0" u="none" strike="noStrike" kern="1200" cap="none" spc="0" normalizeH="0" baseline="0" noProof="0" dirty="0">
                <a:ln>
                  <a:noFill/>
                </a:ln>
                <a:solidFill>
                  <a:srgbClr val="0331FF"/>
                </a:solidFill>
                <a:effectLst/>
                <a:uLnTx/>
                <a:uFillTx/>
                <a:latin typeface="Calibri" panose="020F0502020204030204" pitchFamily="34" charset="0"/>
                <a:ea typeface="MS PGothic" pitchFamily="34" charset="-128"/>
                <a:cs typeface="Calibri" panose="020F0502020204030204" pitchFamily="34" charset="0"/>
              </a:rPr>
              <a:t>Management of Chronic Lymphocytic Leukemi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9341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934892-D0CF-465A-AC35-9065B08CEC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C33DC25-6EA9-6648-798E-570E2401C98A}"/>
              </a:ext>
            </a:extLst>
          </p:cNvPr>
          <p:cNvSpPr txBox="1"/>
          <p:nvPr/>
        </p:nvSpPr>
        <p:spPr>
          <a:xfrm>
            <a:off x="0" y="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91B117D-1785-C2AF-75BB-E79046646E4E}"/>
              </a:ext>
            </a:extLst>
          </p:cNvPr>
          <p:cNvSpPr txBox="1"/>
          <p:nvPr/>
        </p:nvSpPr>
        <p:spPr>
          <a:xfrm>
            <a:off x="763786" y="908720"/>
            <a:ext cx="10876830" cy="5893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>
              <a:spcBef>
                <a:spcPts val="1800"/>
              </a:spcBef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nnifer R Brown, MD, PhD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own JR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xed-duration acalabrutinib combinations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treated chronic lymphocytic leukemia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Engl J Med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February 20;392(8):748-6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vids MS et al. Primary endpoint evaluation of a multicenter, phase 2 study of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,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AVO)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a population of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viously untreated patients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 CLL enriched for high-risk disease. ASH 2024;Abstract 1865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ürstenau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,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nd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lapsed/refractory CLL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2000" b="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l efficacy and ctDNA analysis of the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LL2-BAAG trial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July 18;144(3):272-8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 S et al. Combination of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+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or treatment-naïve (TN) CLL/SLL with del(17p) and/or TP53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liminary results from SEQUOIA arm D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EHA 2024;Abstract S160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oumerai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D et al.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onro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nd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s frontline treatment for CLL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monstrates high MRD clearance rates with good tolerability: Data from an ongoing phase 1/1b study BGB-11417-101. ASH 2024;Abstract 1012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harman JP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UIN CLL-321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Randomized phase III trial of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ersus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delalis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lus rituximab (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delaR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) or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ndamustine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lus rituximab (BR)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BTK inhibitor pretreated chronic lymphocytic leukemia/small lymphocytic lymphoma. ASH 2024;Abstract 886.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2000" b="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69176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7BE4B3C-0AD5-BA6B-95C0-C68A6E4979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3A2B1D5-F976-7931-279A-3B08E4E5A926}"/>
              </a:ext>
            </a:extLst>
          </p:cNvPr>
          <p:cNvSpPr txBox="1"/>
          <p:nvPr/>
        </p:nvSpPr>
        <p:spPr>
          <a:xfrm>
            <a:off x="0" y="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7A44804-C981-FCFF-F9DA-06006112BD25}"/>
              </a:ext>
            </a:extLst>
          </p:cNvPr>
          <p:cNvSpPr txBox="1"/>
          <p:nvPr/>
        </p:nvSpPr>
        <p:spPr>
          <a:xfrm>
            <a:off x="407368" y="908720"/>
            <a:ext cx="11305256" cy="581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>
              <a:spcBef>
                <a:spcPts val="1800"/>
              </a:spcBef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ennifer R Brown, MD, PhD (continued)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oeker LE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xed-duration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lus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with or without rituximab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relapsed/refractory CLL: The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hase 1b BRUIN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rial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September 26;144(13):1374-86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erda WG et al.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 highly selective, non-covalent (reversible) BTK inhibitor in patients with B-cell malignancies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nalysis of the Richter transformation subgroup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rom the </a:t>
            </a: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ulticentre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pen-label, phase 1/2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UIN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tudy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cet </a:t>
            </a:r>
            <a:r>
              <a:rPr lang="en-US" sz="2000" b="0" i="1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ematol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September;11(9):e682-9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ain N et al. Combined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nd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s first-line treatment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f patients with chronic lymphocytic leukemia (CLL). ASH 2024;Abstract 1011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ddiqi T et al.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cabtagene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raleucel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cel)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(pts) with relapsed or refractory (R/R) chronic lymphocytic leukemia (CLL)/small lymphocytic lymphoma (SLL)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dated follow-up of TRANSCEND CLL 004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4633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erda WG et al.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cabtagene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raleucel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cel) combined with ibrutinib (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br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)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or patients (pts) with relapsed or refractory (R/R) chronic lymphocytic leukemia (CLL)/small lymphocytic lymphoma (SLL)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imary results from the open-label, phase 1/2 TRANSCEND CLL 004 study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887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nilov A et al.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pcoritama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onotherapy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(pts) with relapsed or refractory (R/R) chronic lymphocytic leukemia (CLL): Results from CLL expansion and optimization cohorts of </a:t>
            </a:r>
            <a:b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PCORE CLL-1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883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9043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291B2-C67C-B15C-C94F-947189488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EE229-4FF1-2D17-3596-161470B91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800" dirty="0"/>
            </a:br>
            <a:r>
              <a:rPr lang="en-US" dirty="0"/>
              <a:t>Year in Review: Management of </a:t>
            </a:r>
            <a:br>
              <a:rPr lang="en-US" dirty="0"/>
            </a:br>
            <a:r>
              <a:rPr lang="en-US" dirty="0"/>
              <a:t>Chronic Lymphocytic Leukemia (CLL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006ADE-ED6A-30F3-F51E-AE5C658B0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772816"/>
            <a:ext cx="10152698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LL Experience — 2000 to 2025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Therapy Options with Covalent Bruton Tyrosine Kinase (BTK) Inhibitor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of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Treatment of CLL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dirty="0">
                <a:solidFill>
                  <a:schemeClr val="tx1"/>
                </a:solidFill>
              </a:rPr>
              <a:t>AMPLIFY Trial and Other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BTK Inhibitor and Bcl-2 Inhibitor Combination Strateg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4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covalent BTK Inhibitor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rtobrutinib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 T-Cell Therapy; Novel Agents</a:t>
            </a:r>
          </a:p>
        </p:txBody>
      </p:sp>
    </p:spTree>
    <p:extLst>
      <p:ext uri="{BB962C8B-B14F-4D97-AF65-F5344CB8AC3E}">
        <p14:creationId xmlns:p14="http://schemas.microsoft.com/office/powerpoint/2010/main" val="1771080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9291B2-C67C-B15C-C94F-9471894884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1D4BD7B-09F2-F496-DF7F-0FD1BEB88E84}"/>
              </a:ext>
            </a:extLst>
          </p:cNvPr>
          <p:cNvSpPr/>
          <p:nvPr/>
        </p:nvSpPr>
        <p:spPr bwMode="auto">
          <a:xfrm>
            <a:off x="767408" y="1628800"/>
            <a:ext cx="10225136" cy="648072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AEE229-4FF1-2D17-3596-161470B915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800" dirty="0"/>
            </a:br>
            <a:r>
              <a:rPr lang="en-US" dirty="0"/>
              <a:t>Year in Review: Management of </a:t>
            </a:r>
            <a:br>
              <a:rPr lang="en-US" dirty="0"/>
            </a:br>
            <a:r>
              <a:rPr lang="en-US" dirty="0"/>
              <a:t>Chronic Lymphocytic Leukemia (CLL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F006ADE-ED6A-30F3-F51E-AE5C658B085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772816"/>
            <a:ext cx="10152698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The CLL Experience — 2000 to 2025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Therapy Options with Covalent Bruton Tyrosine Kinase (BTK) Inhibitor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of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Treatment of CLL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dirty="0">
                <a:solidFill>
                  <a:schemeClr val="tx1"/>
                </a:solidFill>
              </a:rPr>
              <a:t>AMPLIFY Trial and Other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BTK Inhibitor and Bcl-2 Inhibitor Combination Strateg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4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covalent BTK Inhibitor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rtobrutinib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 T-Cell Therapy; Novel Agents</a:t>
            </a:r>
          </a:p>
        </p:txBody>
      </p:sp>
    </p:spTree>
    <p:extLst>
      <p:ext uri="{BB962C8B-B14F-4D97-AF65-F5344CB8AC3E}">
        <p14:creationId xmlns:p14="http://schemas.microsoft.com/office/powerpoint/2010/main" val="2059931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64E973-7FF6-3A5E-3EBF-C3C3ECB41E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157BCF4A-0EEF-692E-378B-57564230BEA0}"/>
              </a:ext>
            </a:extLst>
          </p:cNvPr>
          <p:cNvSpPr txBox="1"/>
          <p:nvPr/>
        </p:nvSpPr>
        <p:spPr>
          <a:xfrm>
            <a:off x="0" y="404664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he CLL Experience: 2000 to 2025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2DB77F-7B8A-E300-3720-74779D303B91}"/>
              </a:ext>
            </a:extLst>
          </p:cNvPr>
          <p:cNvSpPr txBox="1"/>
          <p:nvPr/>
        </p:nvSpPr>
        <p:spPr>
          <a:xfrm>
            <a:off x="839416" y="1772816"/>
            <a:ext cx="10876830" cy="37437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5613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00-2013: Rituximab/BR/FCR</a:t>
            </a:r>
          </a:p>
          <a:p>
            <a:pPr marL="285750" marR="0" lvl="0" indent="-285750" algn="l" defTabSz="455613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13: Ibrutinib</a:t>
            </a:r>
          </a:p>
          <a:p>
            <a:pPr marL="285750" marR="0" lvl="0" indent="-285750" algn="l" defTabSz="455613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b="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17: Acalabrutinib</a:t>
            </a:r>
          </a:p>
          <a:p>
            <a:pPr marL="285750" marR="0" lvl="0" indent="-285750" algn="l" defTabSz="455613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b="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0: COVID-19 pandemic</a:t>
            </a:r>
          </a:p>
          <a:p>
            <a:pPr marL="285750" marR="0" lvl="0" indent="-285750" algn="l" defTabSz="455613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3: Zanubrutinib, </a:t>
            </a:r>
            <a:r>
              <a:rPr kumimoji="0" lang="en-US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marL="285750" marR="0" lvl="0" indent="-285750" algn="l" defTabSz="455613" rtl="0" eaLnBrk="1" fontAlgn="base" latinLnBrk="0" hangingPunct="1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400" b="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: </a:t>
            </a:r>
            <a:r>
              <a:rPr lang="en-US" sz="2400" b="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cabtagene</a:t>
            </a:r>
            <a:r>
              <a:rPr lang="en-US" sz="2400" b="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400" b="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raleucel</a:t>
            </a:r>
            <a:r>
              <a:rPr lang="en-US" sz="2400" b="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MPLIFY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70639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AA8E5DD-CBF5-C6FD-5D3F-D3B7BAA3F18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807CEE7-4049-1A80-1BFD-86C7BE3ACC17}"/>
              </a:ext>
            </a:extLst>
          </p:cNvPr>
          <p:cNvSpPr/>
          <p:nvPr/>
        </p:nvSpPr>
        <p:spPr bwMode="auto">
          <a:xfrm>
            <a:off x="767408" y="2276872"/>
            <a:ext cx="10225136" cy="1008112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4AEE14B-141E-156F-F3C3-CF17DA7F96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800" dirty="0"/>
            </a:br>
            <a:r>
              <a:rPr lang="en-US" dirty="0"/>
              <a:t>Year in Review: Management of </a:t>
            </a:r>
            <a:br>
              <a:rPr lang="en-US" dirty="0"/>
            </a:br>
            <a:r>
              <a:rPr lang="en-US" dirty="0"/>
              <a:t>Chronic Lymphocytic Leukemia (CLL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74021E0-DA88-61BC-134E-C3D164E7AE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772816"/>
            <a:ext cx="10152698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LL Experience — 2000 to 2025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Current Therapy Options with Covalent Bruton Tyrosine Kinase (BTK) Inhibitor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of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Treatment of CLL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dirty="0">
                <a:solidFill>
                  <a:schemeClr val="tx1"/>
                </a:solidFill>
              </a:rPr>
              <a:t>AMPLIFY Trial and Other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BTK Inhibitor and Bcl-2 Inhibitor Combination Strateg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4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covalent BTK Inhibitor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rtobrutinib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 T-Cell Therapy; Novel Agents</a:t>
            </a:r>
          </a:p>
        </p:txBody>
      </p:sp>
    </p:spTree>
    <p:extLst>
      <p:ext uri="{BB962C8B-B14F-4D97-AF65-F5344CB8AC3E}">
        <p14:creationId xmlns:p14="http://schemas.microsoft.com/office/powerpoint/2010/main" val="3689033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1A814D-8D06-CCB1-3D38-22FF5F036C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E2CFCD15-7C30-4308-A819-FEA7714215A4}"/>
              </a:ext>
            </a:extLst>
          </p:cNvPr>
          <p:cNvSpPr txBox="1"/>
          <p:nvPr/>
        </p:nvSpPr>
        <p:spPr>
          <a:xfrm>
            <a:off x="0" y="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urrent Therapy Options with Covalent BTK Inhibitor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3B29FF8-B09E-2069-20D8-984BA1140C02}"/>
              </a:ext>
            </a:extLst>
          </p:cNvPr>
          <p:cNvSpPr txBox="1"/>
          <p:nvPr/>
        </p:nvSpPr>
        <p:spPr>
          <a:xfrm>
            <a:off x="763786" y="692696"/>
            <a:ext cx="10876830" cy="57861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gerbein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brutini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early-stage chronic lymphocytic leukemia: The randomized, placebo-controlled, double-blind,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hase III CLL12 tri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 Clin Onco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February;43(4):392-40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vids MS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-based regimen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frontline or relapsed/refractory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igher-risk CL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oled analysis of 5 clinical trial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Adv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July 9;8(13):3345-5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hia P et al. Impact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 treatment by line of therapy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with chronic lymphocytic leukemia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oled analysis from ELEVATE-TN, ELEVATE-RR, and ASCEN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EHA 2024;Abstract P703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mon F et al. Efficacy and safety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reatment 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ry old (≥80y) and/or frail patien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 chronic lymphocytic leukemia (CLL) – Primary endpoint analysis of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hase II CLL-Frail tri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4618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hadman M et al. Sustained superiority of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s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ndamustin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+ rituximab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reatment-naiv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chronic lymphocytic leukemia/small lymphocytic lymphoma (TN CLL)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-year follow-up of cohort 1 from the SEQUOIA study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3249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own JR et al. Sustained benefit of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s ibrutinib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wit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/R CLL/SLL: Final comparative analysis of ALPIN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2024 December 26;144(26):2706-17.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ozarac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S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TKi-induced cardiovascular toxicity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CLL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isk mitigation and management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strategies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Rev</a:t>
            </a:r>
            <a:r>
              <a:rPr lang="en-US" sz="2000" b="0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March;70:101268.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19755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09D1C02-8E0E-2BA4-397E-2E5179EB11C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AB97AC4A-539B-0AFD-3C21-B3082E77DA3D}"/>
              </a:ext>
            </a:extLst>
          </p:cNvPr>
          <p:cNvGrpSpPr/>
          <p:nvPr/>
        </p:nvGrpSpPr>
        <p:grpSpPr>
          <a:xfrm>
            <a:off x="683781" y="1885294"/>
            <a:ext cx="10824438" cy="3087411"/>
            <a:chOff x="683781" y="1885294"/>
            <a:chExt cx="10824438" cy="3087411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821CF778-2D50-F695-E26C-E56F9A4033F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t="13820"/>
            <a:stretch/>
          </p:blipFill>
          <p:spPr>
            <a:xfrm>
              <a:off x="683781" y="1885294"/>
              <a:ext cx="10815975" cy="3087411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B154BF29-5E87-55A3-5A54-66794E20D121}"/>
                </a:ext>
              </a:extLst>
            </p:cNvPr>
            <p:cNvSpPr txBox="1"/>
            <p:nvPr/>
          </p:nvSpPr>
          <p:spPr>
            <a:xfrm>
              <a:off x="8112224" y="4695706"/>
              <a:ext cx="33959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5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72" charset="0"/>
                  <a:ea typeface="MS PGothic" charset="0"/>
                </a:rPr>
                <a:t>J Clin Oncol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72" charset="0"/>
                  <a:ea typeface="MS PGothic" charset="0"/>
                </a:rPr>
                <a:t>2025 February;43(4):392-402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518617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8374939-0351-6313-03F2-AA1122098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482DA6B-B1CB-E594-3B09-5BEC30867825}"/>
              </a:ext>
            </a:extLst>
          </p:cNvPr>
          <p:cNvSpPr txBox="1"/>
          <p:nvPr/>
        </p:nvSpPr>
        <p:spPr>
          <a:xfrm>
            <a:off x="0" y="6492487"/>
            <a:ext cx="559194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Langerbeins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P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 Clin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February;43(4):392-402.</a:t>
            </a:r>
            <a:endParaRPr kumimoji="0" lang="en-US" sz="15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DDD83D-D283-E3FD-9424-10A82880D0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62935"/>
            <a:ext cx="10358967" cy="1143000"/>
          </a:xfrm>
        </p:spPr>
        <p:txBody>
          <a:bodyPr/>
          <a:lstStyle/>
          <a:p>
            <a:pPr algn="l"/>
            <a:r>
              <a:rPr lang="en-US" dirty="0"/>
              <a:t>Phase III CLL12 Study: Ibrutinib versus Placebo for Early-Stage Chronic Lymphocytic Leukemia (CLL)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1D065345-D8C3-D563-63C7-56878BAE16E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431" t="6873" r="50991"/>
          <a:stretch/>
        </p:blipFill>
        <p:spPr>
          <a:xfrm>
            <a:off x="177403" y="1699007"/>
            <a:ext cx="5832648" cy="3602201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99CCE97-3054-D593-3FD1-9A3CA7CF69D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4898" t="9747"/>
          <a:stretch/>
        </p:blipFill>
        <p:spPr>
          <a:xfrm>
            <a:off x="6181951" y="1717762"/>
            <a:ext cx="5893462" cy="356469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E0A1919F-7C70-334D-2D2B-C66B0EA7927E}"/>
              </a:ext>
            </a:extLst>
          </p:cNvPr>
          <p:cNvSpPr txBox="1"/>
          <p:nvPr/>
        </p:nvSpPr>
        <p:spPr>
          <a:xfrm>
            <a:off x="2124236" y="1308165"/>
            <a:ext cx="224357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5-year O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618C6B-2E63-93C4-B917-6BAAD155D096}"/>
              </a:ext>
            </a:extLst>
          </p:cNvPr>
          <p:cNvSpPr txBox="1"/>
          <p:nvPr/>
        </p:nvSpPr>
        <p:spPr>
          <a:xfrm>
            <a:off x="7824193" y="1044457"/>
            <a:ext cx="293649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10-year OS</a:t>
            </a:r>
          </a:p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(from CLL diagnosis)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E97014C1-C038-208D-873E-870CEFBABC69}"/>
              </a:ext>
            </a:extLst>
          </p:cNvPr>
          <p:cNvSpPr txBox="1"/>
          <p:nvPr/>
        </p:nvSpPr>
        <p:spPr>
          <a:xfrm>
            <a:off x="1127448" y="2514878"/>
            <a:ext cx="375574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5-year survival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Ibrutinib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93.3% (89.3 – 97.3)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Placeb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93.6% (89.5 – 97.7)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Watch and wai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97.9% (95.6 – 100) 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P = 0.562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F116D92-171A-8699-52CC-E495612BF4D2}"/>
              </a:ext>
            </a:extLst>
          </p:cNvPr>
          <p:cNvSpPr txBox="1"/>
          <p:nvPr/>
        </p:nvSpPr>
        <p:spPr>
          <a:xfrm>
            <a:off x="7104112" y="2622599"/>
            <a:ext cx="375574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10-year survival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Ibrutinib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89.8% (83.3 – 96.3)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Placebo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86.5% (78.7 – 94.3)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Watch and wait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95.3% (91.1 – 99.4)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2D0CDC-3F5D-089B-D0D4-B7D819204B37}"/>
              </a:ext>
            </a:extLst>
          </p:cNvPr>
          <p:cNvSpPr txBox="1"/>
          <p:nvPr/>
        </p:nvSpPr>
        <p:spPr>
          <a:xfrm>
            <a:off x="162046" y="5358168"/>
            <a:ext cx="559194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OS = overall survival</a:t>
            </a:r>
          </a:p>
        </p:txBody>
      </p:sp>
    </p:spTree>
    <p:extLst>
      <p:ext uri="{BB962C8B-B14F-4D97-AF65-F5344CB8AC3E}">
        <p14:creationId xmlns:p14="http://schemas.microsoft.com/office/powerpoint/2010/main" val="1409383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7DAB5B-7EA9-8FED-7F0B-0A51C600F85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61EA973-73D0-A1CD-0C66-E71B6B3A0374}"/>
              </a:ext>
            </a:extLst>
          </p:cNvPr>
          <p:cNvGrpSpPr/>
          <p:nvPr/>
        </p:nvGrpSpPr>
        <p:grpSpPr>
          <a:xfrm>
            <a:off x="857724" y="1736812"/>
            <a:ext cx="10476551" cy="3384376"/>
            <a:chOff x="857724" y="1736812"/>
            <a:chExt cx="10476551" cy="338437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96FC3F6-4B2C-1675-5659-48F81CCDDF9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7724" y="1736812"/>
              <a:ext cx="10476551" cy="3384376"/>
            </a:xfrm>
            <a:prstGeom prst="rect">
              <a:avLst/>
            </a:prstGeom>
          </p:spPr>
        </p:pic>
        <p:sp>
          <p:nvSpPr>
            <p:cNvPr id="2" name="TextBox 1">
              <a:extLst>
                <a:ext uri="{FF2B5EF4-FFF2-40B4-BE49-F238E27FC236}">
                  <a16:creationId xmlns:a16="http://schemas.microsoft.com/office/drawing/2014/main" id="{92F69ABC-3AFB-5E33-656A-801125E6E315}"/>
                </a:ext>
              </a:extLst>
            </p:cNvPr>
            <p:cNvSpPr txBox="1"/>
            <p:nvPr/>
          </p:nvSpPr>
          <p:spPr>
            <a:xfrm>
              <a:off x="8328248" y="4836962"/>
              <a:ext cx="3006027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561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72" charset="0"/>
                  <a:ea typeface="MS PGothic" charset="0"/>
                </a:rPr>
                <a:t>Blood Adv 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itchFamily="-72" charset="0"/>
                  <a:ea typeface="MS PGothic" charset="0"/>
                </a:rPr>
                <a:t>2024 July 9;8(13):3345-59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62382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7EEC6-2AD0-B74B-B10D-32D4E844B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2286" y="20184"/>
            <a:ext cx="10358967" cy="1143000"/>
          </a:xfrm>
        </p:spPr>
        <p:txBody>
          <a:bodyPr/>
          <a:lstStyle/>
          <a:p>
            <a:r>
              <a:rPr lang="en-US" dirty="0"/>
              <a:t>Faculty</a:t>
            </a:r>
          </a:p>
        </p:txBody>
      </p:sp>
      <p:sp>
        <p:nvSpPr>
          <p:cNvPr id="13" name="Text Box 7">
            <a:extLst>
              <a:ext uri="{FF2B5EF4-FFF2-40B4-BE49-F238E27FC236}">
                <a16:creationId xmlns:a16="http://schemas.microsoft.com/office/drawing/2014/main" id="{2BF03784-2B37-1341-BDAF-39A4D74AEF2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1543" y="1556792"/>
            <a:ext cx="498162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Jennifer R Brown, MD, Ph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irector, CLL Center and Institute Physician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ana-Farber Cancer Institut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Worthington and Margaret Collette Professor of Medicine in the Field of Hematologic Oncology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Harvard Medical School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Boston, Massachusett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4FFC87A-5750-8C4E-95CF-DCA3500FDB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376" y="1556792"/>
            <a:ext cx="1443490" cy="1443490"/>
          </a:xfrm>
          <a:prstGeom prst="rect">
            <a:avLst/>
          </a:prstGeom>
        </p:spPr>
      </p:pic>
      <p:sp>
        <p:nvSpPr>
          <p:cNvPr id="11" name="Text Box 7">
            <a:extLst>
              <a:ext uri="{FF2B5EF4-FFF2-40B4-BE49-F238E27FC236}">
                <a16:creationId xmlns:a16="http://schemas.microsoft.com/office/drawing/2014/main" id="{13693E70-1647-5C4F-BD36-3484B2ADB06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192344" y="1556792"/>
            <a:ext cx="2252531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3333CC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MODERATOR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Neil Love, MD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</a:b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Research To Practic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Miami, Florida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9CADB06-74CE-9049-9CB2-25E56A6D07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680176" y="1556792"/>
            <a:ext cx="1443490" cy="1443490"/>
          </a:xfrm>
          <a:prstGeom prst="rect">
            <a:avLst/>
          </a:prstGeom>
        </p:spPr>
      </p:pic>
      <p:sp>
        <p:nvSpPr>
          <p:cNvPr id="5" name="Text Box 7">
            <a:extLst>
              <a:ext uri="{FF2B5EF4-FFF2-40B4-BE49-F238E27FC236}">
                <a16:creationId xmlns:a16="http://schemas.microsoft.com/office/drawing/2014/main" id="{71965E37-3B17-CF2D-B1CA-57B44065B40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1543" y="4255925"/>
            <a:ext cx="498162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8580" tIns="0" rIns="0" bIns="0">
            <a:prstTxWarp prst="textNoShape">
              <a:avLst/>
            </a:prstTxWarp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aolo Ghia, MD, PhD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Professor of Medical Oncology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Università Vita-Salute San Raffael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Director, CLL Strategic Program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IRCCS Ospedale San Raffaele</a:t>
            </a:r>
          </a:p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MS PGothic" charset="0"/>
              </a:rPr>
              <a:t>Milano, Italy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90EFE1D-0498-AC88-C190-336AC8BEFD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79376" y="4255925"/>
            <a:ext cx="1443490" cy="14434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4593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94ED27-ECA4-EC49-824C-177CA4DC43D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17F45C7-CE08-EDF4-0BF0-D0909ED8385A}"/>
              </a:ext>
            </a:extLst>
          </p:cNvPr>
          <p:cNvSpPr txBox="1"/>
          <p:nvPr/>
        </p:nvSpPr>
        <p:spPr>
          <a:xfrm>
            <a:off x="0" y="6492487"/>
            <a:ext cx="537592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avids MS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lood Adv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2024 July 9;8(13):3345-59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3DF10EE-81FA-BC9E-FCD0-8B4F6B50B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134285"/>
            <a:ext cx="11017224" cy="1143000"/>
          </a:xfrm>
        </p:spPr>
        <p:txBody>
          <a:bodyPr/>
          <a:lstStyle/>
          <a:p>
            <a:pPr algn="l"/>
            <a:r>
              <a:rPr lang="en-US" dirty="0"/>
              <a:t>Pooled Analysis of 5 Clinical Trials of Acalabrutinib: Survival by Genetic Features in Patients with Treatment-Naïve Disease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6C849162-8857-F233-6C12-63D91976611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9567"/>
          <a:stretch/>
        </p:blipFill>
        <p:spPr bwMode="auto">
          <a:xfrm>
            <a:off x="119336" y="1278822"/>
            <a:ext cx="5902340" cy="4814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7DC71D0E-F582-C29C-230E-029B657AC8D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9567"/>
          <a:stretch/>
        </p:blipFill>
        <p:spPr bwMode="auto">
          <a:xfrm>
            <a:off x="6289658" y="1278822"/>
            <a:ext cx="5902342" cy="4814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C11FE74-4EAF-5EDD-BC57-ED4F4E2F4F98}"/>
              </a:ext>
            </a:extLst>
          </p:cNvPr>
          <p:cNvSpPr txBox="1"/>
          <p:nvPr/>
        </p:nvSpPr>
        <p:spPr>
          <a:xfrm>
            <a:off x="3935760" y="1196752"/>
            <a:ext cx="612457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cumin-pro"/>
                <a:ea typeface="MS PGothic" charset="0"/>
              </a:rPr>
              <a:t>del(17p)/</a:t>
            </a:r>
            <a:r>
              <a:rPr kumimoji="0" lang="en-GB" sz="1800" b="1" i="1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cumin-pro"/>
                <a:ea typeface="MS PGothic" charset="0"/>
              </a:rPr>
              <a:t>TP53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cumin-pro"/>
                <a:ea typeface="MS PGothic" charset="0"/>
              </a:rPr>
              <a:t>m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839295-71DE-5639-6550-F3CA00E64161}"/>
              </a:ext>
            </a:extLst>
          </p:cNvPr>
          <p:cNvSpPr txBox="1"/>
          <p:nvPr/>
        </p:nvSpPr>
        <p:spPr>
          <a:xfrm>
            <a:off x="4655840" y="3707740"/>
            <a:ext cx="10081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cumin-pro"/>
                <a:ea typeface="MS PGothic" charset="0"/>
              </a:rPr>
              <a:t>uIGHV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7B37468-4A5E-BADE-1191-7B805C286A6D}"/>
              </a:ext>
            </a:extLst>
          </p:cNvPr>
          <p:cNvSpPr txBox="1"/>
          <p:nvPr/>
        </p:nvSpPr>
        <p:spPr>
          <a:xfrm>
            <a:off x="9264352" y="3563724"/>
            <a:ext cx="292764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cumin-pro"/>
                <a:ea typeface="MS PGothic" charset="0"/>
              </a:rPr>
              <a:t>CK without del(17p)/TP53m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8FE3FCA-4485-D820-8CA1-2918003EB434}"/>
              </a:ext>
            </a:extLst>
          </p:cNvPr>
          <p:cNvSpPr txBox="1"/>
          <p:nvPr/>
        </p:nvSpPr>
        <p:spPr>
          <a:xfrm>
            <a:off x="10328384" y="1196752"/>
            <a:ext cx="186382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acumin-pro"/>
                <a:ea typeface="MS PGothic" charset="0"/>
              </a:rPr>
              <a:t>CK overall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83491F-C61E-BB2E-F914-6FCCE964310A}"/>
              </a:ext>
            </a:extLst>
          </p:cNvPr>
          <p:cNvSpPr txBox="1"/>
          <p:nvPr/>
        </p:nvSpPr>
        <p:spPr>
          <a:xfrm>
            <a:off x="6644024" y="6500771"/>
            <a:ext cx="29083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+mn-lt"/>
              </a:rPr>
              <a:t>Courtesy of Paolo Ghia, MD, PhD</a:t>
            </a:r>
          </a:p>
        </p:txBody>
      </p:sp>
    </p:spTree>
    <p:extLst>
      <p:ext uri="{BB962C8B-B14F-4D97-AF65-F5344CB8AC3E}">
        <p14:creationId xmlns:p14="http://schemas.microsoft.com/office/powerpoint/2010/main" val="257708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7BF200-1F3E-0A45-C3EE-3DE9755FC10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662F305-C518-9412-7911-50AAAAF1F05E}"/>
              </a:ext>
            </a:extLst>
          </p:cNvPr>
          <p:cNvSpPr txBox="1"/>
          <p:nvPr/>
        </p:nvSpPr>
        <p:spPr>
          <a:xfrm>
            <a:off x="0" y="6492487"/>
            <a:ext cx="537592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Davids MS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lood Adv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2024 July 9;8(13):3345-59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02B1C55-E23B-160E-BD09-2420A0925C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7408" y="116632"/>
            <a:ext cx="11161240" cy="1143000"/>
          </a:xfrm>
        </p:spPr>
        <p:txBody>
          <a:bodyPr/>
          <a:lstStyle/>
          <a:p>
            <a:pPr algn="l"/>
            <a:r>
              <a:rPr lang="en-US" dirty="0"/>
              <a:t>Pooled Analysis of 5 Clinical Trials of Acalabrutinib: Survival by Genetic Features in Patients with Relapsed/Refractory Diseas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893E163-43CE-DD44-2179-491A79DED09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559"/>
          <a:stretch/>
        </p:blipFill>
        <p:spPr>
          <a:xfrm>
            <a:off x="1745043" y="1196752"/>
            <a:ext cx="8701912" cy="241210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2E9E41B-2D37-D6F1-5308-A423749EB8D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559"/>
          <a:stretch/>
        </p:blipFill>
        <p:spPr>
          <a:xfrm>
            <a:off x="1745043" y="3717032"/>
            <a:ext cx="8701913" cy="2284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569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57A10B2-A9F1-0EB7-CBB5-F55E9D96B60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B8338C4-FC3C-E755-2D4A-6E3517B934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8308" y="1052736"/>
            <a:ext cx="9795383" cy="453650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FADD771-02FA-EC9F-4299-A5DAB0CFEBD6}"/>
              </a:ext>
            </a:extLst>
          </p:cNvPr>
          <p:cNvSpPr txBox="1"/>
          <p:nvPr/>
        </p:nvSpPr>
        <p:spPr>
          <a:xfrm>
            <a:off x="4799856" y="5250686"/>
            <a:ext cx="611436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ASH 2024</a:t>
            </a:r>
          </a:p>
        </p:txBody>
      </p:sp>
    </p:spTree>
    <p:extLst>
      <p:ext uri="{BB962C8B-B14F-4D97-AF65-F5344CB8AC3E}">
        <p14:creationId xmlns:p14="http://schemas.microsoft.com/office/powerpoint/2010/main" val="5863971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1074EE9-5B9E-A578-E885-8190E1F313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547A24F-5F8B-E722-6A65-DE41C85D726C}"/>
              </a:ext>
            </a:extLst>
          </p:cNvPr>
          <p:cNvSpPr txBox="1"/>
          <p:nvPr/>
        </p:nvSpPr>
        <p:spPr>
          <a:xfrm>
            <a:off x="0" y="6492487"/>
            <a:ext cx="42484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imon F et al. ASH 2024;Abstract 4618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C9746FD-EF4E-9283-ACAD-4646D44142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131589"/>
            <a:ext cx="10292149" cy="1143000"/>
          </a:xfrm>
        </p:spPr>
        <p:txBody>
          <a:bodyPr/>
          <a:lstStyle/>
          <a:p>
            <a:pPr algn="l"/>
            <a:r>
              <a:rPr lang="en-US" dirty="0"/>
              <a:t>Phase II CLL-Frail Study of Acalabrutinib for Very Old (≥80 Years) and/or Frail Patients: ORR and Frailty Assessment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DEA3367-BE5D-01BF-F5F5-8C68AF260A3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rcRect b="49106"/>
          <a:stretch/>
        </p:blipFill>
        <p:spPr>
          <a:xfrm>
            <a:off x="695400" y="1484784"/>
            <a:ext cx="5392938" cy="4587312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BDF972F-62D4-447B-E08E-5B57FC87E73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456040" y="1772816"/>
            <a:ext cx="5369941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661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9E333D-5023-654E-3BA7-1E82BDEEA9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FDDC38B-C37A-4612-AB65-7ED309F43B9E}"/>
              </a:ext>
            </a:extLst>
          </p:cNvPr>
          <p:cNvSpPr/>
          <p:nvPr/>
        </p:nvSpPr>
        <p:spPr bwMode="auto">
          <a:xfrm>
            <a:off x="1127448" y="1700808"/>
            <a:ext cx="10009112" cy="3672408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606000-20DB-7D40-0725-9A8808A1D061}"/>
              </a:ext>
            </a:extLst>
          </p:cNvPr>
          <p:cNvSpPr txBox="1"/>
          <p:nvPr/>
        </p:nvSpPr>
        <p:spPr>
          <a:xfrm>
            <a:off x="6589570" y="4833156"/>
            <a:ext cx="4295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Blood Rev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</a:rPr>
              <a:t>2025 March;70:101268.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C7EF4D2-1541-D9D2-0CCB-AD72C11DEBC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974" y="2090340"/>
            <a:ext cx="9518052" cy="2677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694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F6E3BD-E96A-F935-BE21-1401F1AF1C2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8FBE0CF-DFAA-0E13-1CD0-CFF7E41DBB46}"/>
              </a:ext>
            </a:extLst>
          </p:cNvPr>
          <p:cNvSpPr txBox="1"/>
          <p:nvPr/>
        </p:nvSpPr>
        <p:spPr>
          <a:xfrm>
            <a:off x="0" y="6492487"/>
            <a:ext cx="42484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ozarac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S et al. </a:t>
            </a:r>
            <a:r>
              <a:rPr kumimoji="0" lang="en-US" sz="15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Rev 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March;70:101268.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949F540-33C9-2BD6-DE7B-5F33E7BF40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29363"/>
            <a:ext cx="12192000" cy="491325"/>
          </a:xfrm>
        </p:spPr>
        <p:txBody>
          <a:bodyPr/>
          <a:lstStyle/>
          <a:p>
            <a:r>
              <a:rPr lang="en-US" dirty="0"/>
              <a:t>Cardiovascular Adverse Events Associated with BTK Inhibitors for CLL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A5B89B7-7F8B-CB54-A362-D6ABB6622B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627287" y="620688"/>
            <a:ext cx="10937425" cy="5418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627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0F82517-26B0-A41C-B5C9-399DC17234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D81911A-E899-B998-4A46-63B3BB99D4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5157" y="4215"/>
            <a:ext cx="11061684" cy="1143000"/>
          </a:xfrm>
        </p:spPr>
        <p:txBody>
          <a:bodyPr/>
          <a:lstStyle/>
          <a:p>
            <a:pPr algn="l"/>
            <a:r>
              <a:rPr lang="en-US" dirty="0"/>
              <a:t>Evaluation of Cardiovascular Risk and Action Thresholds with </a:t>
            </a:r>
            <a:br>
              <a:rPr lang="en-US" dirty="0"/>
            </a:br>
            <a:r>
              <a:rPr lang="en-US" dirty="0"/>
              <a:t>BTK Inhibitor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2696EE-8B51-F3F6-FD91-E1F79F598F3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65157" y="1008941"/>
            <a:ext cx="11061684" cy="4840117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272E927A-33A6-FA74-28D1-B9B622FDB211}"/>
              </a:ext>
            </a:extLst>
          </p:cNvPr>
          <p:cNvSpPr txBox="1"/>
          <p:nvPr/>
        </p:nvSpPr>
        <p:spPr>
          <a:xfrm>
            <a:off x="0" y="6492487"/>
            <a:ext cx="42484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ozarac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S et al. </a:t>
            </a:r>
            <a:r>
              <a:rPr kumimoji="0" lang="en-US" sz="15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Rev 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March;70:101268.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754784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AC6BFE7-2F97-E2E5-DEE3-54D2A3365E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C866C4D6-50C5-AACF-557A-0B0B58C46065}"/>
              </a:ext>
            </a:extLst>
          </p:cNvPr>
          <p:cNvGrpSpPr/>
          <p:nvPr/>
        </p:nvGrpSpPr>
        <p:grpSpPr>
          <a:xfrm>
            <a:off x="1127448" y="498860"/>
            <a:ext cx="9178225" cy="5594436"/>
            <a:chOff x="1415480" y="108586"/>
            <a:chExt cx="9571475" cy="5904656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7A275F6-6537-35A6-8D10-E87F9068268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sharpenSoften amount="25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415480" y="108586"/>
              <a:ext cx="9571475" cy="5904656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026A20A4-7290-5B65-EA41-94BC1CC67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15481" y="108586"/>
              <a:ext cx="3894946" cy="2808312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A0D48C0-D3DF-D601-893F-21C668529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5196"/>
            <a:ext cx="12192000" cy="553876"/>
          </a:xfrm>
        </p:spPr>
        <p:txBody>
          <a:bodyPr/>
          <a:lstStyle/>
          <a:p>
            <a:r>
              <a:rPr lang="en-US" sz="2800" dirty="0"/>
              <a:t>Algorithm for Managing Cardiovascular Toxicity During CLL Treatment</a:t>
            </a:r>
            <a:endParaRPr lang="en-US" sz="26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77895C6-F2AB-B641-9777-BA4212F3A2BC}"/>
              </a:ext>
            </a:extLst>
          </p:cNvPr>
          <p:cNvSpPr txBox="1"/>
          <p:nvPr/>
        </p:nvSpPr>
        <p:spPr>
          <a:xfrm>
            <a:off x="0" y="6492487"/>
            <a:ext cx="424847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ozarac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S et al. </a:t>
            </a:r>
            <a:r>
              <a:rPr kumimoji="0" lang="en-US" sz="15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Rev 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March;70:101268.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EAAE419-C4A7-51C8-615A-DFF3A5BCBB78}"/>
              </a:ext>
            </a:extLst>
          </p:cNvPr>
          <p:cNvSpPr txBox="1"/>
          <p:nvPr/>
        </p:nvSpPr>
        <p:spPr>
          <a:xfrm>
            <a:off x="7464152" y="5877852"/>
            <a:ext cx="2703567" cy="21544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TKi – Bruton tyrosine kinase inhibitor</a:t>
            </a:r>
          </a:p>
        </p:txBody>
      </p:sp>
    </p:spTree>
    <p:extLst>
      <p:ext uri="{BB962C8B-B14F-4D97-AF65-F5344CB8AC3E}">
        <p14:creationId xmlns:p14="http://schemas.microsoft.com/office/powerpoint/2010/main" val="77954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AB77C4-8F11-F2C6-EA5B-AAF481A2E10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554CDA93-61EB-5B92-1E28-E5605E26553F}"/>
              </a:ext>
            </a:extLst>
          </p:cNvPr>
          <p:cNvSpPr/>
          <p:nvPr/>
        </p:nvSpPr>
        <p:spPr bwMode="auto">
          <a:xfrm>
            <a:off x="767408" y="3356992"/>
            <a:ext cx="10225136" cy="648072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608C7F9-5409-3FA0-AF4D-0AC67D3473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800" dirty="0"/>
            </a:br>
            <a:r>
              <a:rPr lang="en-US" dirty="0"/>
              <a:t>Year in Review: Management of </a:t>
            </a:r>
            <a:br>
              <a:rPr lang="en-US" dirty="0"/>
            </a:br>
            <a:r>
              <a:rPr lang="en-US" dirty="0"/>
              <a:t>Chronic Lymphocytic Leukemia (CLL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2222205-DA96-CC2A-5CBA-F5AB9D66460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772816"/>
            <a:ext cx="10152698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LL Experience — 2000 to 2025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Therapy Options with Covalent Bruton Tyrosine Kinase (BTK) Inhibitor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</a:rPr>
              <a:t>MODULE 2: 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of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Treatment of CLL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dirty="0">
                <a:solidFill>
                  <a:schemeClr val="tx1"/>
                </a:solidFill>
              </a:rPr>
              <a:t>AMPLIFY Trial and Other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BTK Inhibitor and Bcl-2 Inhibitor Combination Strateg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4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covalent BTK Inhibitor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rtobrutinib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 T-Cell Therapy; Novel Agents</a:t>
            </a:r>
          </a:p>
        </p:txBody>
      </p:sp>
    </p:spTree>
    <p:extLst>
      <p:ext uri="{BB962C8B-B14F-4D97-AF65-F5344CB8AC3E}">
        <p14:creationId xmlns:p14="http://schemas.microsoft.com/office/powerpoint/2010/main" val="19865350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592AB5D-322E-AF18-4540-ABFA3E2DFC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03A00828-B6BB-F84E-BAA9-C3BB35DFD00B}"/>
              </a:ext>
            </a:extLst>
          </p:cNvPr>
          <p:cNvSpPr txBox="1"/>
          <p:nvPr/>
        </p:nvSpPr>
        <p:spPr>
          <a:xfrm>
            <a:off x="0" y="18864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Role of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Venetoclax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in the Treatment of CL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3CE8616-E6F8-78E5-CB86-78BA3A65EDF6}"/>
              </a:ext>
            </a:extLst>
          </p:cNvPr>
          <p:cNvSpPr txBox="1"/>
          <p:nvPr/>
        </p:nvSpPr>
        <p:spPr>
          <a:xfrm>
            <a:off x="763786" y="1124744"/>
            <a:ext cx="10876830" cy="50167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l-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awaf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O et al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-obinutuzuma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for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viously untreated chronic lymphocytic leukem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-year resul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f the randomized phase 3 CLL14 study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2024 October 31;144(18):1924-35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ürstena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rst-line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combinations versus chemoimmunotherapy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fit patients with chronic lymphocytic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ukaem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(GAIA/CLL13): 4-year follow-up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rom a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ulticentr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pen-label,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andomise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phase 3 trial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cet Onco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June;25(6):744-5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oeker L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inimal residual disease (MRD)-adapted duration of front-line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b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reatment for fit patients with chronic lymphocytic leukemia (CLL). ASH 2024;Abstract 1010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harman JP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RISTALLO: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Results from a Phase III trial of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-obinutuzu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ersus fludarabine, cyclophosphamide and rituximab or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ndamustin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rituximab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with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treated chronic lymphocytic leukemia without del(17p) or TP53 mutation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3237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ter AP et al. Activity of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patients with relapsed or refractory chronic lymphocytic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ukaem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Analysis of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ICE-1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ulticentr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pen-label, single-arm, phase 3b 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rial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cet Onco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April;25(4):463-73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21270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31A6C8-C92E-A241-858C-7428360944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Suppor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98425" indent="0">
              <a:buNone/>
            </a:pPr>
            <a:r>
              <a:rPr lang="en-US" sz="2500" b="0" dirty="0"/>
              <a:t>This activity is supported by educational grants from AstraZeneca Pharmaceuticals LP and Lilly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4BB09F8-DB05-0C41-BA44-6971131BFCC3}"/>
              </a:ext>
            </a:extLst>
          </p:cNvPr>
          <p:cNvSpPr txBox="1">
            <a:spLocks/>
          </p:cNvSpPr>
          <p:nvPr/>
        </p:nvSpPr>
        <p:spPr bwMode="auto">
          <a:xfrm>
            <a:off x="912286" y="3589289"/>
            <a:ext cx="10358967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000" b="1">
                <a:solidFill>
                  <a:srgbClr val="3333FF"/>
                </a:solidFill>
                <a:latin typeface="Calibri"/>
                <a:ea typeface="MS PGothic" pitchFamily="34" charset="-128"/>
                <a:cs typeface="Calibri"/>
              </a:defRPr>
            </a:lvl1pPr>
            <a:lvl2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2pPr>
            <a:lvl3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3pPr>
            <a:lvl4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4pPr>
            <a:lvl5pPr algn="ctr" defTabSz="412750" rtl="0" eaLnBrk="0" fontAlgn="base" hangingPunct="0">
              <a:lnSpc>
                <a:spcPct val="88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defRPr sz="3600" b="1">
                <a:solidFill>
                  <a:srgbClr val="3333FF"/>
                </a:solidFill>
                <a:latin typeface="Calibri" charset="0"/>
                <a:ea typeface="MS PGothic" pitchFamily="34" charset="-128"/>
                <a:cs typeface="MS PGothic" charset="0"/>
              </a:defRPr>
            </a:lvl5pPr>
            <a:lvl6pPr marL="153622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6pPr>
            <a:lvl7pPr marL="1993281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7pPr>
            <a:lvl8pPr marL="245033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8pPr>
            <a:lvl9pPr marL="2907397" indent="-215834" algn="ctr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defRPr sz="2800" b="1">
                <a:solidFill>
                  <a:srgbClr val="000000"/>
                </a:solidFill>
                <a:latin typeface="Times New Roman" pitchFamily="18" charset="0"/>
              </a:defRPr>
            </a:lvl9pPr>
          </a:lstStyle>
          <a:p>
            <a:r>
              <a:rPr lang="en-US" kern="0"/>
              <a:t>Research To Practice CME Planning Committee Members, </a:t>
            </a:r>
            <a:br>
              <a:rPr lang="en-US" kern="0"/>
            </a:br>
            <a:r>
              <a:rPr lang="en-US" kern="0"/>
              <a:t>Staff and Reviewers</a:t>
            </a:r>
            <a:endParaRPr lang="en-US" kern="0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5D69577-4750-EC4F-9DFD-0CC18B915698}"/>
              </a:ext>
            </a:extLst>
          </p:cNvPr>
          <p:cNvSpPr txBox="1">
            <a:spLocks/>
          </p:cNvSpPr>
          <p:nvPr/>
        </p:nvSpPr>
        <p:spPr bwMode="auto">
          <a:xfrm>
            <a:off x="912286" y="4869160"/>
            <a:ext cx="10512305" cy="13681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390525" indent="-292100" algn="l" defTabSz="412750" rtl="0" eaLnBrk="0" fontAlgn="base" hangingPunct="0">
              <a:lnSpc>
                <a:spcPct val="105000"/>
              </a:lnSpc>
              <a:spcBef>
                <a:spcPct val="30000"/>
              </a:spcBef>
              <a:spcAft>
                <a:spcPts val="800"/>
              </a:spcAft>
              <a:buClr>
                <a:srgbClr val="000000"/>
              </a:buClr>
              <a:buSzPct val="100000"/>
              <a:buFont typeface="Arial" pitchFamily="-72" charset="0"/>
              <a:buChar char="•"/>
              <a:defRPr sz="2900" b="1">
                <a:solidFill>
                  <a:srgbClr val="000000"/>
                </a:solidFill>
                <a:latin typeface="Calibri" charset="0"/>
                <a:ea typeface="MS PGothic" pitchFamily="34" charset="-128"/>
                <a:cs typeface="MS PGothic" charset="0"/>
              </a:defRPr>
            </a:lvl1pPr>
            <a:lvl2pPr marL="782638" indent="-260350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600" b="1">
                <a:solidFill>
                  <a:srgbClr val="000000"/>
                </a:solidFill>
                <a:latin typeface="Calibri" charset="0"/>
                <a:ea typeface="MS PGothic" pitchFamily="34" charset="-128"/>
              </a:defRPr>
            </a:lvl2pPr>
            <a:lvl3pPr marL="1173163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4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  <a:cs typeface="ＭＳ Ｐゴシック" pitchFamily="-72" charset="-128"/>
              </a:defRPr>
            </a:lvl3pPr>
            <a:lvl4pPr marL="1565275" indent="-193675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75000"/>
              <a:buFont typeface="Symbol" pitchFamily="-72" charset="2"/>
              <a:buChar char=""/>
              <a:defRPr sz="22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4pPr>
            <a:lvl5pPr marL="1957388" indent="-195263" algn="l" defTabSz="412750" rtl="0" eaLnBrk="0" fontAlgn="base" hangingPunct="0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-72" charset="2"/>
              <a:buChar char=""/>
              <a:defRPr sz="2000" b="1">
                <a:solidFill>
                  <a:srgbClr val="000000"/>
                </a:solidFill>
                <a:latin typeface="Calibri" charset="0"/>
                <a:ea typeface="ＭＳ Ｐゴシック" pitchFamily="-123" charset="-128"/>
              </a:defRPr>
            </a:lvl5pPr>
            <a:lvl6pPr marL="2615386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6pPr>
            <a:lvl7pPr marL="3072444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7pPr>
            <a:lvl8pPr marL="3529502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8pPr>
            <a:lvl9pPr marL="3986559" indent="-215834" algn="l" defTabSz="457058" rtl="0" fontAlgn="base" hangingPunct="0">
              <a:lnSpc>
                <a:spcPct val="93000"/>
              </a:lnSpc>
              <a:spcBef>
                <a:spcPct val="0"/>
              </a:spcBef>
              <a:spcAft>
                <a:spcPts val="288"/>
              </a:spcAft>
              <a:buClr>
                <a:srgbClr val="000000"/>
              </a:buClr>
              <a:buSzPct val="45000"/>
              <a:buFont typeface="Wingdings" pitchFamily="2" charset="2"/>
              <a:buChar char=""/>
              <a:defRPr sz="2000">
                <a:solidFill>
                  <a:srgbClr val="000000"/>
                </a:solidFill>
                <a:latin typeface="+mn-lt"/>
              </a:defRPr>
            </a:lvl9pPr>
          </a:lstStyle>
          <a:p>
            <a:pPr marL="98425" indent="0">
              <a:buFont typeface="Arial" pitchFamily="-72" charset="0"/>
              <a:buNone/>
            </a:pPr>
            <a:r>
              <a:rPr lang="en-US" sz="2500" b="0" kern="0" dirty="0"/>
              <a:t>Planners, scientific staff and independent reviewers for Research To Practice have no relevant conflicts of interest to disclose.</a:t>
            </a:r>
          </a:p>
        </p:txBody>
      </p:sp>
    </p:spTree>
    <p:extLst>
      <p:ext uri="{BB962C8B-B14F-4D97-AF65-F5344CB8AC3E}">
        <p14:creationId xmlns:p14="http://schemas.microsoft.com/office/powerpoint/2010/main" val="217849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709AB00-AF91-6633-E158-06E759E46F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37F2102C-7BD1-CE78-F646-DC610E4066B6}"/>
              </a:ext>
            </a:extLst>
          </p:cNvPr>
          <p:cNvSpPr/>
          <p:nvPr/>
        </p:nvSpPr>
        <p:spPr bwMode="auto">
          <a:xfrm>
            <a:off x="925936" y="613302"/>
            <a:ext cx="10426647" cy="5184576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6505DCF-15E5-0BB0-495C-EC268FF21E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4155" y="710715"/>
            <a:ext cx="10123688" cy="4791745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C67B645-31A1-7608-036E-748739ED06B0}"/>
              </a:ext>
            </a:extLst>
          </p:cNvPr>
          <p:cNvSpPr txBox="1"/>
          <p:nvPr/>
        </p:nvSpPr>
        <p:spPr>
          <a:xfrm>
            <a:off x="6862043" y="5445984"/>
            <a:ext cx="42958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Bloo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 2024 October 31;144(18):1924-35.</a:t>
            </a:r>
          </a:p>
        </p:txBody>
      </p:sp>
    </p:spTree>
    <p:extLst>
      <p:ext uri="{BB962C8B-B14F-4D97-AF65-F5344CB8AC3E}">
        <p14:creationId xmlns:p14="http://schemas.microsoft.com/office/powerpoint/2010/main" val="247674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472328-59FA-7B9D-2F48-ACE40CDE711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C0E6E800-5C9C-7063-BAC1-F27DEA142C97}"/>
              </a:ext>
            </a:extLst>
          </p:cNvPr>
          <p:cNvSpPr txBox="1"/>
          <p:nvPr/>
        </p:nvSpPr>
        <p:spPr>
          <a:xfrm>
            <a:off x="0" y="6492487"/>
            <a:ext cx="543524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l-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awaf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O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lood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4 October 31;144(18):1924-35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1D4BC7-863A-819A-0776-56575A3516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29363"/>
            <a:ext cx="10358967" cy="1143000"/>
          </a:xfrm>
        </p:spPr>
        <p:txBody>
          <a:bodyPr/>
          <a:lstStyle/>
          <a:p>
            <a:pPr algn="l"/>
            <a:r>
              <a:rPr lang="en-US" dirty="0" err="1"/>
              <a:t>Venetoclax</a:t>
            </a:r>
            <a:r>
              <a:rPr lang="en-US" dirty="0"/>
              <a:t>/Obinutuzumab for Previously Untreated CLL: </a:t>
            </a:r>
            <a:br>
              <a:rPr lang="en-US" dirty="0"/>
            </a:br>
            <a:r>
              <a:rPr lang="en-US" dirty="0"/>
              <a:t>6-Year Results of the Phase III CLL14 Study – PFS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4A1D66B-5E69-7844-01B3-A7AAED926F8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365" t="2725" r="51378" b="65941"/>
          <a:stretch/>
        </p:blipFill>
        <p:spPr>
          <a:xfrm>
            <a:off x="21904" y="1633306"/>
            <a:ext cx="3925400" cy="249981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B8F5A61-479A-2B86-C45A-3DD2E9933E3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54743" t="4188" b="65595"/>
          <a:stretch/>
        </p:blipFill>
        <p:spPr>
          <a:xfrm>
            <a:off x="4073932" y="1649516"/>
            <a:ext cx="4044133" cy="24836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5FE5B56-6577-7F65-02F6-9E64399E2D3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 l="3287" t="54176" r="51669" b="15001"/>
          <a:stretch/>
        </p:blipFill>
        <p:spPr>
          <a:xfrm>
            <a:off x="8237236" y="1628800"/>
            <a:ext cx="3955342" cy="248955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5C583EC-B56C-5F0E-9378-FCA711596601}"/>
              </a:ext>
            </a:extLst>
          </p:cNvPr>
          <p:cNvSpPr txBox="1"/>
          <p:nvPr/>
        </p:nvSpPr>
        <p:spPr>
          <a:xfrm>
            <a:off x="5435244" y="1268760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P53 del/mu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234EED-B585-92CB-4ADD-FE59F5987927}"/>
              </a:ext>
            </a:extLst>
          </p:cNvPr>
          <p:cNvSpPr txBox="1"/>
          <p:nvPr/>
        </p:nvSpPr>
        <p:spPr>
          <a:xfrm>
            <a:off x="9606005" y="1268760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GHV statu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F149B13-3546-B8FF-E8C1-62A075B93E62}"/>
              </a:ext>
            </a:extLst>
          </p:cNvPr>
          <p:cNvSpPr txBox="1"/>
          <p:nvPr/>
        </p:nvSpPr>
        <p:spPr>
          <a:xfrm>
            <a:off x="1260140" y="1270371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ll patien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1379D8E-9E1E-1651-456D-4C638D017B5D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248129" y="1649516"/>
            <a:ext cx="869936" cy="101322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19FD59C-D712-4C19-5C22-64EE7B42F5C1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788317" y="2474271"/>
            <a:ext cx="723900" cy="11811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7695D86-3A85-9718-D141-D2F28581406A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8882" y="3104683"/>
            <a:ext cx="726873" cy="581498"/>
          </a:xfrm>
          <a:prstGeom prst="rect">
            <a:avLst/>
          </a:prstGeom>
        </p:spPr>
      </p:pic>
      <p:graphicFrame>
        <p:nvGraphicFramePr>
          <p:cNvPr id="4" name="Table 7">
            <a:extLst>
              <a:ext uri="{FF2B5EF4-FFF2-40B4-BE49-F238E27FC236}">
                <a16:creationId xmlns:a16="http://schemas.microsoft.com/office/drawing/2014/main" id="{2614D10D-E32F-F20A-4E51-017B7694EECF}"/>
              </a:ext>
            </a:extLst>
          </p:cNvPr>
          <p:cNvGraphicFramePr>
            <a:graphicFrameLocks/>
          </p:cNvGraphicFramePr>
          <p:nvPr/>
        </p:nvGraphicFramePr>
        <p:xfrm>
          <a:off x="206763" y="4293097"/>
          <a:ext cx="4049362" cy="1763270"/>
        </p:xfrm>
        <a:graphic>
          <a:graphicData uri="http://schemas.openxmlformats.org/drawingml/2006/table">
            <a:tbl>
              <a:tblPr firstRow="1" bandRow="1"/>
              <a:tblGrid>
                <a:gridCol w="1147281">
                  <a:extLst>
                    <a:ext uri="{9D8B030D-6E8A-4147-A177-3AD203B41FA5}">
                      <a16:colId xmlns:a16="http://schemas.microsoft.com/office/drawing/2014/main" val="1936447573"/>
                    </a:ext>
                  </a:extLst>
                </a:gridCol>
                <a:gridCol w="1542896">
                  <a:extLst>
                    <a:ext uri="{9D8B030D-6E8A-4147-A177-3AD203B41FA5}">
                      <a16:colId xmlns:a16="http://schemas.microsoft.com/office/drawing/2014/main" val="23827593"/>
                    </a:ext>
                  </a:extLst>
                </a:gridCol>
                <a:gridCol w="1359185">
                  <a:extLst>
                    <a:ext uri="{9D8B030D-6E8A-4147-A177-3AD203B41FA5}">
                      <a16:colId xmlns:a16="http://schemas.microsoft.com/office/drawing/2014/main" val="1452254096"/>
                    </a:ext>
                  </a:extLst>
                </a:gridCol>
              </a:tblGrid>
              <a:tr h="405541"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 </a:t>
                      </a:r>
                      <a:endParaRPr lang="en-US" sz="1300" dirty="0">
                        <a:effectLst/>
                        <a:latin typeface="+mn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830051"/>
                      </a:solidFill>
                    </a:lnT>
                    <a:lnB w="12700" cmpd="sng">
                      <a:solidFill>
                        <a:srgbClr val="83005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Median PFS</a:t>
                      </a:r>
                      <a:endParaRPr lang="en-US" sz="1300" dirty="0">
                        <a:effectLst/>
                        <a:latin typeface="+mn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830051"/>
                      </a:solidFill>
                    </a:lnT>
                    <a:lnB w="12700" cmpd="sng">
                      <a:solidFill>
                        <a:srgbClr val="83005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1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effectLst/>
                          <a:latin typeface="+mn-lt"/>
                        </a:rPr>
                        <a:t>6-year PFS rate</a:t>
                      </a:r>
                      <a:endParaRPr lang="en-US" sz="1300" dirty="0">
                        <a:effectLst/>
                        <a:latin typeface="+mn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830051"/>
                      </a:solidFill>
                    </a:lnT>
                    <a:lnB w="12700" cmpd="sng">
                      <a:solidFill>
                        <a:srgbClr val="83005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0043712"/>
                  </a:ext>
                </a:extLst>
              </a:tr>
              <a:tr h="405541"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Ven-Obi</a:t>
                      </a: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830051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005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76.2 months</a:t>
                      </a: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830051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0051">
                        <a:alpha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53.1%</a:t>
                      </a: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 w="12700" cmpd="sng">
                      <a:solidFill>
                        <a:srgbClr val="830051"/>
                      </a:solidFill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0051">
                        <a:alpha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8474339"/>
                  </a:ext>
                </a:extLst>
              </a:tr>
              <a:tr h="405541"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lb</a:t>
                      </a: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Obi</a:t>
                      </a:r>
                      <a:endParaRPr lang="en-US" sz="1300" dirty="0">
                        <a:solidFill>
                          <a:schemeClr val="tx1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6.4 months</a:t>
                      </a:r>
                      <a:endParaRPr lang="en-US" sz="1300" dirty="0">
                        <a:solidFill>
                          <a:schemeClr val="tx1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Times New Roman" panose="02020603050405020304" pitchFamily="18" charset="0"/>
                        </a:rPr>
                        <a:t>21.7%</a:t>
                      </a: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9995355"/>
                  </a:ext>
                </a:extLst>
              </a:tr>
              <a:tr h="546647">
                <a:tc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300" spc="-2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83005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0051">
                        <a:alpha val="20000"/>
                      </a:srgbClr>
                    </a:solidFill>
                  </a:tcPr>
                </a:tc>
                <a:tc gridSpan="2">
                  <a:txBody>
                    <a:bodyPr/>
                    <a:lstStyle>
                      <a:lvl1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1pPr>
                      <a:lvl2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2pPr>
                      <a:lvl3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3pPr>
                      <a:lvl4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4pPr>
                      <a:lvl5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5pPr>
                      <a:lvl6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6pPr>
                      <a:lvl7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7pPr>
                      <a:lvl8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8pPr>
                      <a:lvl9pPr marL="0" marR="0" indent="0" algn="l" defTabSz="91440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 sz="1000" b="0" i="0" u="none" strike="noStrike" cap="none" spc="0" baseline="0">
                          <a:solidFill>
                            <a:schemeClr val="tx1"/>
                          </a:solidFill>
                          <a:uFillTx/>
                          <a:latin typeface="Calibri"/>
                          <a:sym typeface="Times Roman"/>
                        </a:defRPr>
                      </a:lvl9pPr>
                    </a:lstStyle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3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HR 0.40, 95% CI [0.31-0.52] </a:t>
                      </a: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it-IT" sz="130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&lt;0.0001</a:t>
                      </a:r>
                    </a:p>
                  </a:txBody>
                  <a:tcPr marL="60960" marR="60960" marT="48768" marB="48768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mpd="sng">
                      <a:solidFill>
                        <a:srgbClr val="830051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30051">
                        <a:alpha val="2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en-US" sz="140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34 (8.8%)</a:t>
                      </a:r>
                      <a:endParaRPr lang="en-US" sz="1400" b="1" i="0" dirty="0">
                        <a:solidFill>
                          <a:schemeClr val="tx1"/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Times New Roman" panose="02020603050405020304" pitchFamily="18" charset="0"/>
                      </a:endParaRPr>
                    </a:p>
                  </a:txBody>
                  <a:tcPr marL="45720" marR="45720" marT="36576" marB="36576" anchor="ctr"/>
                </a:tc>
                <a:extLst>
                  <a:ext uri="{0D108BD9-81ED-4DB2-BD59-A6C34878D82A}">
                    <a16:rowId xmlns:a16="http://schemas.microsoft.com/office/drawing/2014/main" val="1817074081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0C94E89B-500C-FD5E-3DE6-DE389B487E24}"/>
              </a:ext>
            </a:extLst>
          </p:cNvPr>
          <p:cNvGraphicFramePr>
            <a:graphicFrameLocks noGrp="1"/>
          </p:cNvGraphicFramePr>
          <p:nvPr/>
        </p:nvGraphicFramePr>
        <p:xfrm>
          <a:off x="4535889" y="4293096"/>
          <a:ext cx="7656114" cy="1757457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705271">
                  <a:extLst>
                    <a:ext uri="{9D8B030D-6E8A-4147-A177-3AD203B41FA5}">
                      <a16:colId xmlns:a16="http://schemas.microsoft.com/office/drawing/2014/main" val="116283834"/>
                    </a:ext>
                  </a:extLst>
                </a:gridCol>
                <a:gridCol w="2405551">
                  <a:extLst>
                    <a:ext uri="{9D8B030D-6E8A-4147-A177-3AD203B41FA5}">
                      <a16:colId xmlns:a16="http://schemas.microsoft.com/office/drawing/2014/main" val="1911983605"/>
                    </a:ext>
                  </a:extLst>
                </a:gridCol>
                <a:gridCol w="2545292">
                  <a:extLst>
                    <a:ext uri="{9D8B030D-6E8A-4147-A177-3AD203B41FA5}">
                      <a16:colId xmlns:a16="http://schemas.microsoft.com/office/drawing/2014/main" val="2133997005"/>
                    </a:ext>
                  </a:extLst>
                </a:gridCol>
              </a:tblGrid>
              <a:tr h="585819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PFS,</a:t>
                      </a:r>
                      <a:r>
                        <a:rPr lang="en-GB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600" baseline="0" dirty="0" err="1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netoclax + obinutuzumab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lorambucil + obinutuzumab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56674219"/>
                  </a:ext>
                </a:extLst>
              </a:tr>
              <a:tr h="585819"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 </a:t>
                      </a:r>
                      <a:r>
                        <a:rPr lang="en-GB" sz="1600" i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P53</a:t>
                      </a:r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/</a:t>
                      </a:r>
                      <a:r>
                        <a:rPr lang="en-GB" sz="160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t</a:t>
                      </a:r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algn="l"/>
                      <a:r>
                        <a:rPr lang="en-GB" sz="1600" i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P53</a:t>
                      </a:r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del/</a:t>
                      </a:r>
                      <a:r>
                        <a:rPr lang="en-GB" sz="1600" dirty="0" err="1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ut</a:t>
                      </a:r>
                      <a:endParaRPr lang="en-GB" sz="16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6.6</a:t>
                      </a:r>
                    </a:p>
                    <a:p>
                      <a:pPr algn="ctr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.9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8.9</a:t>
                      </a:r>
                    </a:p>
                    <a:p>
                      <a:pPr algn="ctr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844811"/>
                  </a:ext>
                </a:extLst>
              </a:tr>
              <a:tr h="585819">
                <a:tc>
                  <a:txBody>
                    <a:bodyPr/>
                    <a:lstStyle/>
                    <a:p>
                      <a:pPr algn="l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GHV mutated</a:t>
                      </a:r>
                    </a:p>
                    <a:p>
                      <a:pPr algn="l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GHV no mutation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R</a:t>
                      </a:r>
                    </a:p>
                    <a:p>
                      <a:pPr algn="ctr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.8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.2</a:t>
                      </a:r>
                      <a:endParaRPr lang="en-GB" sz="16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GB" sz="16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.9</a:t>
                      </a:r>
                      <a:endParaRPr lang="en-GB" sz="16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67205326"/>
                  </a:ext>
                </a:extLst>
              </a:tr>
            </a:tbl>
          </a:graphicData>
        </a:graphic>
      </p:graphicFrame>
      <p:sp>
        <p:nvSpPr>
          <p:cNvPr id="16" name="TextBox 15">
            <a:extLst>
              <a:ext uri="{FF2B5EF4-FFF2-40B4-BE49-F238E27FC236}">
                <a16:creationId xmlns:a16="http://schemas.microsoft.com/office/drawing/2014/main" id="{88EBD602-553A-219C-EEBF-21506872F1B5}"/>
              </a:ext>
            </a:extLst>
          </p:cNvPr>
          <p:cNvSpPr txBox="1"/>
          <p:nvPr/>
        </p:nvSpPr>
        <p:spPr>
          <a:xfrm>
            <a:off x="3575720" y="6405472"/>
            <a:ext cx="6134100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5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Paolo Ghia, MD, PhD</a:t>
            </a:r>
          </a:p>
        </p:txBody>
      </p:sp>
    </p:spTree>
    <p:extLst>
      <p:ext uri="{BB962C8B-B14F-4D97-AF65-F5344CB8AC3E}">
        <p14:creationId xmlns:p14="http://schemas.microsoft.com/office/powerpoint/2010/main" val="294723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A4DB3A-A076-7B3D-038E-98AE5E1FE93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0D2B588-D915-CCDF-A87F-E9E31DAD807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611" t="3983" r="50993" b="59816"/>
          <a:stretch/>
        </p:blipFill>
        <p:spPr>
          <a:xfrm>
            <a:off x="0" y="2350987"/>
            <a:ext cx="3951588" cy="243911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FE9D0D4-1C83-0EAC-2D1B-D02241617A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53849" t="3844" r="871" b="60249"/>
          <a:stretch/>
        </p:blipFill>
        <p:spPr>
          <a:xfrm>
            <a:off x="4154579" y="2360876"/>
            <a:ext cx="3941427" cy="241934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B762E33B-313E-0B7A-C35A-46423BC5B58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 l="3395" t="64747" r="52135" b="-1"/>
          <a:stretch/>
        </p:blipFill>
        <p:spPr>
          <a:xfrm>
            <a:off x="8321056" y="2382918"/>
            <a:ext cx="3870944" cy="2375257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A99D6B74-5A35-6ECF-1AA5-BE69113D79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29363"/>
            <a:ext cx="10358967" cy="1143000"/>
          </a:xfrm>
        </p:spPr>
        <p:txBody>
          <a:bodyPr/>
          <a:lstStyle/>
          <a:p>
            <a:pPr algn="l"/>
            <a:r>
              <a:rPr lang="en-US" dirty="0" err="1"/>
              <a:t>Venetoclax</a:t>
            </a:r>
            <a:r>
              <a:rPr lang="en-US" dirty="0"/>
              <a:t>/Obinutuzumab for Previously Untreated CLL: </a:t>
            </a:r>
            <a:br>
              <a:rPr lang="en-US" dirty="0"/>
            </a:br>
            <a:r>
              <a:rPr lang="en-US" dirty="0"/>
              <a:t>6-Year Results of the Phase III CLL14 Study – O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F8B49FB-8B9E-F32B-211C-2AA79BB6BA3E}"/>
              </a:ext>
            </a:extLst>
          </p:cNvPr>
          <p:cNvSpPr txBox="1"/>
          <p:nvPr/>
        </p:nvSpPr>
        <p:spPr>
          <a:xfrm>
            <a:off x="5435244" y="1988840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TP53 del/mu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9C4F8B5-C402-59A7-370E-32DD6D68496A}"/>
              </a:ext>
            </a:extLst>
          </p:cNvPr>
          <p:cNvSpPr txBox="1"/>
          <p:nvPr/>
        </p:nvSpPr>
        <p:spPr>
          <a:xfrm>
            <a:off x="9606005" y="1988840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IGHV statu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396735-0C7A-C7AD-4A08-9BF4AB2E17CE}"/>
              </a:ext>
            </a:extLst>
          </p:cNvPr>
          <p:cNvSpPr txBox="1"/>
          <p:nvPr/>
        </p:nvSpPr>
        <p:spPr>
          <a:xfrm>
            <a:off x="1260140" y="1990451"/>
            <a:ext cx="17281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ll patient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58FCE0-5502-CB0B-76DD-6406F3E362B4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701379" y="3247728"/>
            <a:ext cx="951885" cy="110866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8CC8611C-B23A-9B9D-546C-33419ACF85FF}"/>
              </a:ext>
            </a:extLst>
          </p:cNvPr>
          <p:cNvPicPr>
            <a:picLocks noChangeAspect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911905" y="3084388"/>
            <a:ext cx="723900" cy="11811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26A78246-1AFF-88AB-162B-65EBB3BF0DCA}"/>
              </a:ext>
            </a:extLst>
          </p:cNvPr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8882" y="3751784"/>
            <a:ext cx="726873" cy="58149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2DF15B0-B069-B3A0-8D40-60058DED6151}"/>
              </a:ext>
            </a:extLst>
          </p:cNvPr>
          <p:cNvSpPr txBox="1"/>
          <p:nvPr/>
        </p:nvSpPr>
        <p:spPr>
          <a:xfrm>
            <a:off x="0" y="6492487"/>
            <a:ext cx="543524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l-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awaf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O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lood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4 October 31;144(18):1924-35.</a:t>
            </a:r>
          </a:p>
        </p:txBody>
      </p:sp>
    </p:spTree>
    <p:extLst>
      <p:ext uri="{BB962C8B-B14F-4D97-AF65-F5344CB8AC3E}">
        <p14:creationId xmlns:p14="http://schemas.microsoft.com/office/powerpoint/2010/main" val="33511686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9DFC86B-7FDA-91E9-A0AC-273B1EA26A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54E324D-8D88-1167-41B8-76B68CDFBB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807072" y="980728"/>
            <a:ext cx="6577854" cy="5509676"/>
          </a:xfrm>
          <a:prstGeom prst="rect">
            <a:avLst/>
          </a:prstGeom>
        </p:spPr>
      </p:pic>
      <p:sp>
        <p:nvSpPr>
          <p:cNvPr id="11" name="Title 2">
            <a:extLst>
              <a:ext uri="{FF2B5EF4-FFF2-40B4-BE49-F238E27FC236}">
                <a16:creationId xmlns:a16="http://schemas.microsoft.com/office/drawing/2014/main" id="{504E7651-7778-CEC3-2527-D9ACD7B56B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392" y="188640"/>
            <a:ext cx="11305256" cy="635341"/>
          </a:xfrm>
        </p:spPr>
        <p:txBody>
          <a:bodyPr/>
          <a:lstStyle/>
          <a:p>
            <a:pPr algn="l"/>
            <a:r>
              <a:rPr lang="en-US" dirty="0" err="1"/>
              <a:t>Venetoclax</a:t>
            </a:r>
            <a:r>
              <a:rPr lang="en-US" dirty="0"/>
              <a:t>/Obinutuzumab for Previously Untreated CLL: 6-Year Results of the Phase III CLL14 Study – Minimal Residual Disease (MRD)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3A6A2ED-5610-D536-F1FA-BC86560E7E18}"/>
              </a:ext>
            </a:extLst>
          </p:cNvPr>
          <p:cNvSpPr txBox="1"/>
          <p:nvPr/>
        </p:nvSpPr>
        <p:spPr>
          <a:xfrm>
            <a:off x="0" y="6492487"/>
            <a:ext cx="5435244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l-</a:t>
            </a:r>
            <a:r>
              <a:rPr kumimoji="0" lang="en-US" sz="15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Sawaf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O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Blood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 2024 October 31;144(18):1924-35.</a:t>
            </a:r>
          </a:p>
        </p:txBody>
      </p:sp>
    </p:spTree>
    <p:extLst>
      <p:ext uri="{BB962C8B-B14F-4D97-AF65-F5344CB8AC3E}">
        <p14:creationId xmlns:p14="http://schemas.microsoft.com/office/powerpoint/2010/main" val="1762750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8C8E7A-D688-3597-2E3D-295AC9D0E8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A2DC0E1-1CB7-DA73-F0E9-165EF246EA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384" y="1507884"/>
            <a:ext cx="11089232" cy="309755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FF2ABD5-DBBF-D934-B2BB-C8673C7BAE92}"/>
              </a:ext>
            </a:extLst>
          </p:cNvPr>
          <p:cNvSpPr txBox="1"/>
          <p:nvPr/>
        </p:nvSpPr>
        <p:spPr>
          <a:xfrm>
            <a:off x="7392144" y="4242574"/>
            <a:ext cx="415178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Lancet Oncol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-72" charset="0"/>
                <a:ea typeface="MS PGothic" charset="0"/>
              </a:rPr>
              <a:t>2024 April;25(4):463-73.</a:t>
            </a:r>
          </a:p>
        </p:txBody>
      </p:sp>
    </p:spTree>
    <p:extLst>
      <p:ext uri="{BB962C8B-B14F-4D97-AF65-F5344CB8AC3E}">
        <p14:creationId xmlns:p14="http://schemas.microsoft.com/office/powerpoint/2010/main" val="3635635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D7B7B24-B5CF-E6C4-0D10-1E82B03022F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3ED3E75-C3A9-3DD7-D871-6083394F0D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29363"/>
            <a:ext cx="10358967" cy="1143000"/>
          </a:xfrm>
        </p:spPr>
        <p:txBody>
          <a:bodyPr/>
          <a:lstStyle/>
          <a:p>
            <a:pPr algn="l"/>
            <a:r>
              <a:rPr lang="en-US" dirty="0"/>
              <a:t>Venetoclax Monotherapy for Relapsed or Refractory CLL: </a:t>
            </a:r>
            <a:br>
              <a:rPr lang="en-US" dirty="0"/>
            </a:br>
            <a:r>
              <a:rPr lang="en-US" dirty="0"/>
              <a:t>The Single-Arm Phase </a:t>
            </a:r>
            <a:r>
              <a:rPr lang="en-US" dirty="0" err="1"/>
              <a:t>IIIb</a:t>
            </a:r>
            <a:r>
              <a:rPr lang="en-US" dirty="0"/>
              <a:t> VENICE-1 Trial – Respons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E02665-3CCE-4461-6B63-B1B13A00A554}"/>
              </a:ext>
            </a:extLst>
          </p:cNvPr>
          <p:cNvSpPr txBox="1"/>
          <p:nvPr/>
        </p:nvSpPr>
        <p:spPr>
          <a:xfrm>
            <a:off x="0" y="6492487"/>
            <a:ext cx="458383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ater AP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Lancet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2024 April;25(4):463-73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BD9ECC6-39E0-1292-1397-677AA7DDE7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58" y="1866136"/>
            <a:ext cx="4874988" cy="312572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11F5D271-9649-FE40-E587-90D8FC8C229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27846" y="1759685"/>
            <a:ext cx="7235420" cy="333863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F54C13-768F-C6F3-855D-C2CEDC3B2D03}"/>
              </a:ext>
            </a:extLst>
          </p:cNvPr>
          <p:cNvSpPr txBox="1"/>
          <p:nvPr/>
        </p:nvSpPr>
        <p:spPr>
          <a:xfrm>
            <a:off x="-28576" y="5085184"/>
            <a:ext cx="74927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BlinkMacSystemFont"/>
                <a:ea typeface="MS PGothic" charset="0"/>
              </a:rPr>
              <a:t>Median follow-up in the overall cohort was 49·5 months (IQR 47·2-54·1)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3333CC"/>
              </a:solidFill>
              <a:effectLst/>
              <a:uLnTx/>
              <a:uFillTx/>
              <a:latin typeface="Arial" pitchFamily="-72" charset="0"/>
              <a:ea typeface="MS PGothic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9209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DD58D-9E74-5B2E-E5E3-36D25F95D8D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0BC8989-460C-B102-9151-3A4CDC9826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6516" y="129363"/>
            <a:ext cx="10358967" cy="1143000"/>
          </a:xfrm>
        </p:spPr>
        <p:txBody>
          <a:bodyPr/>
          <a:lstStyle/>
          <a:p>
            <a:pPr algn="l"/>
            <a:r>
              <a:rPr lang="en-US" dirty="0"/>
              <a:t>Phase </a:t>
            </a:r>
            <a:r>
              <a:rPr lang="en-US" dirty="0" err="1"/>
              <a:t>IIIb</a:t>
            </a:r>
            <a:r>
              <a:rPr lang="en-US" dirty="0"/>
              <a:t> VENICE-1: Survival by B-Cell Receptor-Associated Kinase Inhibitor (</a:t>
            </a:r>
            <a:r>
              <a:rPr lang="en-US" dirty="0" err="1"/>
              <a:t>BCRi</a:t>
            </a:r>
            <a:r>
              <a:rPr lang="en-US" dirty="0"/>
              <a:t>) Exposur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6426F1A-0A72-22FD-D234-99663CFC43DB}"/>
              </a:ext>
            </a:extLst>
          </p:cNvPr>
          <p:cNvSpPr txBox="1"/>
          <p:nvPr/>
        </p:nvSpPr>
        <p:spPr>
          <a:xfrm>
            <a:off x="0" y="6492487"/>
            <a:ext cx="49870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ater AP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Lancet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2024 April;25(4):463-73. 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D90DCD9-8CDC-0079-DFBC-4F3A40F6126E}"/>
              </a:ext>
            </a:extLst>
          </p:cNvPr>
          <p:cNvGrpSpPr/>
          <p:nvPr/>
        </p:nvGrpSpPr>
        <p:grpSpPr>
          <a:xfrm>
            <a:off x="6288432" y="1665735"/>
            <a:ext cx="4987051" cy="4321251"/>
            <a:chOff x="6088797" y="1161035"/>
            <a:chExt cx="4987051" cy="432125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E2F7870-C37A-A2FF-B0FA-B05E64F2C26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 l="12966" t="9393" b="1576"/>
            <a:stretch/>
          </p:blipFill>
          <p:spPr>
            <a:xfrm>
              <a:off x="6088797" y="2915596"/>
              <a:ext cx="4987051" cy="256669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DD8B1F4D-791E-91B9-C420-E9333659946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3884" t="76593" b="2811"/>
            <a:stretch/>
          </p:blipFill>
          <p:spPr>
            <a:xfrm>
              <a:off x="6096000" y="1161035"/>
              <a:ext cx="4979848" cy="1754561"/>
            </a:xfrm>
            <a:prstGeom prst="rect">
              <a:avLst/>
            </a:prstGeom>
          </p:spPr>
        </p:pic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55495EEE-79FB-4842-C5E5-AD1B0FE84422}"/>
              </a:ext>
            </a:extLst>
          </p:cNvPr>
          <p:cNvGrpSpPr/>
          <p:nvPr/>
        </p:nvGrpSpPr>
        <p:grpSpPr>
          <a:xfrm>
            <a:off x="846645" y="1624439"/>
            <a:ext cx="4988789" cy="4362547"/>
            <a:chOff x="616913" y="1004091"/>
            <a:chExt cx="4988789" cy="436254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8E7210D9-1B50-B1F6-B1FF-F77576251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3921" t="3333" b="76070"/>
            <a:stretch/>
          </p:blipFill>
          <p:spPr>
            <a:xfrm>
              <a:off x="623392" y="1004091"/>
              <a:ext cx="4980572" cy="1755577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C050AB84-82EA-428C-D0FC-FD125D4B8F0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13921" t="32441" b="38296"/>
            <a:stretch/>
          </p:blipFill>
          <p:spPr>
            <a:xfrm>
              <a:off x="632825" y="2759668"/>
              <a:ext cx="4972877" cy="2490462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B4161E72-9A44-84A9-48A6-A927369686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 l="-112" t="98135" r="-54" b="277"/>
            <a:stretch/>
          </p:blipFill>
          <p:spPr>
            <a:xfrm>
              <a:off x="616913" y="5250130"/>
              <a:ext cx="4987052" cy="116508"/>
            </a:xfrm>
            <a:prstGeom prst="rect">
              <a:avLst/>
            </a:prstGeom>
          </p:spPr>
        </p:pic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CA900EB4-8F11-2A04-5002-A03027A1CDDC}"/>
              </a:ext>
            </a:extLst>
          </p:cNvPr>
          <p:cNvSpPr txBox="1"/>
          <p:nvPr/>
        </p:nvSpPr>
        <p:spPr>
          <a:xfrm>
            <a:off x="3061889" y="1154815"/>
            <a:ext cx="55656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F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9DD8AF-B051-5D4C-C24F-8D49BDB593B4}"/>
              </a:ext>
            </a:extLst>
          </p:cNvPr>
          <p:cNvSpPr txBox="1"/>
          <p:nvPr/>
        </p:nvSpPr>
        <p:spPr>
          <a:xfrm>
            <a:off x="8676942" y="1154815"/>
            <a:ext cx="4796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OS</a:t>
            </a:r>
          </a:p>
        </p:txBody>
      </p:sp>
    </p:spTree>
    <p:extLst>
      <p:ext uri="{BB962C8B-B14F-4D97-AF65-F5344CB8AC3E}">
        <p14:creationId xmlns:p14="http://schemas.microsoft.com/office/powerpoint/2010/main" val="37336241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007221-08EF-E884-645A-006ED4A0F4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0B55D921-DD52-137A-7330-C497497F3A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hase </a:t>
            </a:r>
            <a:r>
              <a:rPr lang="en-US" dirty="0" err="1"/>
              <a:t>IIIb</a:t>
            </a:r>
            <a:r>
              <a:rPr lang="en-US" dirty="0"/>
              <a:t> VENICE-1: Summar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67EA633-9739-AA3C-5DA6-53104B4DA8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12286" y="1416053"/>
            <a:ext cx="10358967" cy="4677243"/>
          </a:xfrm>
        </p:spPr>
        <p:txBody>
          <a:bodyPr/>
          <a:lstStyle/>
          <a:p>
            <a:r>
              <a:rPr lang="en-US" sz="2400" b="0" dirty="0">
                <a:latin typeface="Calibri" panose="020F0502020204030204" pitchFamily="34" charset="0"/>
                <a:cs typeface="Calibri" panose="020F0502020204030204" pitchFamily="34" charset="0"/>
              </a:rPr>
              <a:t>V</a:t>
            </a:r>
            <a:r>
              <a:rPr lang="en-US" sz="24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enetoclax monotherapy demonstrated deep and durable responses and prolonged overall survival, irrespective of previous </a:t>
            </a:r>
            <a:r>
              <a:rPr lang="en-US" sz="2400" b="0" dirty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BCRi</a:t>
            </a:r>
            <a:r>
              <a:rPr lang="en-US" sz="24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reatment. </a:t>
            </a:r>
          </a:p>
          <a:p>
            <a:pPr lvl="1">
              <a:spcBef>
                <a:spcPts val="300"/>
              </a:spcBef>
            </a:pPr>
            <a:r>
              <a:rPr lang="en-US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With dose modifications, the safety profile of venetoclax was manageable even given this extended period of follow-up, and many patients transitioned to an extension study to continue receiving </a:t>
            </a:r>
            <a:r>
              <a:rPr lang="en-US" sz="2000" b="0" dirty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therapy. </a:t>
            </a:r>
          </a:p>
          <a:p>
            <a:pPr>
              <a:spcBef>
                <a:spcPts val="2664"/>
              </a:spcBef>
            </a:pPr>
            <a:r>
              <a:rPr lang="en-US" sz="24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The safety profile reported here was consistent with previously published venetoclax data with relapsed or refractory CLL.</a:t>
            </a:r>
          </a:p>
          <a:p>
            <a:pPr lvl="1">
              <a:spcBef>
                <a:spcPts val="300"/>
              </a:spcBef>
            </a:pPr>
            <a:r>
              <a:rPr lang="en-US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lthough common, neutropenia was managed with brief interruptions or reductions in </a:t>
            </a:r>
            <a:r>
              <a:rPr lang="en-US" sz="2000" b="0" dirty="0" err="1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000" b="0" dirty="0"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 dosing.</a:t>
            </a:r>
            <a:endParaRPr lang="en-US" sz="2400" b="0" dirty="0"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9E3EE64-D429-1C59-A84E-73C48F581505}"/>
              </a:ext>
            </a:extLst>
          </p:cNvPr>
          <p:cNvSpPr txBox="1"/>
          <p:nvPr/>
        </p:nvSpPr>
        <p:spPr>
          <a:xfrm>
            <a:off x="0" y="6492487"/>
            <a:ext cx="4987052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ater AP et al. </a:t>
            </a:r>
            <a:r>
              <a:rPr kumimoji="0" lang="en-US" sz="15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Lancet Oncol 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2024 April;25(4):463-73. </a:t>
            </a:r>
          </a:p>
        </p:txBody>
      </p:sp>
    </p:spTree>
    <p:extLst>
      <p:ext uri="{BB962C8B-B14F-4D97-AF65-F5344CB8AC3E}">
        <p14:creationId xmlns:p14="http://schemas.microsoft.com/office/powerpoint/2010/main" val="1412815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E171ED7-76C3-1C53-9AE2-72FCE43AAE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2BBFBD0-07DD-87BC-D44A-C90134B8293A}"/>
              </a:ext>
            </a:extLst>
          </p:cNvPr>
          <p:cNvSpPr/>
          <p:nvPr/>
        </p:nvSpPr>
        <p:spPr bwMode="auto">
          <a:xfrm>
            <a:off x="767408" y="4005064"/>
            <a:ext cx="10225136" cy="1008112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718811-6806-D267-AF32-9F90479587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800" dirty="0"/>
            </a:br>
            <a:r>
              <a:rPr lang="en-US" dirty="0"/>
              <a:t>Year in Review: Management of </a:t>
            </a:r>
            <a:br>
              <a:rPr lang="en-US" dirty="0"/>
            </a:br>
            <a:r>
              <a:rPr lang="en-US" dirty="0"/>
              <a:t>Chronic Lymphocytic Leukemia (CLL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3440B-0519-ED5F-D7AA-E3B1B39AB4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772816"/>
            <a:ext cx="10152698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LL Experience — 2000 to 2025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Therapy Options with Covalent Bruton Tyrosine Kinase (BTK) Inhibitor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of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Treatment of CLL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</a:rPr>
              <a:t>MODULE 3: AMPLIFY Trial and Other 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BTK Inhibitor and Bcl-2 Inhibitor Combination Strateg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4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covalent BTK Inhibitor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rtobrutinib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 T-Cell Therapy; Novel Agents</a:t>
            </a:r>
          </a:p>
        </p:txBody>
      </p:sp>
    </p:spTree>
    <p:extLst>
      <p:ext uri="{BB962C8B-B14F-4D97-AF65-F5344CB8AC3E}">
        <p14:creationId xmlns:p14="http://schemas.microsoft.com/office/powerpoint/2010/main" val="2746703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0B93B14-0815-4F4F-36E7-A818C0FAF6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2A05A40E-209D-D7E1-A09B-926EDD3E8F17}"/>
              </a:ext>
            </a:extLst>
          </p:cNvPr>
          <p:cNvSpPr txBox="1"/>
          <p:nvPr/>
        </p:nvSpPr>
        <p:spPr>
          <a:xfrm>
            <a:off x="488094" y="404664"/>
            <a:ext cx="11428214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AMPLIFY and Other Novel BTK Inhibitor and Bcl-2 Inhibitor Combination Strateg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7C6AB05-DB59-B107-BC70-3DC5457A057F}"/>
              </a:ext>
            </a:extLst>
          </p:cNvPr>
          <p:cNvSpPr txBox="1"/>
          <p:nvPr/>
        </p:nvSpPr>
        <p:spPr>
          <a:xfrm>
            <a:off x="763786" y="1382286"/>
            <a:ext cx="10876830" cy="40934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own JR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xed-duration acalabrutinib combination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treated chronic lymphocytic leukemia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 Engl J Med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February 20;392(8):748-6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vids MS et al. Primary endpoint evaluation of a multicenter, phase 2 study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,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AVO)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a population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viously untreated patients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 CLL enriched for high-risk disease. ASH 2024;Abstract 1865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ürstenau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,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elapsed/refractory CL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2000" b="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efficacy and ctDNA analysis of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LL2-BAAG trial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July 18;144(3):272-8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 S et al. Combination of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+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or treatment-naïve (TN) CLL/SLL with del(17p) and/or TP53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liminary results from SEQUOIA arm D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EHA 2024;Abstract S160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oumerai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JD et al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onro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s frontline treatment for CLL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emonstrates high MRD clearance rates with good tolerability: Data from an ongoing phase 1/1b study BGB-11417-101. ASH 2024;Abstract 1012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9680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3583"/>
            <a:ext cx="10358967" cy="1143000"/>
          </a:xfrm>
        </p:spPr>
        <p:txBody>
          <a:bodyPr/>
          <a:lstStyle/>
          <a:p>
            <a:r>
              <a:rPr lang="en-US" sz="3200" dirty="0"/>
              <a:t>Dr Brown </a:t>
            </a:r>
            <a:r>
              <a:rPr lang="en-US" sz="3200" dirty="0">
                <a:solidFill>
                  <a:srgbClr val="0432FF"/>
                </a:solidFill>
              </a:rPr>
              <a:t>— Disclosures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9FA1D6CF-488A-7449-95CE-456E2392856B}"/>
              </a:ext>
            </a:extLst>
          </p:cNvPr>
          <p:cNvGraphicFramePr>
            <a:graphicFrameLocks/>
          </p:cNvGraphicFramePr>
          <p:nvPr/>
        </p:nvGraphicFramePr>
        <p:xfrm>
          <a:off x="983432" y="1268760"/>
          <a:ext cx="10657184" cy="4320479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44816">
                  <a:extLst>
                    <a:ext uri="{9D8B030D-6E8A-4147-A177-3AD203B41FA5}">
                      <a16:colId xmlns:a16="http://schemas.microsoft.com/office/drawing/2014/main" val="3833924404"/>
                    </a:ext>
                  </a:extLst>
                </a:gridCol>
              </a:tblGrid>
              <a:tr h="1869306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nsulting Agreements</a:t>
                      </a:r>
                      <a:endParaRPr 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bbVie Inc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Acerta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Pharma — A member of the AstraZeneca Group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Alloplex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Biotherapeutics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BeiGen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Ltd, Bristol-Myers Squibb, EcoR1 Capital LLC, Galapagos NV, Genentech, a member of the Roche Group, Grifols Worldwide Operations Ltd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InnoCar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Pharma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Loxo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Oncology Inc, a wholly owned subsidiary of Eli Lilly &amp; Company, Magnet Biomedicine, Merck, Pharmacyclics LLC, an AbbVie Company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26870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ntracted Research</a:t>
                      </a:r>
                      <a:endParaRPr 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BeiGen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Ltd, Gilead Sciences Inc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iOnctura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SA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Loxo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Oncology Inc, a wholly owned subsidiary of Eli Lilly &amp; Company, MEI Pharma Inc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Nagoon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Therapeutics, TG Therapeutics Inc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903436"/>
                  </a:ext>
                </a:extLst>
              </a:tr>
              <a:tr h="715273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ta and Safety Monitoring Boards/Committee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rifol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04472"/>
                  </a:ext>
                </a:extLst>
              </a:tr>
              <a:tr h="709030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nrelevant Financial Relationships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pToDate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19046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594097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64E24C-9798-31D6-7893-71BFABC3A8D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0"/>
            <a:ext cx="10972800" cy="1368922"/>
          </a:xfrm>
        </p:spPr>
        <p:txBody>
          <a:bodyPr/>
          <a:lstStyle/>
          <a:p>
            <a:pPr algn="ctr"/>
            <a:r>
              <a:rPr lang="en-US" sz="4000" dirty="0"/>
              <a:t>AMPLIFY: AV and AVO vs FCR/BR </a:t>
            </a:r>
            <a:br>
              <a:rPr lang="en-US" sz="4000" dirty="0"/>
            </a:br>
            <a:r>
              <a:rPr lang="en-US" sz="3200" i="1" dirty="0"/>
              <a:t>Progression-Free Survival</a:t>
            </a:r>
            <a:endParaRPr lang="en-US" sz="4000" i="1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B7552E7-6B2E-3B64-0036-63A3BEA0A419}"/>
              </a:ext>
            </a:extLst>
          </p:cNvPr>
          <p:cNvSpPr/>
          <p:nvPr/>
        </p:nvSpPr>
        <p:spPr>
          <a:xfrm>
            <a:off x="258254" y="5341697"/>
            <a:ext cx="5767804" cy="26290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an PFS was NR for AV and AVO, and was 47.6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for FCR/B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1626FC6-1853-A2C3-E025-97E6EB5E777F}"/>
              </a:ext>
            </a:extLst>
          </p:cNvPr>
          <p:cNvSpPr/>
          <p:nvPr/>
        </p:nvSpPr>
        <p:spPr>
          <a:xfrm>
            <a:off x="258254" y="5676120"/>
            <a:ext cx="5767804" cy="38987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MRD rates (&lt;10</a:t>
            </a:r>
            <a:r>
              <a:rPr kumimoji="0" lang="en-US" sz="1200" b="1" i="0" u="none" strike="noStrike" kern="120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-4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) in peripheral blood at EOT (evaluable patients): </a:t>
            </a:r>
          </a:p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45.0% (AV), 95.0% (AVO), 72.9% (FCR/BR)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370C1A4-A863-7513-1C5A-03DA88AF24B8}"/>
              </a:ext>
            </a:extLst>
          </p:cNvPr>
          <p:cNvSpPr txBox="1"/>
          <p:nvPr/>
        </p:nvSpPr>
        <p:spPr>
          <a:xfrm>
            <a:off x="9436230" y="6485394"/>
            <a:ext cx="2755769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Brown JR et al. ASH 2024; Abstract 1009</a:t>
            </a: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rown JR NEJM 2025</a:t>
            </a:r>
          </a:p>
        </p:txBody>
      </p:sp>
      <p:grpSp>
        <p:nvGrpSpPr>
          <p:cNvPr id="2870" name="Group 2869">
            <a:extLst>
              <a:ext uri="{FF2B5EF4-FFF2-40B4-BE49-F238E27FC236}">
                <a16:creationId xmlns:a16="http://schemas.microsoft.com/office/drawing/2014/main" id="{9B54E240-5C60-89B4-4F82-115F2201DB13}"/>
              </a:ext>
            </a:extLst>
          </p:cNvPr>
          <p:cNvGrpSpPr/>
          <p:nvPr/>
        </p:nvGrpSpPr>
        <p:grpSpPr>
          <a:xfrm>
            <a:off x="-50134" y="1253403"/>
            <a:ext cx="12330175" cy="4109470"/>
            <a:chOff x="-50134" y="1583611"/>
            <a:chExt cx="12330175" cy="3781394"/>
          </a:xfrm>
        </p:grpSpPr>
        <p:sp>
          <p:nvSpPr>
            <p:cNvPr id="4" name="Title 2">
              <a:extLst>
                <a:ext uri="{FF2B5EF4-FFF2-40B4-BE49-F238E27FC236}">
                  <a16:creationId xmlns:a16="http://schemas.microsoft.com/office/drawing/2014/main" id="{F51A16C9-F968-952C-133E-9BFCB5F9DC76}"/>
                </a:ext>
              </a:extLst>
            </p:cNvPr>
            <p:cNvSpPr txBox="1">
              <a:spLocks/>
            </p:cNvSpPr>
            <p:nvPr/>
          </p:nvSpPr>
          <p:spPr>
            <a:xfrm>
              <a:off x="883496" y="1583611"/>
              <a:ext cx="4364920" cy="58477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 b="1" kern="1200">
                  <a:solidFill>
                    <a:srgbClr val="CD113B"/>
                  </a:solidFill>
                  <a:latin typeface="Arial"/>
                  <a:ea typeface="Geneva" pitchFamily="37" charset="-128"/>
                  <a:cs typeface="Arial"/>
                </a:defRPr>
              </a:lvl1pPr>
              <a:lvl2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2pPr>
              <a:lvl3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3pPr>
              <a:lvl4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4pPr>
              <a:lvl5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5pPr>
              <a:lvl6pPr marL="609585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6pPr>
              <a:lvl7pPr marL="1219170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7pPr>
              <a:lvl8pPr marL="1828754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8pPr>
              <a:lvl9pPr marL="2438339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9pPr>
            </a:lstStyle>
            <a:p>
              <a:pPr marL="0" marR="0" lvl="0" indent="0" algn="ctr" defTabSz="609585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D113B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rPr>
                <a:t>PFS Significantly Improved With </a:t>
              </a:r>
            </a:p>
            <a:p>
              <a:pPr marL="0" marR="0" lvl="0" indent="0" algn="ctr" defTabSz="609585" rtl="0" eaLnBrk="0" fontAlgn="base" latinLnBrk="0" hangingPunct="0">
                <a:lnSpc>
                  <a:spcPct val="95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D113B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rPr>
                <a:t>AV and AVO vs FCR/BR</a:t>
              </a:r>
              <a:endParaRPr kumimoji="0" 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endParaRPr>
            </a:p>
          </p:txBody>
        </p: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12D8BCF1-9EA2-6A3C-59C5-91BC60397B25}"/>
                </a:ext>
              </a:extLst>
            </p:cNvPr>
            <p:cNvGrpSpPr/>
            <p:nvPr/>
          </p:nvGrpSpPr>
          <p:grpSpPr>
            <a:xfrm>
              <a:off x="-50134" y="2153688"/>
              <a:ext cx="6224801" cy="3203070"/>
              <a:chOff x="222215" y="1058090"/>
              <a:chExt cx="9138643" cy="2399622"/>
            </a:xfrm>
          </p:grpSpPr>
          <p:cxnSp>
            <p:nvCxnSpPr>
              <p:cNvPr id="23" name="Straight Connector 22">
                <a:extLst>
                  <a:ext uri="{FF2B5EF4-FFF2-40B4-BE49-F238E27FC236}">
                    <a16:creationId xmlns:a16="http://schemas.microsoft.com/office/drawing/2014/main" id="{2EED1920-FF19-8271-E670-D0EB2CD9ED8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55263" y="1081088"/>
                <a:ext cx="0" cy="2016630"/>
              </a:xfrm>
              <a:prstGeom prst="line">
                <a:avLst/>
              </a:prstGeom>
              <a:noFill/>
              <a:ln w="19050" cap="flat" cmpd="sng" algn="ctr">
                <a:solidFill>
                  <a:srgbClr val="3F4444"/>
                </a:solidFill>
                <a:prstDash val="dash"/>
              </a:ln>
              <a:effectLst/>
            </p:spPr>
          </p:cxnSp>
          <p:sp>
            <p:nvSpPr>
              <p:cNvPr id="24" name="Freeform 576">
                <a:extLst>
                  <a:ext uri="{FF2B5EF4-FFF2-40B4-BE49-F238E27FC236}">
                    <a16:creationId xmlns:a16="http://schemas.microsoft.com/office/drawing/2014/main" id="{AA94428A-DBE3-CE3B-F6F8-051A884539E4}"/>
                  </a:ext>
                </a:extLst>
              </p:cNvPr>
              <p:cNvSpPr/>
              <p:nvPr/>
            </p:nvSpPr>
            <p:spPr>
              <a:xfrm>
                <a:off x="1088920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5" name="Freeform 577">
                <a:extLst>
                  <a:ext uri="{FF2B5EF4-FFF2-40B4-BE49-F238E27FC236}">
                    <a16:creationId xmlns:a16="http://schemas.microsoft.com/office/drawing/2014/main" id="{07DD5A9D-D5DB-47A5-56DA-897927B8FFE0}"/>
                  </a:ext>
                </a:extLst>
              </p:cNvPr>
              <p:cNvSpPr/>
              <p:nvPr/>
            </p:nvSpPr>
            <p:spPr>
              <a:xfrm>
                <a:off x="1849779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6" name="Freeform 578">
                <a:extLst>
                  <a:ext uri="{FF2B5EF4-FFF2-40B4-BE49-F238E27FC236}">
                    <a16:creationId xmlns:a16="http://schemas.microsoft.com/office/drawing/2014/main" id="{E90238A5-9F02-6AEC-7F05-FFF73E4A0762}"/>
                  </a:ext>
                </a:extLst>
              </p:cNvPr>
              <p:cNvSpPr/>
              <p:nvPr/>
            </p:nvSpPr>
            <p:spPr>
              <a:xfrm>
                <a:off x="2610638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7" name="Freeform 579">
                <a:extLst>
                  <a:ext uri="{FF2B5EF4-FFF2-40B4-BE49-F238E27FC236}">
                    <a16:creationId xmlns:a16="http://schemas.microsoft.com/office/drawing/2014/main" id="{22C0297D-4E88-C87E-A1BA-CA278F11557B}"/>
                  </a:ext>
                </a:extLst>
              </p:cNvPr>
              <p:cNvSpPr/>
              <p:nvPr/>
            </p:nvSpPr>
            <p:spPr>
              <a:xfrm>
                <a:off x="3371496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8" name="Freeform 580">
                <a:extLst>
                  <a:ext uri="{FF2B5EF4-FFF2-40B4-BE49-F238E27FC236}">
                    <a16:creationId xmlns:a16="http://schemas.microsoft.com/office/drawing/2014/main" id="{DF190A48-C87B-4A82-512B-EBF4E3F41693}"/>
                  </a:ext>
                </a:extLst>
              </p:cNvPr>
              <p:cNvSpPr/>
              <p:nvPr/>
            </p:nvSpPr>
            <p:spPr>
              <a:xfrm>
                <a:off x="4133546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29" name="Freeform 581">
                <a:extLst>
                  <a:ext uri="{FF2B5EF4-FFF2-40B4-BE49-F238E27FC236}">
                    <a16:creationId xmlns:a16="http://schemas.microsoft.com/office/drawing/2014/main" id="{A44560D5-2DE1-67DE-A1CB-53DA946B4B29}"/>
                  </a:ext>
                </a:extLst>
              </p:cNvPr>
              <p:cNvSpPr/>
              <p:nvPr/>
            </p:nvSpPr>
            <p:spPr>
              <a:xfrm>
                <a:off x="4894405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0" name="Freeform 582">
                <a:extLst>
                  <a:ext uri="{FF2B5EF4-FFF2-40B4-BE49-F238E27FC236}">
                    <a16:creationId xmlns:a16="http://schemas.microsoft.com/office/drawing/2014/main" id="{A24F7862-55A0-4241-E3DD-C96A840E6410}"/>
                  </a:ext>
                </a:extLst>
              </p:cNvPr>
              <p:cNvSpPr/>
              <p:nvPr/>
            </p:nvSpPr>
            <p:spPr>
              <a:xfrm>
                <a:off x="5655263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1" name="Freeform 583">
                <a:extLst>
                  <a:ext uri="{FF2B5EF4-FFF2-40B4-BE49-F238E27FC236}">
                    <a16:creationId xmlns:a16="http://schemas.microsoft.com/office/drawing/2014/main" id="{3D56EDA6-1E8C-C9ED-0659-63E230CD3245}"/>
                  </a:ext>
                </a:extLst>
              </p:cNvPr>
              <p:cNvSpPr/>
              <p:nvPr/>
            </p:nvSpPr>
            <p:spPr>
              <a:xfrm>
                <a:off x="6417313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2" name="Freeform 584">
                <a:extLst>
                  <a:ext uri="{FF2B5EF4-FFF2-40B4-BE49-F238E27FC236}">
                    <a16:creationId xmlns:a16="http://schemas.microsoft.com/office/drawing/2014/main" id="{BE69628F-0FB6-549C-72DB-60E1C9A1EF7F}"/>
                  </a:ext>
                </a:extLst>
              </p:cNvPr>
              <p:cNvSpPr/>
              <p:nvPr/>
            </p:nvSpPr>
            <p:spPr>
              <a:xfrm>
                <a:off x="7178172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3" name="Freeform 585">
                <a:extLst>
                  <a:ext uri="{FF2B5EF4-FFF2-40B4-BE49-F238E27FC236}">
                    <a16:creationId xmlns:a16="http://schemas.microsoft.com/office/drawing/2014/main" id="{77CE40BD-5B64-0011-F747-52EF20F73FED}"/>
                  </a:ext>
                </a:extLst>
              </p:cNvPr>
              <p:cNvSpPr/>
              <p:nvPr/>
            </p:nvSpPr>
            <p:spPr>
              <a:xfrm>
                <a:off x="7939031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34" name="Freeform 586">
                <a:extLst>
                  <a:ext uri="{FF2B5EF4-FFF2-40B4-BE49-F238E27FC236}">
                    <a16:creationId xmlns:a16="http://schemas.microsoft.com/office/drawing/2014/main" id="{56CFEDCA-508C-745F-4F2C-E416AC4FE611}"/>
                  </a:ext>
                </a:extLst>
              </p:cNvPr>
              <p:cNvSpPr/>
              <p:nvPr/>
            </p:nvSpPr>
            <p:spPr>
              <a:xfrm>
                <a:off x="8699890" y="3097718"/>
                <a:ext cx="11907" cy="37101"/>
              </a:xfrm>
              <a:custGeom>
                <a:avLst/>
                <a:gdLst>
                  <a:gd name="connsiteX0" fmla="*/ 0 w 9525"/>
                  <a:gd name="connsiteY0" fmla="*/ 37101 h 37101"/>
                  <a:gd name="connsiteX1" fmla="*/ 0 w 9525"/>
                  <a:gd name="connsiteY1" fmla="*/ 0 h 37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37101">
                    <a:moveTo>
                      <a:pt x="0" y="37101"/>
                    </a:moveTo>
                    <a:lnTo>
                      <a:pt x="0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83008069-2666-75BB-2313-654ADA9B82FE}"/>
                  </a:ext>
                </a:extLst>
              </p:cNvPr>
              <p:cNvGrpSpPr/>
              <p:nvPr/>
            </p:nvGrpSpPr>
            <p:grpSpPr>
              <a:xfrm>
                <a:off x="934129" y="1083378"/>
                <a:ext cx="7871733" cy="2015921"/>
                <a:chOff x="934129" y="1044633"/>
                <a:chExt cx="7871733" cy="2212748"/>
              </a:xfrm>
            </p:grpSpPr>
            <p:grpSp>
              <p:nvGrpSpPr>
                <p:cNvPr id="72" name="Graphic 19">
                  <a:extLst>
                    <a:ext uri="{FF2B5EF4-FFF2-40B4-BE49-F238E27FC236}">
                      <a16:creationId xmlns:a16="http://schemas.microsoft.com/office/drawing/2014/main" id="{30FDCB40-8ECD-5DAD-9E86-C13723085CA9}"/>
                    </a:ext>
                  </a:extLst>
                </p:cNvPr>
                <p:cNvGrpSpPr/>
                <p:nvPr/>
              </p:nvGrpSpPr>
              <p:grpSpPr>
                <a:xfrm>
                  <a:off x="1090110" y="1091247"/>
                  <a:ext cx="7029907" cy="1037880"/>
                  <a:chOff x="9618980" y="-144055"/>
                  <a:chExt cx="5623560" cy="1037880"/>
                </a:xfrm>
                <a:noFill/>
              </p:grpSpPr>
              <p:grpSp>
                <p:nvGrpSpPr>
                  <p:cNvPr id="1161" name="Graphic 19">
                    <a:extLst>
                      <a:ext uri="{FF2B5EF4-FFF2-40B4-BE49-F238E27FC236}">
                        <a16:creationId xmlns:a16="http://schemas.microsoft.com/office/drawing/2014/main" id="{FDEF241C-9455-AF65-0F7E-99F01A2133AE}"/>
                      </a:ext>
                    </a:extLst>
                  </p:cNvPr>
                  <p:cNvGrpSpPr/>
                  <p:nvPr/>
                </p:nvGrpSpPr>
                <p:grpSpPr>
                  <a:xfrm>
                    <a:off x="10192385" y="-126931"/>
                    <a:ext cx="5050155" cy="1020756"/>
                    <a:chOff x="10192385" y="-126931"/>
                    <a:chExt cx="5050155" cy="1020756"/>
                  </a:xfrm>
                </p:grpSpPr>
                <p:grpSp>
                  <p:nvGrpSpPr>
                    <p:cNvPr id="1163" name="Graphic 19">
                      <a:extLst>
                        <a:ext uri="{FF2B5EF4-FFF2-40B4-BE49-F238E27FC236}">
                          <a16:creationId xmlns:a16="http://schemas.microsoft.com/office/drawing/2014/main" id="{D6946C41-AF03-C63D-38DA-DE649E87F5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192385" y="-126931"/>
                      <a:ext cx="62864" cy="62786"/>
                      <a:chOff x="10192385" y="-126931"/>
                      <a:chExt cx="62864" cy="62786"/>
                    </a:xfrm>
                  </p:grpSpPr>
                  <p:sp>
                    <p:nvSpPr>
                      <p:cNvPr id="1698" name="Freeform 28">
                        <a:extLst>
                          <a:ext uri="{FF2B5EF4-FFF2-40B4-BE49-F238E27FC236}">
                            <a16:creationId xmlns:a16="http://schemas.microsoft.com/office/drawing/2014/main" id="{CD679032-6BD6-FB6F-4F1E-2ECB63E6CB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92385" y="-9553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9" name="Freeform 29">
                        <a:extLst>
                          <a:ext uri="{FF2B5EF4-FFF2-40B4-BE49-F238E27FC236}">
                            <a16:creationId xmlns:a16="http://schemas.microsoft.com/office/drawing/2014/main" id="{EE9AEFB8-57B4-5A1F-2D64-1A4A54D2E7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23818" y="-12693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4" name="Graphic 19">
                      <a:extLst>
                        <a:ext uri="{FF2B5EF4-FFF2-40B4-BE49-F238E27FC236}">
                          <a16:creationId xmlns:a16="http://schemas.microsoft.com/office/drawing/2014/main" id="{85451C0F-3167-3B99-696D-2CA070D374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35260" y="-97441"/>
                      <a:ext cx="62864" cy="63737"/>
                      <a:chOff x="10335260" y="-97441"/>
                      <a:chExt cx="62864" cy="63737"/>
                    </a:xfrm>
                  </p:grpSpPr>
                  <p:sp>
                    <p:nvSpPr>
                      <p:cNvPr id="1696" name="Freeform 31">
                        <a:extLst>
                          <a:ext uri="{FF2B5EF4-FFF2-40B4-BE49-F238E27FC236}">
                            <a16:creationId xmlns:a16="http://schemas.microsoft.com/office/drawing/2014/main" id="{C78E0215-8DAC-D7BC-9D83-1821EA839C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35260" y="-6509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7" name="Freeform 32">
                        <a:extLst>
                          <a:ext uri="{FF2B5EF4-FFF2-40B4-BE49-F238E27FC236}">
                            <a16:creationId xmlns:a16="http://schemas.microsoft.com/office/drawing/2014/main" id="{6F41EBC5-F743-51FE-7C25-D18C0F2A47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66693" y="-974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5" name="Graphic 19">
                      <a:extLst>
                        <a:ext uri="{FF2B5EF4-FFF2-40B4-BE49-F238E27FC236}">
                          <a16:creationId xmlns:a16="http://schemas.microsoft.com/office/drawing/2014/main" id="{860B69B8-E8DE-430F-E79D-0D9BA195203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47643" y="-97441"/>
                      <a:ext cx="63817" cy="63737"/>
                      <a:chOff x="10347643" y="-97441"/>
                      <a:chExt cx="63817" cy="63737"/>
                    </a:xfrm>
                  </p:grpSpPr>
                  <p:sp>
                    <p:nvSpPr>
                      <p:cNvPr id="1694" name="Freeform 34">
                        <a:extLst>
                          <a:ext uri="{FF2B5EF4-FFF2-40B4-BE49-F238E27FC236}">
                            <a16:creationId xmlns:a16="http://schemas.microsoft.com/office/drawing/2014/main" id="{79ACE78E-94E9-7308-D2DA-090B802201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47643" y="-6509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5" name="Freeform 37">
                        <a:extLst>
                          <a:ext uri="{FF2B5EF4-FFF2-40B4-BE49-F238E27FC236}">
                            <a16:creationId xmlns:a16="http://schemas.microsoft.com/office/drawing/2014/main" id="{B1E068BA-81B7-B822-AA14-3B44D2A520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80028" y="-974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6" name="Graphic 19">
                      <a:extLst>
                        <a:ext uri="{FF2B5EF4-FFF2-40B4-BE49-F238E27FC236}">
                          <a16:creationId xmlns:a16="http://schemas.microsoft.com/office/drawing/2014/main" id="{9F60CF44-0719-6338-57E6-CF3009A9F3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63848" y="-90782"/>
                      <a:ext cx="62864" cy="63737"/>
                      <a:chOff x="10463848" y="-90782"/>
                      <a:chExt cx="62864" cy="63737"/>
                    </a:xfrm>
                  </p:grpSpPr>
                  <p:sp>
                    <p:nvSpPr>
                      <p:cNvPr id="1692" name="Freeform 40">
                        <a:extLst>
                          <a:ext uri="{FF2B5EF4-FFF2-40B4-BE49-F238E27FC236}">
                            <a16:creationId xmlns:a16="http://schemas.microsoft.com/office/drawing/2014/main" id="{7D7DA682-C6D4-B351-387E-8CF28B19BA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63848" y="-5938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3" name="Freeform 41">
                        <a:extLst>
                          <a:ext uri="{FF2B5EF4-FFF2-40B4-BE49-F238E27FC236}">
                            <a16:creationId xmlns:a16="http://schemas.microsoft.com/office/drawing/2014/main" id="{87A6C604-D802-2948-588B-8DFD6C21EA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95280" y="-9078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7" name="Graphic 19">
                      <a:extLst>
                        <a:ext uri="{FF2B5EF4-FFF2-40B4-BE49-F238E27FC236}">
                          <a16:creationId xmlns:a16="http://schemas.microsoft.com/office/drawing/2014/main" id="{E6FCC4B5-D18A-52E7-B177-43474F0DCE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536238" y="-90782"/>
                      <a:ext cx="62864" cy="63737"/>
                      <a:chOff x="10536238" y="-90782"/>
                      <a:chExt cx="62864" cy="63737"/>
                    </a:xfrm>
                  </p:grpSpPr>
                  <p:sp>
                    <p:nvSpPr>
                      <p:cNvPr id="1690" name="Freeform 43">
                        <a:extLst>
                          <a:ext uri="{FF2B5EF4-FFF2-40B4-BE49-F238E27FC236}">
                            <a16:creationId xmlns:a16="http://schemas.microsoft.com/office/drawing/2014/main" id="{93DE65FA-E49E-3E3E-47F9-C476B5C86A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36238" y="-5938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91" name="Freeform 48">
                        <a:extLst>
                          <a:ext uri="{FF2B5EF4-FFF2-40B4-BE49-F238E27FC236}">
                            <a16:creationId xmlns:a16="http://schemas.microsoft.com/office/drawing/2014/main" id="{DC115FBB-74CA-C7F4-B0C0-76E1380D5A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67670" y="-9078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8" name="Graphic 19">
                      <a:extLst>
                        <a:ext uri="{FF2B5EF4-FFF2-40B4-BE49-F238E27FC236}">
                          <a16:creationId xmlns:a16="http://schemas.microsoft.com/office/drawing/2014/main" id="{F1D83408-0BDA-ADE9-BC83-74F4AAA375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766743" y="-68901"/>
                      <a:ext cx="63817" cy="63737"/>
                      <a:chOff x="10766743" y="-68901"/>
                      <a:chExt cx="63817" cy="63737"/>
                    </a:xfrm>
                  </p:grpSpPr>
                  <p:sp>
                    <p:nvSpPr>
                      <p:cNvPr id="1688" name="Freeform 51">
                        <a:extLst>
                          <a:ext uri="{FF2B5EF4-FFF2-40B4-BE49-F238E27FC236}">
                            <a16:creationId xmlns:a16="http://schemas.microsoft.com/office/drawing/2014/main" id="{2F2D9DAB-7D0B-BB8B-82BC-764ECD9583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66743" y="-375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9" name="Freeform 52">
                        <a:extLst>
                          <a:ext uri="{FF2B5EF4-FFF2-40B4-BE49-F238E27FC236}">
                            <a16:creationId xmlns:a16="http://schemas.microsoft.com/office/drawing/2014/main" id="{28161499-2CD9-1FB0-0A6A-4E3A539189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99128" y="-6890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9" name="Graphic 19">
                      <a:extLst>
                        <a:ext uri="{FF2B5EF4-FFF2-40B4-BE49-F238E27FC236}">
                          <a16:creationId xmlns:a16="http://schemas.microsoft.com/office/drawing/2014/main" id="{BA5A9330-0CD0-AFE2-F699-53E49D94D82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40110" y="-45119"/>
                      <a:ext cx="62864" cy="62786"/>
                      <a:chOff x="11040110" y="-45119"/>
                      <a:chExt cx="62864" cy="62786"/>
                    </a:xfrm>
                  </p:grpSpPr>
                  <p:sp>
                    <p:nvSpPr>
                      <p:cNvPr id="1686" name="Freeform 54">
                        <a:extLst>
                          <a:ext uri="{FF2B5EF4-FFF2-40B4-BE49-F238E27FC236}">
                            <a16:creationId xmlns:a16="http://schemas.microsoft.com/office/drawing/2014/main" id="{2C8E037B-8479-3F88-4F30-61BC70231D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40110" y="-1372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7" name="Freeform 55">
                        <a:extLst>
                          <a:ext uri="{FF2B5EF4-FFF2-40B4-BE49-F238E27FC236}">
                            <a16:creationId xmlns:a16="http://schemas.microsoft.com/office/drawing/2014/main" id="{4D46AEA8-B3C6-5236-9F6E-823E08200E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71543" y="-4511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0" name="Graphic 19">
                      <a:extLst>
                        <a:ext uri="{FF2B5EF4-FFF2-40B4-BE49-F238E27FC236}">
                          <a16:creationId xmlns:a16="http://schemas.microsoft.com/office/drawing/2014/main" id="{9A3D5292-BCE6-AB2B-1ABE-70509CEDCD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52505" y="-45119"/>
                      <a:ext cx="62865" cy="62786"/>
                      <a:chOff x="11152505" y="-45119"/>
                      <a:chExt cx="62865" cy="62786"/>
                    </a:xfrm>
                  </p:grpSpPr>
                  <p:sp>
                    <p:nvSpPr>
                      <p:cNvPr id="1684" name="Freeform 57">
                        <a:extLst>
                          <a:ext uri="{FF2B5EF4-FFF2-40B4-BE49-F238E27FC236}">
                            <a16:creationId xmlns:a16="http://schemas.microsoft.com/office/drawing/2014/main" id="{536C22BC-7856-258E-1C9F-E6D0A0797D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52505" y="-137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5" name="Freeform 58">
                        <a:extLst>
                          <a:ext uri="{FF2B5EF4-FFF2-40B4-BE49-F238E27FC236}">
                            <a16:creationId xmlns:a16="http://schemas.microsoft.com/office/drawing/2014/main" id="{5998BC86-964C-E628-1C1E-5305921343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83938" y="-4511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1" name="Graphic 19">
                      <a:extLst>
                        <a:ext uri="{FF2B5EF4-FFF2-40B4-BE49-F238E27FC236}">
                          <a16:creationId xmlns:a16="http://schemas.microsoft.com/office/drawing/2014/main" id="{83ADFBE1-9B38-287B-FDF9-4B796D07E53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75365" y="-38459"/>
                      <a:ext cx="63817" cy="62786"/>
                      <a:chOff x="11175365" y="-38459"/>
                      <a:chExt cx="63817" cy="62786"/>
                    </a:xfrm>
                  </p:grpSpPr>
                  <p:sp>
                    <p:nvSpPr>
                      <p:cNvPr id="1682" name="Freeform 60">
                        <a:extLst>
                          <a:ext uri="{FF2B5EF4-FFF2-40B4-BE49-F238E27FC236}">
                            <a16:creationId xmlns:a16="http://schemas.microsoft.com/office/drawing/2014/main" id="{49910BB1-3406-93B4-7FA4-D9B8250DD4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75365" y="-70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3" name="Freeform 61">
                        <a:extLst>
                          <a:ext uri="{FF2B5EF4-FFF2-40B4-BE49-F238E27FC236}">
                            <a16:creationId xmlns:a16="http://schemas.microsoft.com/office/drawing/2014/main" id="{7D60FAF3-1EC7-5B95-022E-149058BFC3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6798" y="-3845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2" name="Graphic 19">
                      <a:extLst>
                        <a:ext uri="{FF2B5EF4-FFF2-40B4-BE49-F238E27FC236}">
                          <a16:creationId xmlns:a16="http://schemas.microsoft.com/office/drawing/2014/main" id="{F7FA9F9E-B3A1-D51A-0FB5-6091D1A23A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80128" y="-25141"/>
                      <a:ext cx="63817" cy="62786"/>
                      <a:chOff x="11180128" y="-25141"/>
                      <a:chExt cx="63817" cy="62786"/>
                    </a:xfrm>
                  </p:grpSpPr>
                  <p:sp>
                    <p:nvSpPr>
                      <p:cNvPr id="1680" name="Freeform 63">
                        <a:extLst>
                          <a:ext uri="{FF2B5EF4-FFF2-40B4-BE49-F238E27FC236}">
                            <a16:creationId xmlns:a16="http://schemas.microsoft.com/office/drawing/2014/main" id="{2C3D6E88-9E03-74B2-DE44-9F71F3B1D2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80128" y="625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81" name="Freeform 64">
                        <a:extLst>
                          <a:ext uri="{FF2B5EF4-FFF2-40B4-BE49-F238E27FC236}">
                            <a16:creationId xmlns:a16="http://schemas.microsoft.com/office/drawing/2014/main" id="{3CC4D0CB-DDF8-5F97-A721-24762CD1DC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12513" y="-251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3" name="Graphic 19">
                      <a:extLst>
                        <a:ext uri="{FF2B5EF4-FFF2-40B4-BE49-F238E27FC236}">
                          <a16:creationId xmlns:a16="http://schemas.microsoft.com/office/drawing/2014/main" id="{FFF024C7-1C51-2FB8-C231-D6A9895CC4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60138" y="6251"/>
                      <a:ext cx="62864" cy="63737"/>
                      <a:chOff x="11260138" y="6251"/>
                      <a:chExt cx="62864" cy="63737"/>
                    </a:xfrm>
                  </p:grpSpPr>
                  <p:sp>
                    <p:nvSpPr>
                      <p:cNvPr id="1678" name="Freeform 66">
                        <a:extLst>
                          <a:ext uri="{FF2B5EF4-FFF2-40B4-BE49-F238E27FC236}">
                            <a16:creationId xmlns:a16="http://schemas.microsoft.com/office/drawing/2014/main" id="{7538AC6B-D6E4-48FA-F9B5-AA6987984E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60138" y="3764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9" name="Freeform 67">
                        <a:extLst>
                          <a:ext uri="{FF2B5EF4-FFF2-40B4-BE49-F238E27FC236}">
                            <a16:creationId xmlns:a16="http://schemas.microsoft.com/office/drawing/2014/main" id="{A3CFEA21-F319-AC1F-AD80-798AD251DC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91570" y="62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4" name="Graphic 19">
                      <a:extLst>
                        <a:ext uri="{FF2B5EF4-FFF2-40B4-BE49-F238E27FC236}">
                          <a16:creationId xmlns:a16="http://schemas.microsoft.com/office/drawing/2014/main" id="{C3FCDE0B-60A3-9FB0-7405-C3E517DC4C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74425" y="6251"/>
                      <a:ext cx="63817" cy="63737"/>
                      <a:chOff x="11274425" y="6251"/>
                      <a:chExt cx="63817" cy="63737"/>
                    </a:xfrm>
                  </p:grpSpPr>
                  <p:sp>
                    <p:nvSpPr>
                      <p:cNvPr id="1676" name="Freeform 69">
                        <a:extLst>
                          <a:ext uri="{FF2B5EF4-FFF2-40B4-BE49-F238E27FC236}">
                            <a16:creationId xmlns:a16="http://schemas.microsoft.com/office/drawing/2014/main" id="{D27609B8-78C0-7B42-E7D3-1D6B07A999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74425" y="3764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7" name="Freeform 70">
                        <a:extLst>
                          <a:ext uri="{FF2B5EF4-FFF2-40B4-BE49-F238E27FC236}">
                            <a16:creationId xmlns:a16="http://schemas.microsoft.com/office/drawing/2014/main" id="{F072F07E-0A63-8B40-1672-20FFBE4673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06810" y="62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5" name="Graphic 19">
                      <a:extLst>
                        <a:ext uri="{FF2B5EF4-FFF2-40B4-BE49-F238E27FC236}">
                          <a16:creationId xmlns:a16="http://schemas.microsoft.com/office/drawing/2014/main" id="{7E50242B-68F4-7458-8032-5CFE0E5720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48733" y="21472"/>
                      <a:ext cx="63817" cy="63737"/>
                      <a:chOff x="11448733" y="21472"/>
                      <a:chExt cx="63817" cy="63737"/>
                    </a:xfrm>
                  </p:grpSpPr>
                  <p:sp>
                    <p:nvSpPr>
                      <p:cNvPr id="1674" name="Freeform 72">
                        <a:extLst>
                          <a:ext uri="{FF2B5EF4-FFF2-40B4-BE49-F238E27FC236}">
                            <a16:creationId xmlns:a16="http://schemas.microsoft.com/office/drawing/2014/main" id="{72392864-80FB-BE84-972A-8430D5FD0B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48733" y="53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5" name="Freeform 73">
                        <a:extLst>
                          <a:ext uri="{FF2B5EF4-FFF2-40B4-BE49-F238E27FC236}">
                            <a16:creationId xmlns:a16="http://schemas.microsoft.com/office/drawing/2014/main" id="{E7A6EB97-485B-C71F-0253-B40033C9FA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81118" y="214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6" name="Graphic 19">
                      <a:extLst>
                        <a:ext uri="{FF2B5EF4-FFF2-40B4-BE49-F238E27FC236}">
                          <a16:creationId xmlns:a16="http://schemas.microsoft.com/office/drawing/2014/main" id="{AAF2229D-9779-BA8E-EEDB-170A3DC4F66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54448" y="21472"/>
                      <a:ext cx="62865" cy="63737"/>
                      <a:chOff x="11454448" y="21472"/>
                      <a:chExt cx="62865" cy="63737"/>
                    </a:xfrm>
                  </p:grpSpPr>
                  <p:sp>
                    <p:nvSpPr>
                      <p:cNvPr id="1672" name="Freeform 75">
                        <a:extLst>
                          <a:ext uri="{FF2B5EF4-FFF2-40B4-BE49-F238E27FC236}">
                            <a16:creationId xmlns:a16="http://schemas.microsoft.com/office/drawing/2014/main" id="{FA5EEBF4-F516-9AB4-D141-F407C2B204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54448" y="53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3" name="Freeform 76">
                        <a:extLst>
                          <a:ext uri="{FF2B5EF4-FFF2-40B4-BE49-F238E27FC236}">
                            <a16:creationId xmlns:a16="http://schemas.microsoft.com/office/drawing/2014/main" id="{78437A50-0F1C-607C-BDAD-8D08E796DB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85880" y="214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7" name="Graphic 19">
                      <a:extLst>
                        <a:ext uri="{FF2B5EF4-FFF2-40B4-BE49-F238E27FC236}">
                          <a16:creationId xmlns:a16="http://schemas.microsoft.com/office/drawing/2014/main" id="{D4D0F9BD-D389-CD02-5ABB-F00AB851515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74450" y="21472"/>
                      <a:ext cx="63817" cy="63737"/>
                      <a:chOff x="11474450" y="21472"/>
                      <a:chExt cx="63817" cy="63737"/>
                    </a:xfrm>
                  </p:grpSpPr>
                  <p:sp>
                    <p:nvSpPr>
                      <p:cNvPr id="1670" name="Freeform 78">
                        <a:extLst>
                          <a:ext uri="{FF2B5EF4-FFF2-40B4-BE49-F238E27FC236}">
                            <a16:creationId xmlns:a16="http://schemas.microsoft.com/office/drawing/2014/main" id="{996FA576-BD3C-17CD-A569-4960447A55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74450" y="53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71" name="Freeform 79">
                        <a:extLst>
                          <a:ext uri="{FF2B5EF4-FFF2-40B4-BE49-F238E27FC236}">
                            <a16:creationId xmlns:a16="http://schemas.microsoft.com/office/drawing/2014/main" id="{94A76EF6-8DCC-7248-5140-6E8F4B4D94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05883" y="214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8" name="Graphic 19">
                      <a:extLst>
                        <a:ext uri="{FF2B5EF4-FFF2-40B4-BE49-F238E27FC236}">
                          <a16:creationId xmlns:a16="http://schemas.microsoft.com/office/drawing/2014/main" id="{E542F24A-920B-8FCE-51EA-C7DC4975FEE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795443" y="65232"/>
                      <a:ext cx="63817" cy="62786"/>
                      <a:chOff x="11795443" y="65232"/>
                      <a:chExt cx="63817" cy="62786"/>
                    </a:xfrm>
                  </p:grpSpPr>
                  <p:sp>
                    <p:nvSpPr>
                      <p:cNvPr id="1668" name="Freeform 81">
                        <a:extLst>
                          <a:ext uri="{FF2B5EF4-FFF2-40B4-BE49-F238E27FC236}">
                            <a16:creationId xmlns:a16="http://schemas.microsoft.com/office/drawing/2014/main" id="{6F600B70-B352-D659-F100-3DC60A91F2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95443" y="9662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9" name="Freeform 82">
                        <a:extLst>
                          <a:ext uri="{FF2B5EF4-FFF2-40B4-BE49-F238E27FC236}">
                            <a16:creationId xmlns:a16="http://schemas.microsoft.com/office/drawing/2014/main" id="{E317317D-5D2F-39C0-99BD-C990BC9B13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26875" y="652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9" name="Graphic 19">
                      <a:extLst>
                        <a:ext uri="{FF2B5EF4-FFF2-40B4-BE49-F238E27FC236}">
                          <a16:creationId xmlns:a16="http://schemas.microsoft.com/office/drawing/2014/main" id="{9C2C376D-2903-386A-D8BA-7A54FB9BDF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841163" y="65232"/>
                      <a:ext cx="62865" cy="62786"/>
                      <a:chOff x="11841163" y="65232"/>
                      <a:chExt cx="62865" cy="62786"/>
                    </a:xfrm>
                  </p:grpSpPr>
                  <p:sp>
                    <p:nvSpPr>
                      <p:cNvPr id="1666" name="Freeform 84">
                        <a:extLst>
                          <a:ext uri="{FF2B5EF4-FFF2-40B4-BE49-F238E27FC236}">
                            <a16:creationId xmlns:a16="http://schemas.microsoft.com/office/drawing/2014/main" id="{ADA71FEA-B77E-50B7-D96F-5329F1A765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41163" y="9662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7" name="Freeform 85">
                        <a:extLst>
                          <a:ext uri="{FF2B5EF4-FFF2-40B4-BE49-F238E27FC236}">
                            <a16:creationId xmlns:a16="http://schemas.microsoft.com/office/drawing/2014/main" id="{033D8F54-5F90-70E0-A5EF-5C3A14E88F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72595" y="652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0" name="Graphic 19">
                      <a:extLst>
                        <a:ext uri="{FF2B5EF4-FFF2-40B4-BE49-F238E27FC236}">
                          <a16:creationId xmlns:a16="http://schemas.microsoft.com/office/drawing/2014/main" id="{0A43E53D-C71D-6E1E-8ABC-0A937B02314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20233" y="83307"/>
                      <a:ext cx="63817" cy="63737"/>
                      <a:chOff x="12020233" y="83307"/>
                      <a:chExt cx="63817" cy="63737"/>
                    </a:xfrm>
                  </p:grpSpPr>
                  <p:sp>
                    <p:nvSpPr>
                      <p:cNvPr id="1664" name="Freeform 87">
                        <a:extLst>
                          <a:ext uri="{FF2B5EF4-FFF2-40B4-BE49-F238E27FC236}">
                            <a16:creationId xmlns:a16="http://schemas.microsoft.com/office/drawing/2014/main" id="{5B576A98-A042-933B-930A-77ADDDD2B9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20233" y="11470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5" name="Freeform 88">
                        <a:extLst>
                          <a:ext uri="{FF2B5EF4-FFF2-40B4-BE49-F238E27FC236}">
                            <a16:creationId xmlns:a16="http://schemas.microsoft.com/office/drawing/2014/main" id="{84278372-0FCF-E238-3E3E-6CD9916EC2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52618" y="8330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1" name="Graphic 19">
                      <a:extLst>
                        <a:ext uri="{FF2B5EF4-FFF2-40B4-BE49-F238E27FC236}">
                          <a16:creationId xmlns:a16="http://schemas.microsoft.com/office/drawing/2014/main" id="{67159035-8320-DAEB-D263-04B7A17F089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198350" y="108041"/>
                      <a:ext cx="62865" cy="63737"/>
                      <a:chOff x="12198350" y="108041"/>
                      <a:chExt cx="62865" cy="63737"/>
                    </a:xfrm>
                  </p:grpSpPr>
                  <p:sp>
                    <p:nvSpPr>
                      <p:cNvPr id="1662" name="Freeform 90">
                        <a:extLst>
                          <a:ext uri="{FF2B5EF4-FFF2-40B4-BE49-F238E27FC236}">
                            <a16:creationId xmlns:a16="http://schemas.microsoft.com/office/drawing/2014/main" id="{67415CF9-6E86-B8BE-49D3-23A4379A27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98350" y="14038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3" name="Freeform 91">
                        <a:extLst>
                          <a:ext uri="{FF2B5EF4-FFF2-40B4-BE49-F238E27FC236}">
                            <a16:creationId xmlns:a16="http://schemas.microsoft.com/office/drawing/2014/main" id="{14F34810-9EE6-7829-2171-FA0D85B5BF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29783" y="1080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2" name="Graphic 19">
                      <a:extLst>
                        <a:ext uri="{FF2B5EF4-FFF2-40B4-BE49-F238E27FC236}">
                          <a16:creationId xmlns:a16="http://schemas.microsoft.com/office/drawing/2014/main" id="{B6DAF044-6ADB-CEB1-2DC5-B290E8D039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223115" y="108041"/>
                      <a:ext cx="62864" cy="63737"/>
                      <a:chOff x="12223115" y="108041"/>
                      <a:chExt cx="62864" cy="63737"/>
                    </a:xfrm>
                  </p:grpSpPr>
                  <p:sp>
                    <p:nvSpPr>
                      <p:cNvPr id="1660" name="Freeform 93">
                        <a:extLst>
                          <a:ext uri="{FF2B5EF4-FFF2-40B4-BE49-F238E27FC236}">
                            <a16:creationId xmlns:a16="http://schemas.microsoft.com/office/drawing/2014/main" id="{0B264F4D-143E-3653-CE3D-3544261C50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23115" y="14038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61" name="Freeform 94">
                        <a:extLst>
                          <a:ext uri="{FF2B5EF4-FFF2-40B4-BE49-F238E27FC236}">
                            <a16:creationId xmlns:a16="http://schemas.microsoft.com/office/drawing/2014/main" id="{0F2AE45A-4724-20C1-0772-5F7884A4BE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54548" y="1080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3" name="Graphic 19">
                      <a:extLst>
                        <a:ext uri="{FF2B5EF4-FFF2-40B4-BE49-F238E27FC236}">
                          <a16:creationId xmlns:a16="http://schemas.microsoft.com/office/drawing/2014/main" id="{7FD4F2E0-A3B4-5D85-6349-17BD42581D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225020" y="108041"/>
                      <a:ext cx="63817" cy="63737"/>
                      <a:chOff x="12225020" y="108041"/>
                      <a:chExt cx="63817" cy="63737"/>
                    </a:xfrm>
                  </p:grpSpPr>
                  <p:sp>
                    <p:nvSpPr>
                      <p:cNvPr id="1658" name="Freeform 96">
                        <a:extLst>
                          <a:ext uri="{FF2B5EF4-FFF2-40B4-BE49-F238E27FC236}">
                            <a16:creationId xmlns:a16="http://schemas.microsoft.com/office/drawing/2014/main" id="{B0A2B095-4783-059F-5A1D-32C3122ABC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25020" y="14038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9" name="Freeform 97">
                        <a:extLst>
                          <a:ext uri="{FF2B5EF4-FFF2-40B4-BE49-F238E27FC236}">
                            <a16:creationId xmlns:a16="http://schemas.microsoft.com/office/drawing/2014/main" id="{D6C1B465-2867-3303-C805-468EE68FF0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56453" y="10804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4" name="Graphic 19">
                      <a:extLst>
                        <a:ext uri="{FF2B5EF4-FFF2-40B4-BE49-F238E27FC236}">
                          <a16:creationId xmlns:a16="http://schemas.microsoft.com/office/drawing/2014/main" id="{022F2276-F539-AE1A-D209-A09FC96C6C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276455" y="117555"/>
                      <a:ext cx="62865" cy="62786"/>
                      <a:chOff x="12276455" y="117555"/>
                      <a:chExt cx="62865" cy="62786"/>
                    </a:xfrm>
                  </p:grpSpPr>
                  <p:sp>
                    <p:nvSpPr>
                      <p:cNvPr id="1656" name="Freeform 99">
                        <a:extLst>
                          <a:ext uri="{FF2B5EF4-FFF2-40B4-BE49-F238E27FC236}">
                            <a16:creationId xmlns:a16="http://schemas.microsoft.com/office/drawing/2014/main" id="{48C7BFAF-BDA8-81BF-41AB-C3CDF1CFE4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276455" y="14894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7" name="Freeform 100">
                        <a:extLst>
                          <a:ext uri="{FF2B5EF4-FFF2-40B4-BE49-F238E27FC236}">
                            <a16:creationId xmlns:a16="http://schemas.microsoft.com/office/drawing/2014/main" id="{BC6FF77B-A90C-215F-49F6-9C9703D062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07888" y="11755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5" name="Graphic 19">
                      <a:extLst>
                        <a:ext uri="{FF2B5EF4-FFF2-40B4-BE49-F238E27FC236}">
                          <a16:creationId xmlns:a16="http://schemas.microsoft.com/office/drawing/2014/main" id="{03E05372-22A6-11C6-0B45-2CAA00EF42D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50750" y="137532"/>
                      <a:ext cx="62865" cy="63737"/>
                      <a:chOff x="12350750" y="137532"/>
                      <a:chExt cx="62865" cy="63737"/>
                    </a:xfrm>
                  </p:grpSpPr>
                  <p:sp>
                    <p:nvSpPr>
                      <p:cNvPr id="1654" name="Freeform 102">
                        <a:extLst>
                          <a:ext uri="{FF2B5EF4-FFF2-40B4-BE49-F238E27FC236}">
                            <a16:creationId xmlns:a16="http://schemas.microsoft.com/office/drawing/2014/main" id="{969D9D5E-2C8A-A8FC-C979-C400704AC6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50750" y="1689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5" name="Freeform 103">
                        <a:extLst>
                          <a:ext uri="{FF2B5EF4-FFF2-40B4-BE49-F238E27FC236}">
                            <a16:creationId xmlns:a16="http://schemas.microsoft.com/office/drawing/2014/main" id="{07381CB7-FBA1-B2EF-DC8C-89FCFFEF3D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82183" y="13753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6" name="Graphic 19">
                      <a:extLst>
                        <a:ext uri="{FF2B5EF4-FFF2-40B4-BE49-F238E27FC236}">
                          <a16:creationId xmlns:a16="http://schemas.microsoft.com/office/drawing/2014/main" id="{05D81D82-1975-DBC9-A780-99A15C7A7B9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08865" y="177487"/>
                      <a:ext cx="63817" cy="62786"/>
                      <a:chOff x="12508865" y="177487"/>
                      <a:chExt cx="63817" cy="62786"/>
                    </a:xfrm>
                  </p:grpSpPr>
                  <p:sp>
                    <p:nvSpPr>
                      <p:cNvPr id="1652" name="Freeform 105">
                        <a:extLst>
                          <a:ext uri="{FF2B5EF4-FFF2-40B4-BE49-F238E27FC236}">
                            <a16:creationId xmlns:a16="http://schemas.microsoft.com/office/drawing/2014/main" id="{A5CF3A0E-52D4-6667-B3E3-448309904E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08865" y="20888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3" name="Freeform 106">
                        <a:extLst>
                          <a:ext uri="{FF2B5EF4-FFF2-40B4-BE49-F238E27FC236}">
                            <a16:creationId xmlns:a16="http://schemas.microsoft.com/office/drawing/2014/main" id="{5762351E-4AD6-5FA4-6EC4-35A360F5BA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41250" y="17748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7" name="Graphic 19">
                      <a:extLst>
                        <a:ext uri="{FF2B5EF4-FFF2-40B4-BE49-F238E27FC236}">
                          <a16:creationId xmlns:a16="http://schemas.microsoft.com/office/drawing/2014/main" id="{CF3D42BD-4838-3962-20DC-D686F04B055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512675" y="177487"/>
                      <a:ext cx="63817" cy="62786"/>
                      <a:chOff x="12512675" y="177487"/>
                      <a:chExt cx="63817" cy="62786"/>
                    </a:xfrm>
                  </p:grpSpPr>
                  <p:sp>
                    <p:nvSpPr>
                      <p:cNvPr id="1650" name="Freeform 108">
                        <a:extLst>
                          <a:ext uri="{FF2B5EF4-FFF2-40B4-BE49-F238E27FC236}">
                            <a16:creationId xmlns:a16="http://schemas.microsoft.com/office/drawing/2014/main" id="{6F9A0162-2F39-CBF5-F210-FDC102BC1A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12675" y="20888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51" name="Freeform 109">
                        <a:extLst>
                          <a:ext uri="{FF2B5EF4-FFF2-40B4-BE49-F238E27FC236}">
                            <a16:creationId xmlns:a16="http://schemas.microsoft.com/office/drawing/2014/main" id="{7A809E34-1441-FBB0-6671-143357FFF1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544108" y="17748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8" name="Graphic 19">
                      <a:extLst>
                        <a:ext uri="{FF2B5EF4-FFF2-40B4-BE49-F238E27FC236}">
                          <a16:creationId xmlns:a16="http://schemas.microsoft.com/office/drawing/2014/main" id="{1C143E60-3894-9BF7-E368-DC2154E111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67030" y="258349"/>
                      <a:ext cx="62865" cy="62786"/>
                      <a:chOff x="13067030" y="258349"/>
                      <a:chExt cx="62865" cy="62786"/>
                    </a:xfrm>
                  </p:grpSpPr>
                  <p:sp>
                    <p:nvSpPr>
                      <p:cNvPr id="1648" name="Freeform 111">
                        <a:extLst>
                          <a:ext uri="{FF2B5EF4-FFF2-40B4-BE49-F238E27FC236}">
                            <a16:creationId xmlns:a16="http://schemas.microsoft.com/office/drawing/2014/main" id="{131EE6D5-C8C7-B668-FA3A-5C72746FC7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67030" y="289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9" name="Freeform 112">
                        <a:extLst>
                          <a:ext uri="{FF2B5EF4-FFF2-40B4-BE49-F238E27FC236}">
                            <a16:creationId xmlns:a16="http://schemas.microsoft.com/office/drawing/2014/main" id="{6633A375-D770-B38F-280B-E589F49460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98463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9" name="Graphic 19">
                      <a:extLst>
                        <a:ext uri="{FF2B5EF4-FFF2-40B4-BE49-F238E27FC236}">
                          <a16:creationId xmlns:a16="http://schemas.microsoft.com/office/drawing/2014/main" id="{BF13FC38-63CF-17E7-3F06-08668002FEA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70840" y="258349"/>
                      <a:ext cx="62864" cy="62786"/>
                      <a:chOff x="13070840" y="258349"/>
                      <a:chExt cx="62864" cy="62786"/>
                    </a:xfrm>
                  </p:grpSpPr>
                  <p:sp>
                    <p:nvSpPr>
                      <p:cNvPr id="1646" name="Freeform 114">
                        <a:extLst>
                          <a:ext uri="{FF2B5EF4-FFF2-40B4-BE49-F238E27FC236}">
                            <a16:creationId xmlns:a16="http://schemas.microsoft.com/office/drawing/2014/main" id="{9B838B60-C5AB-D6AD-0A3F-B0CC7E1604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70840" y="28974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7" name="Freeform 115">
                        <a:extLst>
                          <a:ext uri="{FF2B5EF4-FFF2-40B4-BE49-F238E27FC236}">
                            <a16:creationId xmlns:a16="http://schemas.microsoft.com/office/drawing/2014/main" id="{176B6A83-CC36-C983-0B64-79918329A4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2273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0" name="Graphic 19">
                      <a:extLst>
                        <a:ext uri="{FF2B5EF4-FFF2-40B4-BE49-F238E27FC236}">
                          <a16:creationId xmlns:a16="http://schemas.microsoft.com/office/drawing/2014/main" id="{E9B5852C-CBCE-8081-1CC1-AF79CC4DA9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3223" y="258349"/>
                      <a:ext cx="62865" cy="62786"/>
                      <a:chOff x="13083223" y="258349"/>
                      <a:chExt cx="62865" cy="62786"/>
                    </a:xfrm>
                  </p:grpSpPr>
                  <p:sp>
                    <p:nvSpPr>
                      <p:cNvPr id="1644" name="Freeform 117">
                        <a:extLst>
                          <a:ext uri="{FF2B5EF4-FFF2-40B4-BE49-F238E27FC236}">
                            <a16:creationId xmlns:a16="http://schemas.microsoft.com/office/drawing/2014/main" id="{C323C746-2EB5-BE4F-3935-EB7C04B14A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3223" y="289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5" name="Freeform 118">
                        <a:extLst>
                          <a:ext uri="{FF2B5EF4-FFF2-40B4-BE49-F238E27FC236}">
                            <a16:creationId xmlns:a16="http://schemas.microsoft.com/office/drawing/2014/main" id="{7BD843CE-627F-97B5-4BFB-BB2DEB007D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4655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1" name="Graphic 19">
                      <a:extLst>
                        <a:ext uri="{FF2B5EF4-FFF2-40B4-BE49-F238E27FC236}">
                          <a16:creationId xmlns:a16="http://schemas.microsoft.com/office/drawing/2014/main" id="{3B5EC024-E1E5-22BF-912D-6A6414DF6B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6080" y="258349"/>
                      <a:ext cx="62865" cy="62786"/>
                      <a:chOff x="13086080" y="258349"/>
                      <a:chExt cx="62865" cy="62786"/>
                    </a:xfrm>
                  </p:grpSpPr>
                  <p:sp>
                    <p:nvSpPr>
                      <p:cNvPr id="1642" name="Freeform 120">
                        <a:extLst>
                          <a:ext uri="{FF2B5EF4-FFF2-40B4-BE49-F238E27FC236}">
                            <a16:creationId xmlns:a16="http://schemas.microsoft.com/office/drawing/2014/main" id="{B4FC9E27-C0C3-EF23-B1EA-EC6E10957E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6080" y="289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3" name="Freeform 121">
                        <a:extLst>
                          <a:ext uri="{FF2B5EF4-FFF2-40B4-BE49-F238E27FC236}">
                            <a16:creationId xmlns:a16="http://schemas.microsoft.com/office/drawing/2014/main" id="{D936B5D2-40FC-3461-A42D-29AFDDC7C0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7513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2" name="Graphic 19">
                      <a:extLst>
                        <a:ext uri="{FF2B5EF4-FFF2-40B4-BE49-F238E27FC236}">
                          <a16:creationId xmlns:a16="http://schemas.microsoft.com/office/drawing/2014/main" id="{844F0EC6-5D41-1E8E-0432-51EF71EB5ED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18465" y="258349"/>
                      <a:ext cx="63817" cy="62786"/>
                      <a:chOff x="13118465" y="258349"/>
                      <a:chExt cx="63817" cy="62786"/>
                    </a:xfrm>
                  </p:grpSpPr>
                  <p:sp>
                    <p:nvSpPr>
                      <p:cNvPr id="1640" name="Freeform 123">
                        <a:extLst>
                          <a:ext uri="{FF2B5EF4-FFF2-40B4-BE49-F238E27FC236}">
                            <a16:creationId xmlns:a16="http://schemas.microsoft.com/office/drawing/2014/main" id="{EEBCA64E-0EE9-82F4-B24A-ACD5AD7AB3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8465" y="28974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41" name="Freeform 124">
                        <a:extLst>
                          <a:ext uri="{FF2B5EF4-FFF2-40B4-BE49-F238E27FC236}">
                            <a16:creationId xmlns:a16="http://schemas.microsoft.com/office/drawing/2014/main" id="{C3DDC1C1-8BFC-5F2C-D4D2-9B5685D792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0850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3" name="Graphic 19">
                      <a:extLst>
                        <a:ext uri="{FF2B5EF4-FFF2-40B4-BE49-F238E27FC236}">
                          <a16:creationId xmlns:a16="http://schemas.microsoft.com/office/drawing/2014/main" id="{5D388C1F-4B16-EF0D-EF58-0163EAF5F5A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0373" y="258349"/>
                      <a:ext cx="63817" cy="62786"/>
                      <a:chOff x="13140373" y="258349"/>
                      <a:chExt cx="63817" cy="62786"/>
                    </a:xfrm>
                  </p:grpSpPr>
                  <p:sp>
                    <p:nvSpPr>
                      <p:cNvPr id="1638" name="Freeform 126">
                        <a:extLst>
                          <a:ext uri="{FF2B5EF4-FFF2-40B4-BE49-F238E27FC236}">
                            <a16:creationId xmlns:a16="http://schemas.microsoft.com/office/drawing/2014/main" id="{639893E0-E94C-AC9E-CFA5-40110DD016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0373" y="28974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9" name="Freeform 127">
                        <a:extLst>
                          <a:ext uri="{FF2B5EF4-FFF2-40B4-BE49-F238E27FC236}">
                            <a16:creationId xmlns:a16="http://schemas.microsoft.com/office/drawing/2014/main" id="{B81CEA8A-313C-6B8D-AC5E-E4069969B1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2758" y="258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4" name="Graphic 19">
                      <a:extLst>
                        <a:ext uri="{FF2B5EF4-FFF2-40B4-BE49-F238E27FC236}">
                          <a16:creationId xmlns:a16="http://schemas.microsoft.com/office/drawing/2014/main" id="{1F23F61B-7E1B-DA6D-D9D6-2B2B9ED209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6088" y="261203"/>
                      <a:ext cx="63817" cy="62786"/>
                      <a:chOff x="13146088" y="261203"/>
                      <a:chExt cx="63817" cy="62786"/>
                    </a:xfrm>
                  </p:grpSpPr>
                  <p:sp>
                    <p:nvSpPr>
                      <p:cNvPr id="1636" name="Freeform 129">
                        <a:extLst>
                          <a:ext uri="{FF2B5EF4-FFF2-40B4-BE49-F238E27FC236}">
                            <a16:creationId xmlns:a16="http://schemas.microsoft.com/office/drawing/2014/main" id="{6646DFD6-0109-9ACB-DF60-0B8943D0DB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6088" y="29259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7" name="Freeform 130">
                        <a:extLst>
                          <a:ext uri="{FF2B5EF4-FFF2-40B4-BE49-F238E27FC236}">
                            <a16:creationId xmlns:a16="http://schemas.microsoft.com/office/drawing/2014/main" id="{12D2AF99-BDFF-30D2-B774-8309C57BF4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8473" y="26120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5" name="Graphic 19">
                      <a:extLst>
                        <a:ext uri="{FF2B5EF4-FFF2-40B4-BE49-F238E27FC236}">
                          <a16:creationId xmlns:a16="http://schemas.microsoft.com/office/drawing/2014/main" id="{91E3E133-C716-7617-EE3A-0AC982A47E4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9898" y="269764"/>
                      <a:ext cx="63817" cy="62786"/>
                      <a:chOff x="13149898" y="269764"/>
                      <a:chExt cx="63817" cy="62786"/>
                    </a:xfrm>
                  </p:grpSpPr>
                  <p:sp>
                    <p:nvSpPr>
                      <p:cNvPr id="1634" name="Freeform 132">
                        <a:extLst>
                          <a:ext uri="{FF2B5EF4-FFF2-40B4-BE49-F238E27FC236}">
                            <a16:creationId xmlns:a16="http://schemas.microsoft.com/office/drawing/2014/main" id="{A60DF402-282E-95ED-DE1A-385152244A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9898" y="3011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5" name="Freeform 133">
                        <a:extLst>
                          <a:ext uri="{FF2B5EF4-FFF2-40B4-BE49-F238E27FC236}">
                            <a16:creationId xmlns:a16="http://schemas.microsoft.com/office/drawing/2014/main" id="{757B5083-B497-B158-DA83-A49740E565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1330" y="26976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6" name="Graphic 19">
                      <a:extLst>
                        <a:ext uri="{FF2B5EF4-FFF2-40B4-BE49-F238E27FC236}">
                          <a16:creationId xmlns:a16="http://schemas.microsoft.com/office/drawing/2014/main" id="{849F45F2-B79D-5C50-F187-C7061616C5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5138" y="272618"/>
                      <a:ext cx="63817" cy="62786"/>
                      <a:chOff x="13165138" y="272618"/>
                      <a:chExt cx="63817" cy="62786"/>
                    </a:xfrm>
                  </p:grpSpPr>
                  <p:sp>
                    <p:nvSpPr>
                      <p:cNvPr id="1632" name="Freeform 135">
                        <a:extLst>
                          <a:ext uri="{FF2B5EF4-FFF2-40B4-BE49-F238E27FC236}">
                            <a16:creationId xmlns:a16="http://schemas.microsoft.com/office/drawing/2014/main" id="{D33611DC-A58C-2C44-F448-3CDBB78C9A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5138" y="30401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3" name="Freeform 136">
                        <a:extLst>
                          <a:ext uri="{FF2B5EF4-FFF2-40B4-BE49-F238E27FC236}">
                            <a16:creationId xmlns:a16="http://schemas.microsoft.com/office/drawing/2014/main" id="{E77C2F2F-5680-440A-E966-64340A8B9B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6570" y="27261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7" name="Graphic 19">
                      <a:extLst>
                        <a:ext uri="{FF2B5EF4-FFF2-40B4-BE49-F238E27FC236}">
                          <a16:creationId xmlns:a16="http://schemas.microsoft.com/office/drawing/2014/main" id="{416BA34A-9665-6CDC-5638-A07ECDE551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71805" y="276423"/>
                      <a:ext cx="62865" cy="62786"/>
                      <a:chOff x="13171805" y="276423"/>
                      <a:chExt cx="62865" cy="62786"/>
                    </a:xfrm>
                  </p:grpSpPr>
                  <p:sp>
                    <p:nvSpPr>
                      <p:cNvPr id="1630" name="Freeform 138">
                        <a:extLst>
                          <a:ext uri="{FF2B5EF4-FFF2-40B4-BE49-F238E27FC236}">
                            <a16:creationId xmlns:a16="http://schemas.microsoft.com/office/drawing/2014/main" id="{6AED3C69-733C-F3D9-93D9-028F92B82E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1805" y="307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31" name="Freeform 139">
                        <a:extLst>
                          <a:ext uri="{FF2B5EF4-FFF2-40B4-BE49-F238E27FC236}">
                            <a16:creationId xmlns:a16="http://schemas.microsoft.com/office/drawing/2014/main" id="{24C14141-D453-AF6D-DCE6-0EC15E4F45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3238" y="276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8" name="Graphic 19">
                      <a:extLst>
                        <a:ext uri="{FF2B5EF4-FFF2-40B4-BE49-F238E27FC236}">
                          <a16:creationId xmlns:a16="http://schemas.microsoft.com/office/drawing/2014/main" id="{919B1151-A522-2073-82A7-7BEB5E68486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76568" y="280229"/>
                      <a:ext cx="63817" cy="63737"/>
                      <a:chOff x="13176568" y="280229"/>
                      <a:chExt cx="63817" cy="63737"/>
                    </a:xfrm>
                  </p:grpSpPr>
                  <p:sp>
                    <p:nvSpPr>
                      <p:cNvPr id="1628" name="Freeform 141">
                        <a:extLst>
                          <a:ext uri="{FF2B5EF4-FFF2-40B4-BE49-F238E27FC236}">
                            <a16:creationId xmlns:a16="http://schemas.microsoft.com/office/drawing/2014/main" id="{45A91710-7198-F94B-B9E1-89EB918E4B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6568" y="31257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9" name="Freeform 142">
                        <a:extLst>
                          <a:ext uri="{FF2B5EF4-FFF2-40B4-BE49-F238E27FC236}">
                            <a16:creationId xmlns:a16="http://schemas.microsoft.com/office/drawing/2014/main" id="{30743875-7211-E61A-9038-16BAD30797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8000" y="28022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9" name="Graphic 19">
                      <a:extLst>
                        <a:ext uri="{FF2B5EF4-FFF2-40B4-BE49-F238E27FC236}">
                          <a16:creationId xmlns:a16="http://schemas.microsoft.com/office/drawing/2014/main" id="{CE2DCCB8-3021-09EE-203B-EB78D1C8C56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81330" y="284985"/>
                      <a:ext cx="63817" cy="62786"/>
                      <a:chOff x="13181330" y="284985"/>
                      <a:chExt cx="63817" cy="62786"/>
                    </a:xfrm>
                  </p:grpSpPr>
                  <p:sp>
                    <p:nvSpPr>
                      <p:cNvPr id="1626" name="Freeform 144">
                        <a:extLst>
                          <a:ext uri="{FF2B5EF4-FFF2-40B4-BE49-F238E27FC236}">
                            <a16:creationId xmlns:a16="http://schemas.microsoft.com/office/drawing/2014/main" id="{00DDD9D3-FE35-3D5F-A258-5BF4F455A3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1330" y="31637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7" name="Freeform 145">
                        <a:extLst>
                          <a:ext uri="{FF2B5EF4-FFF2-40B4-BE49-F238E27FC236}">
                            <a16:creationId xmlns:a16="http://schemas.microsoft.com/office/drawing/2014/main" id="{682D09EC-4439-9257-D486-BC42F12D20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3715" y="28498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0" name="Graphic 19">
                      <a:extLst>
                        <a:ext uri="{FF2B5EF4-FFF2-40B4-BE49-F238E27FC236}">
                          <a16:creationId xmlns:a16="http://schemas.microsoft.com/office/drawing/2014/main" id="{78088FC4-9F7B-0C9A-0B5A-E5121C7C2C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86093" y="291644"/>
                      <a:ext cx="62865" cy="63737"/>
                      <a:chOff x="13186093" y="291644"/>
                      <a:chExt cx="62865" cy="63737"/>
                    </a:xfrm>
                  </p:grpSpPr>
                  <p:sp>
                    <p:nvSpPr>
                      <p:cNvPr id="1624" name="Freeform 147">
                        <a:extLst>
                          <a:ext uri="{FF2B5EF4-FFF2-40B4-BE49-F238E27FC236}">
                            <a16:creationId xmlns:a16="http://schemas.microsoft.com/office/drawing/2014/main" id="{6243A00A-53EF-193D-AA0E-9B11A12A56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6093" y="32303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5" name="Freeform 148">
                        <a:extLst>
                          <a:ext uri="{FF2B5EF4-FFF2-40B4-BE49-F238E27FC236}">
                            <a16:creationId xmlns:a16="http://schemas.microsoft.com/office/drawing/2014/main" id="{4CCACD88-FFB8-56A0-A6E4-BD0836BF4E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7525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1" name="Graphic 19">
                      <a:extLst>
                        <a:ext uri="{FF2B5EF4-FFF2-40B4-BE49-F238E27FC236}">
                          <a16:creationId xmlns:a16="http://schemas.microsoft.com/office/drawing/2014/main" id="{D0127E7C-04B8-5DE2-8470-DE506A0DB7F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87998" y="291644"/>
                      <a:ext cx="63817" cy="63737"/>
                      <a:chOff x="13187998" y="291644"/>
                      <a:chExt cx="63817" cy="63737"/>
                    </a:xfrm>
                  </p:grpSpPr>
                  <p:sp>
                    <p:nvSpPr>
                      <p:cNvPr id="1622" name="Freeform 150">
                        <a:extLst>
                          <a:ext uri="{FF2B5EF4-FFF2-40B4-BE49-F238E27FC236}">
                            <a16:creationId xmlns:a16="http://schemas.microsoft.com/office/drawing/2014/main" id="{0CED4B08-FD1D-737C-FBD4-04F45C169E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7998" y="32303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3" name="Freeform 151">
                        <a:extLst>
                          <a:ext uri="{FF2B5EF4-FFF2-40B4-BE49-F238E27FC236}">
                            <a16:creationId xmlns:a16="http://schemas.microsoft.com/office/drawing/2014/main" id="{5057539C-29F7-FBB9-B65B-58ED442796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9430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2" name="Graphic 19">
                      <a:extLst>
                        <a:ext uri="{FF2B5EF4-FFF2-40B4-BE49-F238E27FC236}">
                          <a16:creationId xmlns:a16="http://schemas.microsoft.com/office/drawing/2014/main" id="{5A92D20C-5BE9-4B77-3016-A60F03B7A4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90855" y="291644"/>
                      <a:ext cx="62865" cy="63737"/>
                      <a:chOff x="13190855" y="291644"/>
                      <a:chExt cx="62865" cy="63737"/>
                    </a:xfrm>
                  </p:grpSpPr>
                  <p:sp>
                    <p:nvSpPr>
                      <p:cNvPr id="1620" name="Freeform 153">
                        <a:extLst>
                          <a:ext uri="{FF2B5EF4-FFF2-40B4-BE49-F238E27FC236}">
                            <a16:creationId xmlns:a16="http://schemas.microsoft.com/office/drawing/2014/main" id="{1F5FF12A-38AD-3EAF-52B0-647B8E7C55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0855" y="32303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21" name="Freeform 154">
                        <a:extLst>
                          <a:ext uri="{FF2B5EF4-FFF2-40B4-BE49-F238E27FC236}">
                            <a16:creationId xmlns:a16="http://schemas.microsoft.com/office/drawing/2014/main" id="{5A7CCE6D-F3FD-8F4C-591C-17E8D046F6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2288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3" name="Graphic 19">
                      <a:extLst>
                        <a:ext uri="{FF2B5EF4-FFF2-40B4-BE49-F238E27FC236}">
                          <a16:creationId xmlns:a16="http://schemas.microsoft.com/office/drawing/2014/main" id="{D47B7405-011C-19F7-6371-96CE6A706E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92760" y="291644"/>
                      <a:ext cx="62865" cy="63737"/>
                      <a:chOff x="13192760" y="291644"/>
                      <a:chExt cx="62865" cy="63737"/>
                    </a:xfrm>
                  </p:grpSpPr>
                  <p:sp>
                    <p:nvSpPr>
                      <p:cNvPr id="1618" name="Freeform 156">
                        <a:extLst>
                          <a:ext uri="{FF2B5EF4-FFF2-40B4-BE49-F238E27FC236}">
                            <a16:creationId xmlns:a16="http://schemas.microsoft.com/office/drawing/2014/main" id="{7DE4EF89-78A3-6D0A-6E21-4624C0EE44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2760" y="32303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9" name="Freeform 157">
                        <a:extLst>
                          <a:ext uri="{FF2B5EF4-FFF2-40B4-BE49-F238E27FC236}">
                            <a16:creationId xmlns:a16="http://schemas.microsoft.com/office/drawing/2014/main" id="{A4574D2A-4F6F-14BD-F476-F9E8CADAE7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4193" y="29164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4" name="Graphic 19">
                      <a:extLst>
                        <a:ext uri="{FF2B5EF4-FFF2-40B4-BE49-F238E27FC236}">
                          <a16:creationId xmlns:a16="http://schemas.microsoft.com/office/drawing/2014/main" id="{C2943501-E7B3-5BF2-CFCC-EAE13A6B605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06095" y="300206"/>
                      <a:ext cx="62864" cy="63737"/>
                      <a:chOff x="13206095" y="300206"/>
                      <a:chExt cx="62864" cy="63737"/>
                    </a:xfrm>
                  </p:grpSpPr>
                  <p:sp>
                    <p:nvSpPr>
                      <p:cNvPr id="1616" name="Freeform 159">
                        <a:extLst>
                          <a:ext uri="{FF2B5EF4-FFF2-40B4-BE49-F238E27FC236}">
                            <a16:creationId xmlns:a16="http://schemas.microsoft.com/office/drawing/2014/main" id="{2DF73F8F-33CB-6DA3-05E5-9C6D61EBDE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6095" y="33160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7" name="Freeform 160">
                        <a:extLst>
                          <a:ext uri="{FF2B5EF4-FFF2-40B4-BE49-F238E27FC236}">
                            <a16:creationId xmlns:a16="http://schemas.microsoft.com/office/drawing/2014/main" id="{6BB3D0DA-799C-B1B9-41DC-D0445FCBBE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7528" y="30020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5" name="Graphic 19">
                      <a:extLst>
                        <a:ext uri="{FF2B5EF4-FFF2-40B4-BE49-F238E27FC236}">
                          <a16:creationId xmlns:a16="http://schemas.microsoft.com/office/drawing/2014/main" id="{B21A160B-A1FA-F116-2B1E-8BD3E2566F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0858" y="300206"/>
                      <a:ext cx="62864" cy="63737"/>
                      <a:chOff x="13210858" y="300206"/>
                      <a:chExt cx="62864" cy="63737"/>
                    </a:xfrm>
                  </p:grpSpPr>
                  <p:sp>
                    <p:nvSpPr>
                      <p:cNvPr id="1614" name="Freeform 162">
                        <a:extLst>
                          <a:ext uri="{FF2B5EF4-FFF2-40B4-BE49-F238E27FC236}">
                            <a16:creationId xmlns:a16="http://schemas.microsoft.com/office/drawing/2014/main" id="{63B44AD8-7CF4-723B-6602-CC231736DB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0858" y="33160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5" name="Freeform 163">
                        <a:extLst>
                          <a:ext uri="{FF2B5EF4-FFF2-40B4-BE49-F238E27FC236}">
                            <a16:creationId xmlns:a16="http://schemas.microsoft.com/office/drawing/2014/main" id="{DEC5A2A4-416E-6607-1A54-9858C5E3F0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2290" y="30020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6" name="Graphic 19">
                      <a:extLst>
                        <a:ext uri="{FF2B5EF4-FFF2-40B4-BE49-F238E27FC236}">
                          <a16:creationId xmlns:a16="http://schemas.microsoft.com/office/drawing/2014/main" id="{9B169088-552F-2810-1BC5-43FD225941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3715" y="300206"/>
                      <a:ext cx="62864" cy="63737"/>
                      <a:chOff x="13213715" y="300206"/>
                      <a:chExt cx="62864" cy="63737"/>
                    </a:xfrm>
                  </p:grpSpPr>
                  <p:sp>
                    <p:nvSpPr>
                      <p:cNvPr id="1612" name="Freeform 165">
                        <a:extLst>
                          <a:ext uri="{FF2B5EF4-FFF2-40B4-BE49-F238E27FC236}">
                            <a16:creationId xmlns:a16="http://schemas.microsoft.com/office/drawing/2014/main" id="{3DE1F16E-0E17-3FD0-9085-EEAD003411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3715" y="33160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3" name="Freeform 166">
                        <a:extLst>
                          <a:ext uri="{FF2B5EF4-FFF2-40B4-BE49-F238E27FC236}">
                            <a16:creationId xmlns:a16="http://schemas.microsoft.com/office/drawing/2014/main" id="{48B47DE1-18D4-C22F-C499-EB15D4BD2A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5148" y="30020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7" name="Graphic 19">
                      <a:extLst>
                        <a:ext uri="{FF2B5EF4-FFF2-40B4-BE49-F238E27FC236}">
                          <a16:creationId xmlns:a16="http://schemas.microsoft.com/office/drawing/2014/main" id="{C83CA547-CEE6-518B-BE17-7163905EFF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6098" y="306865"/>
                      <a:ext cx="62865" cy="62786"/>
                      <a:chOff x="13226098" y="306865"/>
                      <a:chExt cx="62865" cy="62786"/>
                    </a:xfrm>
                  </p:grpSpPr>
                  <p:sp>
                    <p:nvSpPr>
                      <p:cNvPr id="1610" name="Freeform 168">
                        <a:extLst>
                          <a:ext uri="{FF2B5EF4-FFF2-40B4-BE49-F238E27FC236}">
                            <a16:creationId xmlns:a16="http://schemas.microsoft.com/office/drawing/2014/main" id="{B6FB1FDC-651E-5D5B-FE51-B9AB3228E2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6098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11" name="Freeform 169">
                        <a:extLst>
                          <a:ext uri="{FF2B5EF4-FFF2-40B4-BE49-F238E27FC236}">
                            <a16:creationId xmlns:a16="http://schemas.microsoft.com/office/drawing/2014/main" id="{D3C13D27-9CFE-979B-13B2-9031700B0B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753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8" name="Graphic 19">
                      <a:extLst>
                        <a:ext uri="{FF2B5EF4-FFF2-40B4-BE49-F238E27FC236}">
                          <a16:creationId xmlns:a16="http://schemas.microsoft.com/office/drawing/2014/main" id="{8DEB2C11-0580-8E0A-5FFF-2AA878C22E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9908" y="306865"/>
                      <a:ext cx="62864" cy="62786"/>
                      <a:chOff x="13229908" y="306865"/>
                      <a:chExt cx="62864" cy="62786"/>
                    </a:xfrm>
                  </p:grpSpPr>
                  <p:sp>
                    <p:nvSpPr>
                      <p:cNvPr id="1608" name="Freeform 171">
                        <a:extLst>
                          <a:ext uri="{FF2B5EF4-FFF2-40B4-BE49-F238E27FC236}">
                            <a16:creationId xmlns:a16="http://schemas.microsoft.com/office/drawing/2014/main" id="{E0290FE0-1605-413C-C83A-0206F60817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9908" y="33825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9" name="Freeform 172">
                        <a:extLst>
                          <a:ext uri="{FF2B5EF4-FFF2-40B4-BE49-F238E27FC236}">
                            <a16:creationId xmlns:a16="http://schemas.microsoft.com/office/drawing/2014/main" id="{CA20F8D1-2F45-5B5E-014E-6A95122D21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134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9" name="Graphic 19">
                      <a:extLst>
                        <a:ext uri="{FF2B5EF4-FFF2-40B4-BE49-F238E27FC236}">
                          <a16:creationId xmlns:a16="http://schemas.microsoft.com/office/drawing/2014/main" id="{B4E365D4-B92B-8AD9-80BE-26783A4B36F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4670" y="314476"/>
                      <a:ext cx="62864" cy="63737"/>
                      <a:chOff x="13234670" y="314476"/>
                      <a:chExt cx="62864" cy="63737"/>
                    </a:xfrm>
                  </p:grpSpPr>
                  <p:sp>
                    <p:nvSpPr>
                      <p:cNvPr id="1606" name="Freeform 174">
                        <a:extLst>
                          <a:ext uri="{FF2B5EF4-FFF2-40B4-BE49-F238E27FC236}">
                            <a16:creationId xmlns:a16="http://schemas.microsoft.com/office/drawing/2014/main" id="{CECC34FA-1DBE-7A84-2332-6DF4369BB2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4670" y="34682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7" name="Freeform 175">
                        <a:extLst>
                          <a:ext uri="{FF2B5EF4-FFF2-40B4-BE49-F238E27FC236}">
                            <a16:creationId xmlns:a16="http://schemas.microsoft.com/office/drawing/2014/main" id="{1444BA22-52C3-5143-0E94-CB728C5454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6103" y="31447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0" name="Graphic 19">
                      <a:extLst>
                        <a:ext uri="{FF2B5EF4-FFF2-40B4-BE49-F238E27FC236}">
                          <a16:creationId xmlns:a16="http://schemas.microsoft.com/office/drawing/2014/main" id="{1B5B1059-C431-518B-9FE3-86034A9A040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8480" y="314476"/>
                      <a:ext cx="63817" cy="63737"/>
                      <a:chOff x="13238480" y="314476"/>
                      <a:chExt cx="63817" cy="63737"/>
                    </a:xfrm>
                  </p:grpSpPr>
                  <p:sp>
                    <p:nvSpPr>
                      <p:cNvPr id="1604" name="Freeform 177">
                        <a:extLst>
                          <a:ext uri="{FF2B5EF4-FFF2-40B4-BE49-F238E27FC236}">
                            <a16:creationId xmlns:a16="http://schemas.microsoft.com/office/drawing/2014/main" id="{F61148AA-4CD2-9D95-3F53-2FAA106CDE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8480" y="34682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5" name="Freeform 178">
                        <a:extLst>
                          <a:ext uri="{FF2B5EF4-FFF2-40B4-BE49-F238E27FC236}">
                            <a16:creationId xmlns:a16="http://schemas.microsoft.com/office/drawing/2014/main" id="{94B46F85-D09F-2419-F85B-DEF3F9FF77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0865" y="31447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1" name="Graphic 19">
                      <a:extLst>
                        <a:ext uri="{FF2B5EF4-FFF2-40B4-BE49-F238E27FC236}">
                          <a16:creationId xmlns:a16="http://schemas.microsoft.com/office/drawing/2014/main" id="{B1E8A58A-C7BD-5254-C427-1F44C918BF2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48958" y="323989"/>
                      <a:ext cx="62864" cy="63737"/>
                      <a:chOff x="13248958" y="323989"/>
                      <a:chExt cx="62864" cy="63737"/>
                    </a:xfrm>
                  </p:grpSpPr>
                  <p:sp>
                    <p:nvSpPr>
                      <p:cNvPr id="1602" name="Freeform 180">
                        <a:extLst>
                          <a:ext uri="{FF2B5EF4-FFF2-40B4-BE49-F238E27FC236}">
                            <a16:creationId xmlns:a16="http://schemas.microsoft.com/office/drawing/2014/main" id="{6303D783-9057-E8FA-397E-6A690013BF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8958" y="35538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3" name="Freeform 181">
                        <a:extLst>
                          <a:ext uri="{FF2B5EF4-FFF2-40B4-BE49-F238E27FC236}">
                            <a16:creationId xmlns:a16="http://schemas.microsoft.com/office/drawing/2014/main" id="{99BBD0FF-1DE2-05A0-05CB-2B3B0EB9B4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0390" y="32398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2" name="Graphic 19">
                      <a:extLst>
                        <a:ext uri="{FF2B5EF4-FFF2-40B4-BE49-F238E27FC236}">
                          <a16:creationId xmlns:a16="http://schemas.microsoft.com/office/drawing/2014/main" id="{2208C10F-8D91-0C13-8E24-4486926765A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2768" y="323989"/>
                      <a:ext cx="62865" cy="63737"/>
                      <a:chOff x="13252768" y="323989"/>
                      <a:chExt cx="62865" cy="63737"/>
                    </a:xfrm>
                  </p:grpSpPr>
                  <p:sp>
                    <p:nvSpPr>
                      <p:cNvPr id="1600" name="Freeform 183">
                        <a:extLst>
                          <a:ext uri="{FF2B5EF4-FFF2-40B4-BE49-F238E27FC236}">
                            <a16:creationId xmlns:a16="http://schemas.microsoft.com/office/drawing/2014/main" id="{D134BB25-8D52-5C2D-A494-A96374F3D4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2768" y="35538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601" name="Freeform 184">
                        <a:extLst>
                          <a:ext uri="{FF2B5EF4-FFF2-40B4-BE49-F238E27FC236}">
                            <a16:creationId xmlns:a16="http://schemas.microsoft.com/office/drawing/2014/main" id="{B4F18AAD-2BED-384F-F85C-1376136660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4200" y="32398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3" name="Graphic 19">
                      <a:extLst>
                        <a:ext uri="{FF2B5EF4-FFF2-40B4-BE49-F238E27FC236}">
                          <a16:creationId xmlns:a16="http://schemas.microsoft.com/office/drawing/2014/main" id="{42E0EE6E-7D62-46D4-247C-2DB35AC602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9435" y="329697"/>
                      <a:ext cx="62865" cy="63737"/>
                      <a:chOff x="13259435" y="329697"/>
                      <a:chExt cx="62865" cy="63737"/>
                    </a:xfrm>
                  </p:grpSpPr>
                  <p:sp>
                    <p:nvSpPr>
                      <p:cNvPr id="1598" name="Freeform 186">
                        <a:extLst>
                          <a:ext uri="{FF2B5EF4-FFF2-40B4-BE49-F238E27FC236}">
                            <a16:creationId xmlns:a16="http://schemas.microsoft.com/office/drawing/2014/main" id="{2454604B-90F6-1869-5BEA-EB1AD98BF7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9435" y="361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9" name="Freeform 187">
                        <a:extLst>
                          <a:ext uri="{FF2B5EF4-FFF2-40B4-BE49-F238E27FC236}">
                            <a16:creationId xmlns:a16="http://schemas.microsoft.com/office/drawing/2014/main" id="{F5B18C4A-F753-EF18-4FF2-303CC55836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0868" y="32969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4" name="Graphic 19">
                      <a:extLst>
                        <a:ext uri="{FF2B5EF4-FFF2-40B4-BE49-F238E27FC236}">
                          <a16:creationId xmlns:a16="http://schemas.microsoft.com/office/drawing/2014/main" id="{6FF50C17-CDDB-524A-C1AC-CEE8776CA46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68008" y="332551"/>
                      <a:ext cx="62864" cy="63737"/>
                      <a:chOff x="13268008" y="332551"/>
                      <a:chExt cx="62864" cy="63737"/>
                    </a:xfrm>
                  </p:grpSpPr>
                  <p:sp>
                    <p:nvSpPr>
                      <p:cNvPr id="1596" name="Freeform 189">
                        <a:extLst>
                          <a:ext uri="{FF2B5EF4-FFF2-40B4-BE49-F238E27FC236}">
                            <a16:creationId xmlns:a16="http://schemas.microsoft.com/office/drawing/2014/main" id="{3A8CA20D-3526-5BCE-0AE6-46AEBA5013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8008" y="36394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7" name="Freeform 190">
                        <a:extLst>
                          <a:ext uri="{FF2B5EF4-FFF2-40B4-BE49-F238E27FC236}">
                            <a16:creationId xmlns:a16="http://schemas.microsoft.com/office/drawing/2014/main" id="{D1778DAE-DA99-F4A7-BF1A-F5E378A72E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9440" y="3325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5" name="Graphic 19">
                      <a:extLst>
                        <a:ext uri="{FF2B5EF4-FFF2-40B4-BE49-F238E27FC236}">
                          <a16:creationId xmlns:a16="http://schemas.microsoft.com/office/drawing/2014/main" id="{3AA16635-0A78-4105-07D4-7DBA25C379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71818" y="332551"/>
                      <a:ext cx="62865" cy="63737"/>
                      <a:chOff x="13271818" y="332551"/>
                      <a:chExt cx="62865" cy="63737"/>
                    </a:xfrm>
                  </p:grpSpPr>
                  <p:sp>
                    <p:nvSpPr>
                      <p:cNvPr id="1594" name="Freeform 192">
                        <a:extLst>
                          <a:ext uri="{FF2B5EF4-FFF2-40B4-BE49-F238E27FC236}">
                            <a16:creationId xmlns:a16="http://schemas.microsoft.com/office/drawing/2014/main" id="{0F81C63B-DE29-D69C-827B-3A869D5E92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1818" y="36394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5" name="Freeform 193">
                        <a:extLst>
                          <a:ext uri="{FF2B5EF4-FFF2-40B4-BE49-F238E27FC236}">
                            <a16:creationId xmlns:a16="http://schemas.microsoft.com/office/drawing/2014/main" id="{860DF763-59EC-068A-1CE6-43F2E5F139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03250" y="3325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6" name="Graphic 19">
                      <a:extLst>
                        <a:ext uri="{FF2B5EF4-FFF2-40B4-BE49-F238E27FC236}">
                          <a16:creationId xmlns:a16="http://schemas.microsoft.com/office/drawing/2014/main" id="{36EC6252-B985-0C82-1EC3-DC07E3FB18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74675" y="332551"/>
                      <a:ext cx="62865" cy="63737"/>
                      <a:chOff x="13274675" y="332551"/>
                      <a:chExt cx="62865" cy="63737"/>
                    </a:xfrm>
                  </p:grpSpPr>
                  <p:sp>
                    <p:nvSpPr>
                      <p:cNvPr id="1592" name="Freeform 195">
                        <a:extLst>
                          <a:ext uri="{FF2B5EF4-FFF2-40B4-BE49-F238E27FC236}">
                            <a16:creationId xmlns:a16="http://schemas.microsoft.com/office/drawing/2014/main" id="{66DA98CB-F242-E2A2-57A1-041CE4BA17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4675" y="36394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3" name="Freeform 196">
                        <a:extLst>
                          <a:ext uri="{FF2B5EF4-FFF2-40B4-BE49-F238E27FC236}">
                            <a16:creationId xmlns:a16="http://schemas.microsoft.com/office/drawing/2014/main" id="{105AA7AC-9E8B-9A38-2DCE-A8D49953CB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06108" y="33255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7" name="Graphic 19">
                      <a:extLst>
                        <a:ext uri="{FF2B5EF4-FFF2-40B4-BE49-F238E27FC236}">
                          <a16:creationId xmlns:a16="http://schemas.microsoft.com/office/drawing/2014/main" id="{7F41E7C5-14DB-C9AC-1DFF-E3FC3747CD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98488" y="342064"/>
                      <a:ext cx="62865" cy="63737"/>
                      <a:chOff x="13298488" y="342064"/>
                      <a:chExt cx="62865" cy="63737"/>
                    </a:xfrm>
                  </p:grpSpPr>
                  <p:sp>
                    <p:nvSpPr>
                      <p:cNvPr id="1590" name="Freeform 198">
                        <a:extLst>
                          <a:ext uri="{FF2B5EF4-FFF2-40B4-BE49-F238E27FC236}">
                            <a16:creationId xmlns:a16="http://schemas.microsoft.com/office/drawing/2014/main" id="{98345A23-C5E0-2650-29A4-09D2DE484D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8488" y="3744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91" name="Freeform 199">
                        <a:extLst>
                          <a:ext uri="{FF2B5EF4-FFF2-40B4-BE49-F238E27FC236}">
                            <a16:creationId xmlns:a16="http://schemas.microsoft.com/office/drawing/2014/main" id="{2505A820-318C-FD82-BB93-B91C5EDDAA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29920" y="3420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8" name="Graphic 19">
                      <a:extLst>
                        <a:ext uri="{FF2B5EF4-FFF2-40B4-BE49-F238E27FC236}">
                          <a16:creationId xmlns:a16="http://schemas.microsoft.com/office/drawing/2014/main" id="{7470FB8B-9329-8B57-090C-BAC56A0719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38493" y="356334"/>
                      <a:ext cx="62865" cy="62786"/>
                      <a:chOff x="13338493" y="356334"/>
                      <a:chExt cx="62865" cy="62786"/>
                    </a:xfrm>
                  </p:grpSpPr>
                  <p:sp>
                    <p:nvSpPr>
                      <p:cNvPr id="1588" name="Freeform 201">
                        <a:extLst>
                          <a:ext uri="{FF2B5EF4-FFF2-40B4-BE49-F238E27FC236}">
                            <a16:creationId xmlns:a16="http://schemas.microsoft.com/office/drawing/2014/main" id="{7FFE147F-1DE1-94D2-25B3-BCF65E9E84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38493" y="38772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9" name="Freeform 202">
                        <a:extLst>
                          <a:ext uri="{FF2B5EF4-FFF2-40B4-BE49-F238E27FC236}">
                            <a16:creationId xmlns:a16="http://schemas.microsoft.com/office/drawing/2014/main" id="{161A2553-D6B0-46CC-2596-2A609E0DEF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9925" y="35633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9" name="Graphic 19">
                      <a:extLst>
                        <a:ext uri="{FF2B5EF4-FFF2-40B4-BE49-F238E27FC236}">
                          <a16:creationId xmlns:a16="http://schemas.microsoft.com/office/drawing/2014/main" id="{26B8907D-3634-810C-9F84-DA53A3A16F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97548" y="370603"/>
                      <a:ext cx="62865" cy="62786"/>
                      <a:chOff x="13397548" y="370603"/>
                      <a:chExt cx="62865" cy="62786"/>
                    </a:xfrm>
                  </p:grpSpPr>
                  <p:sp>
                    <p:nvSpPr>
                      <p:cNvPr id="1586" name="Freeform 204">
                        <a:extLst>
                          <a:ext uri="{FF2B5EF4-FFF2-40B4-BE49-F238E27FC236}">
                            <a16:creationId xmlns:a16="http://schemas.microsoft.com/office/drawing/2014/main" id="{E600CB14-F25E-E2EB-C7E7-66FA4ECC2F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97548" y="40199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7" name="Freeform 205">
                        <a:extLst>
                          <a:ext uri="{FF2B5EF4-FFF2-40B4-BE49-F238E27FC236}">
                            <a16:creationId xmlns:a16="http://schemas.microsoft.com/office/drawing/2014/main" id="{D2A084B3-A1C3-8BCC-144C-156717D03F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8980" y="37060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0" name="Graphic 19">
                      <a:extLst>
                        <a:ext uri="{FF2B5EF4-FFF2-40B4-BE49-F238E27FC236}">
                          <a16:creationId xmlns:a16="http://schemas.microsoft.com/office/drawing/2014/main" id="{1058A821-87DB-B812-74BE-EA28FB0E046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08978" y="374409"/>
                      <a:ext cx="62864" cy="63737"/>
                      <a:chOff x="13408978" y="374409"/>
                      <a:chExt cx="62864" cy="63737"/>
                    </a:xfrm>
                  </p:grpSpPr>
                  <p:sp>
                    <p:nvSpPr>
                      <p:cNvPr id="1584" name="Freeform 207">
                        <a:extLst>
                          <a:ext uri="{FF2B5EF4-FFF2-40B4-BE49-F238E27FC236}">
                            <a16:creationId xmlns:a16="http://schemas.microsoft.com/office/drawing/2014/main" id="{3F1A3BBD-DA61-2244-2290-5B5A8D6457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8978" y="4067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5" name="Freeform 208">
                        <a:extLst>
                          <a:ext uri="{FF2B5EF4-FFF2-40B4-BE49-F238E27FC236}">
                            <a16:creationId xmlns:a16="http://schemas.microsoft.com/office/drawing/2014/main" id="{0C72A08F-BE64-648B-0D03-46D4DA6DF5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0410" y="37440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1" name="Graphic 19">
                      <a:extLst>
                        <a:ext uri="{FF2B5EF4-FFF2-40B4-BE49-F238E27FC236}">
                          <a16:creationId xmlns:a16="http://schemas.microsoft.com/office/drawing/2014/main" id="{F3939E62-C1C6-FB72-1490-8DF87FFEE4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7550" y="381068"/>
                      <a:ext cx="63817" cy="63737"/>
                      <a:chOff x="13417550" y="381068"/>
                      <a:chExt cx="63817" cy="63737"/>
                    </a:xfrm>
                  </p:grpSpPr>
                  <p:sp>
                    <p:nvSpPr>
                      <p:cNvPr id="1582" name="Freeform 210">
                        <a:extLst>
                          <a:ext uri="{FF2B5EF4-FFF2-40B4-BE49-F238E27FC236}">
                            <a16:creationId xmlns:a16="http://schemas.microsoft.com/office/drawing/2014/main" id="{7C546F16-3968-2A6E-B263-9958218801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7550" y="41246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3" name="Freeform 211">
                        <a:extLst>
                          <a:ext uri="{FF2B5EF4-FFF2-40B4-BE49-F238E27FC236}">
                            <a16:creationId xmlns:a16="http://schemas.microsoft.com/office/drawing/2014/main" id="{C639162D-2F7D-8C38-3632-5619BA3DD9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9935" y="38106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2" name="Graphic 19">
                      <a:extLst>
                        <a:ext uri="{FF2B5EF4-FFF2-40B4-BE49-F238E27FC236}">
                          <a16:creationId xmlns:a16="http://schemas.microsoft.com/office/drawing/2014/main" id="{6B8E68C8-9141-9B87-9035-7FAE830ACD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3265" y="389629"/>
                      <a:ext cx="62864" cy="62786"/>
                      <a:chOff x="13423265" y="389629"/>
                      <a:chExt cx="62864" cy="62786"/>
                    </a:xfrm>
                  </p:grpSpPr>
                  <p:sp>
                    <p:nvSpPr>
                      <p:cNvPr id="1580" name="Freeform 213">
                        <a:extLst>
                          <a:ext uri="{FF2B5EF4-FFF2-40B4-BE49-F238E27FC236}">
                            <a16:creationId xmlns:a16="http://schemas.microsoft.com/office/drawing/2014/main" id="{9F3FA3EB-4BD1-D511-C46F-03053CE9AA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3265" y="42102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81" name="Freeform 214">
                        <a:extLst>
                          <a:ext uri="{FF2B5EF4-FFF2-40B4-BE49-F238E27FC236}">
                            <a16:creationId xmlns:a16="http://schemas.microsoft.com/office/drawing/2014/main" id="{22F779B4-FDB2-CFD2-DE96-8128A7C875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4698" y="3896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3" name="Graphic 19">
                      <a:extLst>
                        <a:ext uri="{FF2B5EF4-FFF2-40B4-BE49-F238E27FC236}">
                          <a16:creationId xmlns:a16="http://schemas.microsoft.com/office/drawing/2014/main" id="{D0A918CD-1ED2-FB40-2859-CC1E7DF79E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36600" y="389629"/>
                      <a:ext cx="62865" cy="62786"/>
                      <a:chOff x="13436600" y="389629"/>
                      <a:chExt cx="62865" cy="62786"/>
                    </a:xfrm>
                  </p:grpSpPr>
                  <p:sp>
                    <p:nvSpPr>
                      <p:cNvPr id="1578" name="Freeform 216">
                        <a:extLst>
                          <a:ext uri="{FF2B5EF4-FFF2-40B4-BE49-F238E27FC236}">
                            <a16:creationId xmlns:a16="http://schemas.microsoft.com/office/drawing/2014/main" id="{E7D92B8C-8E33-B39A-7725-8E2B948108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6600" y="42102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9" name="Freeform 217">
                        <a:extLst>
                          <a:ext uri="{FF2B5EF4-FFF2-40B4-BE49-F238E27FC236}">
                            <a16:creationId xmlns:a16="http://schemas.microsoft.com/office/drawing/2014/main" id="{917D4974-97A1-8A6A-C5D2-6EFC627BEF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8033" y="3896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4" name="Graphic 19">
                      <a:extLst>
                        <a:ext uri="{FF2B5EF4-FFF2-40B4-BE49-F238E27FC236}">
                          <a16:creationId xmlns:a16="http://schemas.microsoft.com/office/drawing/2014/main" id="{0CC37B1E-2CF8-B186-4D5A-065BB3E15E3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39458" y="389629"/>
                      <a:ext cx="63817" cy="62786"/>
                      <a:chOff x="13439458" y="389629"/>
                      <a:chExt cx="63817" cy="62786"/>
                    </a:xfrm>
                  </p:grpSpPr>
                  <p:sp>
                    <p:nvSpPr>
                      <p:cNvPr id="1576" name="Freeform 219">
                        <a:extLst>
                          <a:ext uri="{FF2B5EF4-FFF2-40B4-BE49-F238E27FC236}">
                            <a16:creationId xmlns:a16="http://schemas.microsoft.com/office/drawing/2014/main" id="{74590E81-4617-5655-7864-E888B8E81E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9458" y="42102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7" name="Freeform 220">
                        <a:extLst>
                          <a:ext uri="{FF2B5EF4-FFF2-40B4-BE49-F238E27FC236}">
                            <a16:creationId xmlns:a16="http://schemas.microsoft.com/office/drawing/2014/main" id="{209F2782-8DDD-9A93-1407-17EFBAB005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1843" y="3896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5" name="Graphic 19">
                      <a:extLst>
                        <a:ext uri="{FF2B5EF4-FFF2-40B4-BE49-F238E27FC236}">
                          <a16:creationId xmlns:a16="http://schemas.microsoft.com/office/drawing/2014/main" id="{80872A85-633A-E1B6-B573-F6DAD53CAC8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51840" y="419120"/>
                      <a:ext cx="63817" cy="62786"/>
                      <a:chOff x="13451840" y="419120"/>
                      <a:chExt cx="63817" cy="62786"/>
                    </a:xfrm>
                  </p:grpSpPr>
                  <p:sp>
                    <p:nvSpPr>
                      <p:cNvPr id="1574" name="Freeform 222">
                        <a:extLst>
                          <a:ext uri="{FF2B5EF4-FFF2-40B4-BE49-F238E27FC236}">
                            <a16:creationId xmlns:a16="http://schemas.microsoft.com/office/drawing/2014/main" id="{D1F2EFC1-3D23-E537-9D55-33960924BD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1840" y="45051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5" name="Freeform 223">
                        <a:extLst>
                          <a:ext uri="{FF2B5EF4-FFF2-40B4-BE49-F238E27FC236}">
                            <a16:creationId xmlns:a16="http://schemas.microsoft.com/office/drawing/2014/main" id="{5B9E3B13-DBC6-2B15-63CE-57D4475060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3273" y="41912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6" name="Graphic 19">
                      <a:extLst>
                        <a:ext uri="{FF2B5EF4-FFF2-40B4-BE49-F238E27FC236}">
                          <a16:creationId xmlns:a16="http://schemas.microsoft.com/office/drawing/2014/main" id="{569F48CA-D9C1-2A83-EE07-73A862A916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64223" y="431487"/>
                      <a:ext cx="62865" cy="63737"/>
                      <a:chOff x="13464223" y="431487"/>
                      <a:chExt cx="62865" cy="63737"/>
                    </a:xfrm>
                  </p:grpSpPr>
                  <p:sp>
                    <p:nvSpPr>
                      <p:cNvPr id="1572" name="Freeform 225">
                        <a:extLst>
                          <a:ext uri="{FF2B5EF4-FFF2-40B4-BE49-F238E27FC236}">
                            <a16:creationId xmlns:a16="http://schemas.microsoft.com/office/drawing/2014/main" id="{B18F3D8C-E022-530D-F56E-D4408238F7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4223" y="4638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3" name="Freeform 226">
                        <a:extLst>
                          <a:ext uri="{FF2B5EF4-FFF2-40B4-BE49-F238E27FC236}">
                            <a16:creationId xmlns:a16="http://schemas.microsoft.com/office/drawing/2014/main" id="{756D8063-8F02-E47B-131D-FC812D8833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5655" y="43148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7" name="Graphic 19">
                      <a:extLst>
                        <a:ext uri="{FF2B5EF4-FFF2-40B4-BE49-F238E27FC236}">
                          <a16:creationId xmlns:a16="http://schemas.microsoft.com/office/drawing/2014/main" id="{22CCB990-19CB-3092-DD5A-5C395F1B6F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71843" y="451465"/>
                      <a:ext cx="62865" cy="63737"/>
                      <a:chOff x="13471843" y="451465"/>
                      <a:chExt cx="62865" cy="63737"/>
                    </a:xfrm>
                  </p:grpSpPr>
                  <p:sp>
                    <p:nvSpPr>
                      <p:cNvPr id="1570" name="Freeform 228">
                        <a:extLst>
                          <a:ext uri="{FF2B5EF4-FFF2-40B4-BE49-F238E27FC236}">
                            <a16:creationId xmlns:a16="http://schemas.microsoft.com/office/drawing/2014/main" id="{12C62E88-9863-4BBD-A72D-4FE79CD263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184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71" name="Freeform 229">
                        <a:extLst>
                          <a:ext uri="{FF2B5EF4-FFF2-40B4-BE49-F238E27FC236}">
                            <a16:creationId xmlns:a16="http://schemas.microsoft.com/office/drawing/2014/main" id="{DCD86EE9-7D80-35B4-D680-AC2D299BB2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327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8" name="Graphic 19">
                      <a:extLst>
                        <a:ext uri="{FF2B5EF4-FFF2-40B4-BE49-F238E27FC236}">
                          <a16:creationId xmlns:a16="http://schemas.microsoft.com/office/drawing/2014/main" id="{50C40E1E-6826-8603-7E6B-760C8155B9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79463" y="451465"/>
                      <a:ext cx="62865" cy="63737"/>
                      <a:chOff x="13479463" y="451465"/>
                      <a:chExt cx="62865" cy="63737"/>
                    </a:xfrm>
                  </p:grpSpPr>
                  <p:sp>
                    <p:nvSpPr>
                      <p:cNvPr id="1568" name="Freeform 231">
                        <a:extLst>
                          <a:ext uri="{FF2B5EF4-FFF2-40B4-BE49-F238E27FC236}">
                            <a16:creationId xmlns:a16="http://schemas.microsoft.com/office/drawing/2014/main" id="{BC1AE6E9-A1BB-3F73-081A-D3D728D528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946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9" name="Freeform 232">
                        <a:extLst>
                          <a:ext uri="{FF2B5EF4-FFF2-40B4-BE49-F238E27FC236}">
                            <a16:creationId xmlns:a16="http://schemas.microsoft.com/office/drawing/2014/main" id="{B4B770F7-1715-8A83-404E-9DDE658130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089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9" name="Graphic 19">
                      <a:extLst>
                        <a:ext uri="{FF2B5EF4-FFF2-40B4-BE49-F238E27FC236}">
                          <a16:creationId xmlns:a16="http://schemas.microsoft.com/office/drawing/2014/main" id="{2B375883-6E1F-569A-A686-67A30D6C02E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94703" y="451465"/>
                      <a:ext cx="63817" cy="63737"/>
                      <a:chOff x="13494703" y="451465"/>
                      <a:chExt cx="63817" cy="63737"/>
                    </a:xfrm>
                  </p:grpSpPr>
                  <p:sp>
                    <p:nvSpPr>
                      <p:cNvPr id="1566" name="Freeform 234">
                        <a:extLst>
                          <a:ext uri="{FF2B5EF4-FFF2-40B4-BE49-F238E27FC236}">
                            <a16:creationId xmlns:a16="http://schemas.microsoft.com/office/drawing/2014/main" id="{DC794313-D391-594C-D621-C5E06BBFFC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4703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7" name="Freeform 235">
                        <a:extLst>
                          <a:ext uri="{FF2B5EF4-FFF2-40B4-BE49-F238E27FC236}">
                            <a16:creationId xmlns:a16="http://schemas.microsoft.com/office/drawing/2014/main" id="{17DF727D-3251-5A18-9740-7B3973477F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613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0" name="Graphic 19">
                      <a:extLst>
                        <a:ext uri="{FF2B5EF4-FFF2-40B4-BE49-F238E27FC236}">
                          <a16:creationId xmlns:a16="http://schemas.microsoft.com/office/drawing/2014/main" id="{0BFF063A-B92F-DD9B-9B6C-CEFFF41B01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97560" y="451465"/>
                      <a:ext cx="63817" cy="63737"/>
                      <a:chOff x="13497560" y="451465"/>
                      <a:chExt cx="63817" cy="63737"/>
                    </a:xfrm>
                  </p:grpSpPr>
                  <p:sp>
                    <p:nvSpPr>
                      <p:cNvPr id="1564" name="Freeform 237">
                        <a:extLst>
                          <a:ext uri="{FF2B5EF4-FFF2-40B4-BE49-F238E27FC236}">
                            <a16:creationId xmlns:a16="http://schemas.microsoft.com/office/drawing/2014/main" id="{75750B81-8133-AC21-DCFA-98D193303B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756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5" name="Freeform 238">
                        <a:extLst>
                          <a:ext uri="{FF2B5EF4-FFF2-40B4-BE49-F238E27FC236}">
                            <a16:creationId xmlns:a16="http://schemas.microsoft.com/office/drawing/2014/main" id="{F49FE582-4DC9-9DBE-6FB8-11212F6307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8993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1" name="Graphic 19">
                      <a:extLst>
                        <a:ext uri="{FF2B5EF4-FFF2-40B4-BE49-F238E27FC236}">
                          <a16:creationId xmlns:a16="http://schemas.microsoft.com/office/drawing/2014/main" id="{69B2F299-B627-9DEF-CC9D-F6B428CB1E3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24230" y="451465"/>
                      <a:ext cx="63817" cy="63737"/>
                      <a:chOff x="13524230" y="451465"/>
                      <a:chExt cx="63817" cy="63737"/>
                    </a:xfrm>
                  </p:grpSpPr>
                  <p:sp>
                    <p:nvSpPr>
                      <p:cNvPr id="1562" name="Freeform 240">
                        <a:extLst>
                          <a:ext uri="{FF2B5EF4-FFF2-40B4-BE49-F238E27FC236}">
                            <a16:creationId xmlns:a16="http://schemas.microsoft.com/office/drawing/2014/main" id="{65CF7DC9-2CAA-7DFE-CB81-E79FD430DF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423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3" name="Freeform 241">
                        <a:extLst>
                          <a:ext uri="{FF2B5EF4-FFF2-40B4-BE49-F238E27FC236}">
                            <a16:creationId xmlns:a16="http://schemas.microsoft.com/office/drawing/2014/main" id="{D71E1013-4C2A-7377-7BC7-619EE97FF4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55663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2" name="Graphic 19">
                      <a:extLst>
                        <a:ext uri="{FF2B5EF4-FFF2-40B4-BE49-F238E27FC236}">
                          <a16:creationId xmlns:a16="http://schemas.microsoft.com/office/drawing/2014/main" id="{4262F8E2-AC59-E635-DF4A-09ABFD1D2C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9470" y="451465"/>
                      <a:ext cx="63817" cy="63737"/>
                      <a:chOff x="13539470" y="451465"/>
                      <a:chExt cx="63817" cy="63737"/>
                    </a:xfrm>
                  </p:grpSpPr>
                  <p:sp>
                    <p:nvSpPr>
                      <p:cNvPr id="1560" name="Freeform 243">
                        <a:extLst>
                          <a:ext uri="{FF2B5EF4-FFF2-40B4-BE49-F238E27FC236}">
                            <a16:creationId xmlns:a16="http://schemas.microsoft.com/office/drawing/2014/main" id="{0AAF22A4-1CA8-683E-37A6-48F557DC38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47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61" name="Freeform 244">
                        <a:extLst>
                          <a:ext uri="{FF2B5EF4-FFF2-40B4-BE49-F238E27FC236}">
                            <a16:creationId xmlns:a16="http://schemas.microsoft.com/office/drawing/2014/main" id="{84D5B755-900E-09F3-0673-0B24744A5A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185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3" name="Graphic 19">
                      <a:extLst>
                        <a:ext uri="{FF2B5EF4-FFF2-40B4-BE49-F238E27FC236}">
                          <a16:creationId xmlns:a16="http://schemas.microsoft.com/office/drawing/2014/main" id="{C2DBFEEC-94DB-77D9-D0F8-197B7F09581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2330" y="451465"/>
                      <a:ext cx="63817" cy="63737"/>
                      <a:chOff x="13562330" y="451465"/>
                      <a:chExt cx="63817" cy="63737"/>
                    </a:xfrm>
                  </p:grpSpPr>
                  <p:sp>
                    <p:nvSpPr>
                      <p:cNvPr id="1558" name="Freeform 246">
                        <a:extLst>
                          <a:ext uri="{FF2B5EF4-FFF2-40B4-BE49-F238E27FC236}">
                            <a16:creationId xmlns:a16="http://schemas.microsoft.com/office/drawing/2014/main" id="{435BC944-D774-FA78-5FAF-5B7EEE6C31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2330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9" name="Freeform 247">
                        <a:extLst>
                          <a:ext uri="{FF2B5EF4-FFF2-40B4-BE49-F238E27FC236}">
                            <a16:creationId xmlns:a16="http://schemas.microsoft.com/office/drawing/2014/main" id="{933BA22E-3896-F5C9-DC95-016AB38B9B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3763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4" name="Graphic 19">
                      <a:extLst>
                        <a:ext uri="{FF2B5EF4-FFF2-40B4-BE49-F238E27FC236}">
                          <a16:creationId xmlns:a16="http://schemas.microsoft.com/office/drawing/2014/main" id="{A7A3E32B-014E-E5E7-165F-200537A5B2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7093" y="451465"/>
                      <a:ext cx="62865" cy="63737"/>
                      <a:chOff x="13567093" y="451465"/>
                      <a:chExt cx="62865" cy="63737"/>
                    </a:xfrm>
                  </p:grpSpPr>
                  <p:sp>
                    <p:nvSpPr>
                      <p:cNvPr id="1556" name="Freeform 249">
                        <a:extLst>
                          <a:ext uri="{FF2B5EF4-FFF2-40B4-BE49-F238E27FC236}">
                            <a16:creationId xmlns:a16="http://schemas.microsoft.com/office/drawing/2014/main" id="{F20F2718-70CE-93E9-4140-34CB0D7CD5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709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7" name="Freeform 250">
                        <a:extLst>
                          <a:ext uri="{FF2B5EF4-FFF2-40B4-BE49-F238E27FC236}">
                            <a16:creationId xmlns:a16="http://schemas.microsoft.com/office/drawing/2014/main" id="{DE4376B7-632E-BFB6-3325-26CD780E4F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852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5" name="Graphic 19">
                      <a:extLst>
                        <a:ext uri="{FF2B5EF4-FFF2-40B4-BE49-F238E27FC236}">
                          <a16:creationId xmlns:a16="http://schemas.microsoft.com/office/drawing/2014/main" id="{612D905A-F916-498B-82E9-4C6A1308E1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0903" y="451465"/>
                      <a:ext cx="62864" cy="63737"/>
                      <a:chOff x="13570903" y="451465"/>
                      <a:chExt cx="62864" cy="63737"/>
                    </a:xfrm>
                  </p:grpSpPr>
                  <p:sp>
                    <p:nvSpPr>
                      <p:cNvPr id="1554" name="Freeform 252">
                        <a:extLst>
                          <a:ext uri="{FF2B5EF4-FFF2-40B4-BE49-F238E27FC236}">
                            <a16:creationId xmlns:a16="http://schemas.microsoft.com/office/drawing/2014/main" id="{8086AC96-BB8A-2135-2C9A-A1858C3724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0903" y="48285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5" name="Freeform 253">
                        <a:extLst>
                          <a:ext uri="{FF2B5EF4-FFF2-40B4-BE49-F238E27FC236}">
                            <a16:creationId xmlns:a16="http://schemas.microsoft.com/office/drawing/2014/main" id="{2D7BD3D6-7618-010F-D4E2-28E544D6D8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233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6" name="Graphic 19">
                      <a:extLst>
                        <a:ext uri="{FF2B5EF4-FFF2-40B4-BE49-F238E27FC236}">
                          <a16:creationId xmlns:a16="http://schemas.microsoft.com/office/drawing/2014/main" id="{129540A0-C113-15A3-F160-343E244FDE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4713" y="451465"/>
                      <a:ext cx="62865" cy="63737"/>
                      <a:chOff x="13574713" y="451465"/>
                      <a:chExt cx="62865" cy="63737"/>
                    </a:xfrm>
                  </p:grpSpPr>
                  <p:sp>
                    <p:nvSpPr>
                      <p:cNvPr id="1552" name="Freeform 255">
                        <a:extLst>
                          <a:ext uri="{FF2B5EF4-FFF2-40B4-BE49-F238E27FC236}">
                            <a16:creationId xmlns:a16="http://schemas.microsoft.com/office/drawing/2014/main" id="{821B2DAA-EBB0-CCA3-72A6-E33095AAB1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471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3" name="Freeform 256">
                        <a:extLst>
                          <a:ext uri="{FF2B5EF4-FFF2-40B4-BE49-F238E27FC236}">
                            <a16:creationId xmlns:a16="http://schemas.microsoft.com/office/drawing/2014/main" id="{3047818A-1261-5E4A-6318-59D66DF2C7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614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7" name="Graphic 19">
                      <a:extLst>
                        <a:ext uri="{FF2B5EF4-FFF2-40B4-BE49-F238E27FC236}">
                          <a16:creationId xmlns:a16="http://schemas.microsoft.com/office/drawing/2014/main" id="{9C4F8A6D-7EEB-6B5F-E348-0CC21F070DC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8523" y="451465"/>
                      <a:ext cx="63817" cy="63737"/>
                      <a:chOff x="13578523" y="451465"/>
                      <a:chExt cx="63817" cy="63737"/>
                    </a:xfrm>
                  </p:grpSpPr>
                  <p:sp>
                    <p:nvSpPr>
                      <p:cNvPr id="1550" name="Freeform 258">
                        <a:extLst>
                          <a:ext uri="{FF2B5EF4-FFF2-40B4-BE49-F238E27FC236}">
                            <a16:creationId xmlns:a16="http://schemas.microsoft.com/office/drawing/2014/main" id="{18C4B195-C8A6-0311-1C6E-B2C782D0DA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8523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51" name="Freeform 259">
                        <a:extLst>
                          <a:ext uri="{FF2B5EF4-FFF2-40B4-BE49-F238E27FC236}">
                            <a16:creationId xmlns:a16="http://schemas.microsoft.com/office/drawing/2014/main" id="{6514BCCF-DA79-3BEB-4D3D-E345B84C26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995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8" name="Graphic 19">
                      <a:extLst>
                        <a:ext uri="{FF2B5EF4-FFF2-40B4-BE49-F238E27FC236}">
                          <a16:creationId xmlns:a16="http://schemas.microsoft.com/office/drawing/2014/main" id="{E2288C73-E612-F4A6-B13B-6AD6F1D25A1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83285" y="451465"/>
                      <a:ext cx="62865" cy="63737"/>
                      <a:chOff x="13583285" y="451465"/>
                      <a:chExt cx="62865" cy="63737"/>
                    </a:xfrm>
                  </p:grpSpPr>
                  <p:sp>
                    <p:nvSpPr>
                      <p:cNvPr id="1548" name="Freeform 261">
                        <a:extLst>
                          <a:ext uri="{FF2B5EF4-FFF2-40B4-BE49-F238E27FC236}">
                            <a16:creationId xmlns:a16="http://schemas.microsoft.com/office/drawing/2014/main" id="{A31683E6-D874-E215-CD24-F17C90C6BC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3285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9" name="Freeform 262">
                        <a:extLst>
                          <a:ext uri="{FF2B5EF4-FFF2-40B4-BE49-F238E27FC236}">
                            <a16:creationId xmlns:a16="http://schemas.microsoft.com/office/drawing/2014/main" id="{D9EFC72B-DFE6-EF29-BC1F-D93592748F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471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9" name="Graphic 19">
                      <a:extLst>
                        <a:ext uri="{FF2B5EF4-FFF2-40B4-BE49-F238E27FC236}">
                          <a16:creationId xmlns:a16="http://schemas.microsoft.com/office/drawing/2014/main" id="{841B8F0C-9549-036E-A12B-171D6C3F6D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87095" y="451465"/>
                      <a:ext cx="62864" cy="63737"/>
                      <a:chOff x="13587095" y="451465"/>
                      <a:chExt cx="62864" cy="63737"/>
                    </a:xfrm>
                  </p:grpSpPr>
                  <p:sp>
                    <p:nvSpPr>
                      <p:cNvPr id="1546" name="Freeform 264">
                        <a:extLst>
                          <a:ext uri="{FF2B5EF4-FFF2-40B4-BE49-F238E27FC236}">
                            <a16:creationId xmlns:a16="http://schemas.microsoft.com/office/drawing/2014/main" id="{301316F9-D33B-BECE-27EF-7EBBA8C80F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7095" y="48285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7" name="Freeform 265">
                        <a:extLst>
                          <a:ext uri="{FF2B5EF4-FFF2-40B4-BE49-F238E27FC236}">
                            <a16:creationId xmlns:a16="http://schemas.microsoft.com/office/drawing/2014/main" id="{1027034A-85CC-952E-8A19-B788989F4E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852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0" name="Graphic 19">
                      <a:extLst>
                        <a:ext uri="{FF2B5EF4-FFF2-40B4-BE49-F238E27FC236}">
                          <a16:creationId xmlns:a16="http://schemas.microsoft.com/office/drawing/2014/main" id="{97DDBAC4-0067-8C22-7910-4FA1A92799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90905" y="451465"/>
                      <a:ext cx="62865" cy="63737"/>
                      <a:chOff x="13590905" y="451465"/>
                      <a:chExt cx="62865" cy="63737"/>
                    </a:xfrm>
                  </p:grpSpPr>
                  <p:sp>
                    <p:nvSpPr>
                      <p:cNvPr id="1544" name="Freeform 267">
                        <a:extLst>
                          <a:ext uri="{FF2B5EF4-FFF2-40B4-BE49-F238E27FC236}">
                            <a16:creationId xmlns:a16="http://schemas.microsoft.com/office/drawing/2014/main" id="{72524FE1-4B76-F4A6-49D4-99F5104B7D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0905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5" name="Freeform 268">
                        <a:extLst>
                          <a:ext uri="{FF2B5EF4-FFF2-40B4-BE49-F238E27FC236}">
                            <a16:creationId xmlns:a16="http://schemas.microsoft.com/office/drawing/2014/main" id="{78C1B324-3679-F4C2-B1F2-2DAD673A09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233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1" name="Graphic 19">
                      <a:extLst>
                        <a:ext uri="{FF2B5EF4-FFF2-40B4-BE49-F238E27FC236}">
                          <a16:creationId xmlns:a16="http://schemas.microsoft.com/office/drawing/2014/main" id="{A3C0B358-781F-B508-A2E3-049FDD74B4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94715" y="451465"/>
                      <a:ext cx="63817" cy="63737"/>
                      <a:chOff x="13594715" y="451465"/>
                      <a:chExt cx="63817" cy="63737"/>
                    </a:xfrm>
                  </p:grpSpPr>
                  <p:sp>
                    <p:nvSpPr>
                      <p:cNvPr id="1542" name="Freeform 270">
                        <a:extLst>
                          <a:ext uri="{FF2B5EF4-FFF2-40B4-BE49-F238E27FC236}">
                            <a16:creationId xmlns:a16="http://schemas.microsoft.com/office/drawing/2014/main" id="{D2C840A5-31DC-89D5-CFE9-E7C08D66FB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4715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3" name="Freeform 271">
                        <a:extLst>
                          <a:ext uri="{FF2B5EF4-FFF2-40B4-BE49-F238E27FC236}">
                            <a16:creationId xmlns:a16="http://schemas.microsoft.com/office/drawing/2014/main" id="{785824CF-7B7E-B70D-5A95-9D9ACED338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7100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2" name="Graphic 19">
                      <a:extLst>
                        <a:ext uri="{FF2B5EF4-FFF2-40B4-BE49-F238E27FC236}">
                          <a16:creationId xmlns:a16="http://schemas.microsoft.com/office/drawing/2014/main" id="{74D87098-635F-7856-9349-0F99F21C2D0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3765" y="451465"/>
                      <a:ext cx="63817" cy="63737"/>
                      <a:chOff x="13613765" y="451465"/>
                      <a:chExt cx="63817" cy="63737"/>
                    </a:xfrm>
                  </p:grpSpPr>
                  <p:sp>
                    <p:nvSpPr>
                      <p:cNvPr id="1540" name="Freeform 273">
                        <a:extLst>
                          <a:ext uri="{FF2B5EF4-FFF2-40B4-BE49-F238E27FC236}">
                            <a16:creationId xmlns:a16="http://schemas.microsoft.com/office/drawing/2014/main" id="{C8830132-8E59-F66C-35B9-90EEA1E0F6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3765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41" name="Freeform 274">
                        <a:extLst>
                          <a:ext uri="{FF2B5EF4-FFF2-40B4-BE49-F238E27FC236}">
                            <a16:creationId xmlns:a16="http://schemas.microsoft.com/office/drawing/2014/main" id="{1B4CD910-64A4-077F-D7D9-41ECF32ADC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519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3" name="Graphic 19">
                      <a:extLst>
                        <a:ext uri="{FF2B5EF4-FFF2-40B4-BE49-F238E27FC236}">
                          <a16:creationId xmlns:a16="http://schemas.microsoft.com/office/drawing/2014/main" id="{F0E527E6-DD12-021F-CAD3-737CA8E3F2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6623" y="451465"/>
                      <a:ext cx="63817" cy="63737"/>
                      <a:chOff x="13616623" y="451465"/>
                      <a:chExt cx="63817" cy="63737"/>
                    </a:xfrm>
                  </p:grpSpPr>
                  <p:sp>
                    <p:nvSpPr>
                      <p:cNvPr id="1538" name="Freeform 276">
                        <a:extLst>
                          <a:ext uri="{FF2B5EF4-FFF2-40B4-BE49-F238E27FC236}">
                            <a16:creationId xmlns:a16="http://schemas.microsoft.com/office/drawing/2014/main" id="{93449A73-485C-70C1-EFFE-29DBD84078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6623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9" name="Freeform 277">
                        <a:extLst>
                          <a:ext uri="{FF2B5EF4-FFF2-40B4-BE49-F238E27FC236}">
                            <a16:creationId xmlns:a16="http://schemas.microsoft.com/office/drawing/2014/main" id="{4DED174E-4B8E-FB2F-75FA-E35093FE20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805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4" name="Graphic 19">
                      <a:extLst>
                        <a:ext uri="{FF2B5EF4-FFF2-40B4-BE49-F238E27FC236}">
                          <a16:creationId xmlns:a16="http://schemas.microsoft.com/office/drawing/2014/main" id="{90E3973D-EC05-6D78-AD8A-0CB597FF62F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29005" y="451465"/>
                      <a:ext cx="63817" cy="63737"/>
                      <a:chOff x="13629005" y="451465"/>
                      <a:chExt cx="63817" cy="63737"/>
                    </a:xfrm>
                  </p:grpSpPr>
                  <p:sp>
                    <p:nvSpPr>
                      <p:cNvPr id="1536" name="Freeform 279">
                        <a:extLst>
                          <a:ext uri="{FF2B5EF4-FFF2-40B4-BE49-F238E27FC236}">
                            <a16:creationId xmlns:a16="http://schemas.microsoft.com/office/drawing/2014/main" id="{D9575417-35E4-616F-E7AA-7082A4B355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9005" y="4828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7" name="Freeform 280">
                        <a:extLst>
                          <a:ext uri="{FF2B5EF4-FFF2-40B4-BE49-F238E27FC236}">
                            <a16:creationId xmlns:a16="http://schemas.microsoft.com/office/drawing/2014/main" id="{3814DCF5-B627-3C01-5B69-BFA0EEFF84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1390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5" name="Graphic 19">
                      <a:extLst>
                        <a:ext uri="{FF2B5EF4-FFF2-40B4-BE49-F238E27FC236}">
                          <a16:creationId xmlns:a16="http://schemas.microsoft.com/office/drawing/2014/main" id="{EB1A4842-32DD-59DD-2F71-814040BB9EC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3768" y="451465"/>
                      <a:ext cx="62865" cy="63737"/>
                      <a:chOff x="13633768" y="451465"/>
                      <a:chExt cx="62865" cy="63737"/>
                    </a:xfrm>
                  </p:grpSpPr>
                  <p:sp>
                    <p:nvSpPr>
                      <p:cNvPr id="1534" name="Freeform 282">
                        <a:extLst>
                          <a:ext uri="{FF2B5EF4-FFF2-40B4-BE49-F238E27FC236}">
                            <a16:creationId xmlns:a16="http://schemas.microsoft.com/office/drawing/2014/main" id="{086974F3-0609-880B-E351-809C069DFC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3768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5" name="Freeform 283">
                        <a:extLst>
                          <a:ext uri="{FF2B5EF4-FFF2-40B4-BE49-F238E27FC236}">
                            <a16:creationId xmlns:a16="http://schemas.microsoft.com/office/drawing/2014/main" id="{16A5CEA0-F2B5-7A89-2450-B126289F39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5200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6" name="Graphic 19">
                      <a:extLst>
                        <a:ext uri="{FF2B5EF4-FFF2-40B4-BE49-F238E27FC236}">
                          <a16:creationId xmlns:a16="http://schemas.microsoft.com/office/drawing/2014/main" id="{B417E4FC-CAD8-A086-8DB0-577C9470F1E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62343" y="451465"/>
                      <a:ext cx="62865" cy="63737"/>
                      <a:chOff x="13662343" y="451465"/>
                      <a:chExt cx="62865" cy="63737"/>
                    </a:xfrm>
                  </p:grpSpPr>
                  <p:sp>
                    <p:nvSpPr>
                      <p:cNvPr id="1532" name="Freeform 285">
                        <a:extLst>
                          <a:ext uri="{FF2B5EF4-FFF2-40B4-BE49-F238E27FC236}">
                            <a16:creationId xmlns:a16="http://schemas.microsoft.com/office/drawing/2014/main" id="{E84329B3-8198-CA5F-267F-1E0FB3A2D5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2343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3" name="Freeform 286">
                        <a:extLst>
                          <a:ext uri="{FF2B5EF4-FFF2-40B4-BE49-F238E27FC236}">
                            <a16:creationId xmlns:a16="http://schemas.microsoft.com/office/drawing/2014/main" id="{D1709CC4-905C-3F0D-895B-84AF0CAA1A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3775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7" name="Graphic 19">
                      <a:extLst>
                        <a:ext uri="{FF2B5EF4-FFF2-40B4-BE49-F238E27FC236}">
                          <a16:creationId xmlns:a16="http://schemas.microsoft.com/office/drawing/2014/main" id="{21E317DF-F013-6C1E-162B-77824F0478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67105" y="451465"/>
                      <a:ext cx="62865" cy="63737"/>
                      <a:chOff x="13667105" y="451465"/>
                      <a:chExt cx="62865" cy="63737"/>
                    </a:xfrm>
                  </p:grpSpPr>
                  <p:sp>
                    <p:nvSpPr>
                      <p:cNvPr id="1530" name="Freeform 288">
                        <a:extLst>
                          <a:ext uri="{FF2B5EF4-FFF2-40B4-BE49-F238E27FC236}">
                            <a16:creationId xmlns:a16="http://schemas.microsoft.com/office/drawing/2014/main" id="{709827B7-4CFF-4A35-5FC9-9A343F823B9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7105" y="4828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31" name="Freeform 289">
                        <a:extLst>
                          <a:ext uri="{FF2B5EF4-FFF2-40B4-BE49-F238E27FC236}">
                            <a16:creationId xmlns:a16="http://schemas.microsoft.com/office/drawing/2014/main" id="{0D4ECCBF-F258-064A-5B2A-B1AA3DEB20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8538" y="451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8" name="Graphic 19">
                      <a:extLst>
                        <a:ext uri="{FF2B5EF4-FFF2-40B4-BE49-F238E27FC236}">
                          <a16:creationId xmlns:a16="http://schemas.microsoft.com/office/drawing/2014/main" id="{E1515D78-4B5F-8F3E-5F62-3063419C9B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5678" y="463832"/>
                      <a:ext cx="62864" cy="62786"/>
                      <a:chOff x="13675678" y="463832"/>
                      <a:chExt cx="62864" cy="62786"/>
                    </a:xfrm>
                  </p:grpSpPr>
                  <p:sp>
                    <p:nvSpPr>
                      <p:cNvPr id="1528" name="Freeform 291">
                        <a:extLst>
                          <a:ext uri="{FF2B5EF4-FFF2-40B4-BE49-F238E27FC236}">
                            <a16:creationId xmlns:a16="http://schemas.microsoft.com/office/drawing/2014/main" id="{BF788D64-4AAD-8329-AC53-9966362F44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5678" y="49522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9" name="Freeform 292">
                        <a:extLst>
                          <a:ext uri="{FF2B5EF4-FFF2-40B4-BE49-F238E27FC236}">
                            <a16:creationId xmlns:a16="http://schemas.microsoft.com/office/drawing/2014/main" id="{4B9C4EF5-8188-393C-52B2-17329FA696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7110" y="4638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9" name="Graphic 19">
                      <a:extLst>
                        <a:ext uri="{FF2B5EF4-FFF2-40B4-BE49-F238E27FC236}">
                          <a16:creationId xmlns:a16="http://schemas.microsoft.com/office/drawing/2014/main" id="{CD21442C-0D7A-FF47-092D-20BA5D0CFA1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8535" y="463832"/>
                      <a:ext cx="62865" cy="62786"/>
                      <a:chOff x="13678535" y="463832"/>
                      <a:chExt cx="62865" cy="62786"/>
                    </a:xfrm>
                  </p:grpSpPr>
                  <p:sp>
                    <p:nvSpPr>
                      <p:cNvPr id="1526" name="Freeform 294">
                        <a:extLst>
                          <a:ext uri="{FF2B5EF4-FFF2-40B4-BE49-F238E27FC236}">
                            <a16:creationId xmlns:a16="http://schemas.microsoft.com/office/drawing/2014/main" id="{952A003D-F04D-6BD3-575E-2E82800960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8535" y="4952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7" name="Freeform 295">
                        <a:extLst>
                          <a:ext uri="{FF2B5EF4-FFF2-40B4-BE49-F238E27FC236}">
                            <a16:creationId xmlns:a16="http://schemas.microsoft.com/office/drawing/2014/main" id="{358CF6DB-D7DD-D904-CDE0-5284EBB04A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9968" y="4638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0" name="Graphic 19">
                      <a:extLst>
                        <a:ext uri="{FF2B5EF4-FFF2-40B4-BE49-F238E27FC236}">
                          <a16:creationId xmlns:a16="http://schemas.microsoft.com/office/drawing/2014/main" id="{3A120843-501A-257F-1C70-A56ACA65E2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83298" y="462880"/>
                      <a:ext cx="62865" cy="63737"/>
                      <a:chOff x="13683298" y="462880"/>
                      <a:chExt cx="62865" cy="63737"/>
                    </a:xfrm>
                  </p:grpSpPr>
                  <p:sp>
                    <p:nvSpPr>
                      <p:cNvPr id="1524" name="Freeform 297">
                        <a:extLst>
                          <a:ext uri="{FF2B5EF4-FFF2-40B4-BE49-F238E27FC236}">
                            <a16:creationId xmlns:a16="http://schemas.microsoft.com/office/drawing/2014/main" id="{1DC4D954-D35B-514D-40AA-925BE1CB16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83298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5" name="Freeform 298">
                        <a:extLst>
                          <a:ext uri="{FF2B5EF4-FFF2-40B4-BE49-F238E27FC236}">
                            <a16:creationId xmlns:a16="http://schemas.microsoft.com/office/drawing/2014/main" id="{D43EE5E8-5673-7265-090A-94D936F21C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4730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1" name="Graphic 19">
                      <a:extLst>
                        <a:ext uri="{FF2B5EF4-FFF2-40B4-BE49-F238E27FC236}">
                          <a16:creationId xmlns:a16="http://schemas.microsoft.com/office/drawing/2014/main" id="{A810FBE8-42E2-CD18-9882-D953AC3F646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94728" y="462880"/>
                      <a:ext cx="63817" cy="63737"/>
                      <a:chOff x="13694728" y="462880"/>
                      <a:chExt cx="63817" cy="63737"/>
                    </a:xfrm>
                  </p:grpSpPr>
                  <p:sp>
                    <p:nvSpPr>
                      <p:cNvPr id="1522" name="Freeform 300">
                        <a:extLst>
                          <a:ext uri="{FF2B5EF4-FFF2-40B4-BE49-F238E27FC236}">
                            <a16:creationId xmlns:a16="http://schemas.microsoft.com/office/drawing/2014/main" id="{220B65E2-19C0-0D99-452D-BCE1077CD3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4728" y="49427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3" name="Freeform 301">
                        <a:extLst>
                          <a:ext uri="{FF2B5EF4-FFF2-40B4-BE49-F238E27FC236}">
                            <a16:creationId xmlns:a16="http://schemas.microsoft.com/office/drawing/2014/main" id="{BF8577B7-CE8E-33A3-E449-7D4235AAAA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7113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2" name="Graphic 19">
                      <a:extLst>
                        <a:ext uri="{FF2B5EF4-FFF2-40B4-BE49-F238E27FC236}">
                          <a16:creationId xmlns:a16="http://schemas.microsoft.com/office/drawing/2014/main" id="{7DE69E65-456A-B7DF-1999-B32AB5ACC8E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0443" y="462880"/>
                      <a:ext cx="62865" cy="63737"/>
                      <a:chOff x="13700443" y="462880"/>
                      <a:chExt cx="62865" cy="63737"/>
                    </a:xfrm>
                  </p:grpSpPr>
                  <p:sp>
                    <p:nvSpPr>
                      <p:cNvPr id="1520" name="Freeform 303">
                        <a:extLst>
                          <a:ext uri="{FF2B5EF4-FFF2-40B4-BE49-F238E27FC236}">
                            <a16:creationId xmlns:a16="http://schemas.microsoft.com/office/drawing/2014/main" id="{0937888C-4A3C-D753-5E5E-FC230D07F5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0443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21" name="Freeform 304">
                        <a:extLst>
                          <a:ext uri="{FF2B5EF4-FFF2-40B4-BE49-F238E27FC236}">
                            <a16:creationId xmlns:a16="http://schemas.microsoft.com/office/drawing/2014/main" id="{F6439013-6125-F3AD-6774-0BABCF07B7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1875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3" name="Graphic 19">
                      <a:extLst>
                        <a:ext uri="{FF2B5EF4-FFF2-40B4-BE49-F238E27FC236}">
                          <a16:creationId xmlns:a16="http://schemas.microsoft.com/office/drawing/2014/main" id="{D3E50AC5-C97C-B76D-0B59-F5A1FF28C20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5205" y="462880"/>
                      <a:ext cx="63817" cy="63737"/>
                      <a:chOff x="13705205" y="462880"/>
                      <a:chExt cx="63817" cy="63737"/>
                    </a:xfrm>
                  </p:grpSpPr>
                  <p:sp>
                    <p:nvSpPr>
                      <p:cNvPr id="1518" name="Freeform 306">
                        <a:extLst>
                          <a:ext uri="{FF2B5EF4-FFF2-40B4-BE49-F238E27FC236}">
                            <a16:creationId xmlns:a16="http://schemas.microsoft.com/office/drawing/2014/main" id="{1C0A12E0-0714-94EB-4CF1-B896F04EBA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5205" y="49427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9" name="Freeform 307">
                        <a:extLst>
                          <a:ext uri="{FF2B5EF4-FFF2-40B4-BE49-F238E27FC236}">
                            <a16:creationId xmlns:a16="http://schemas.microsoft.com/office/drawing/2014/main" id="{B7466BE8-EB95-48ED-BFF7-412C669A75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7590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4" name="Graphic 19">
                      <a:extLst>
                        <a:ext uri="{FF2B5EF4-FFF2-40B4-BE49-F238E27FC236}">
                          <a16:creationId xmlns:a16="http://schemas.microsoft.com/office/drawing/2014/main" id="{E57C5CCE-A989-863C-6D36-3A3708B22D4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10920" y="462880"/>
                      <a:ext cx="62864" cy="63737"/>
                      <a:chOff x="13710920" y="462880"/>
                      <a:chExt cx="62864" cy="63737"/>
                    </a:xfrm>
                  </p:grpSpPr>
                  <p:sp>
                    <p:nvSpPr>
                      <p:cNvPr id="1516" name="Freeform 309">
                        <a:extLst>
                          <a:ext uri="{FF2B5EF4-FFF2-40B4-BE49-F238E27FC236}">
                            <a16:creationId xmlns:a16="http://schemas.microsoft.com/office/drawing/2014/main" id="{0A6337E7-E6FF-07C0-4715-29C9E1CDDA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0920" y="49427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7" name="Freeform 310">
                        <a:extLst>
                          <a:ext uri="{FF2B5EF4-FFF2-40B4-BE49-F238E27FC236}">
                            <a16:creationId xmlns:a16="http://schemas.microsoft.com/office/drawing/2014/main" id="{E1A41C1C-535E-E5A9-E652-38353942BE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2353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5" name="Graphic 19">
                      <a:extLst>
                        <a:ext uri="{FF2B5EF4-FFF2-40B4-BE49-F238E27FC236}">
                          <a16:creationId xmlns:a16="http://schemas.microsoft.com/office/drawing/2014/main" id="{6DA3C4B7-96EE-E367-B2F2-7B86AAFC6AF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16635" y="462880"/>
                      <a:ext cx="62865" cy="63737"/>
                      <a:chOff x="13716635" y="462880"/>
                      <a:chExt cx="62865" cy="63737"/>
                    </a:xfrm>
                  </p:grpSpPr>
                  <p:sp>
                    <p:nvSpPr>
                      <p:cNvPr id="1514" name="Freeform 312">
                        <a:extLst>
                          <a:ext uri="{FF2B5EF4-FFF2-40B4-BE49-F238E27FC236}">
                            <a16:creationId xmlns:a16="http://schemas.microsoft.com/office/drawing/2014/main" id="{7E7B7D3B-95CA-6711-D6BF-D276AE6759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16635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5" name="Freeform 313">
                        <a:extLst>
                          <a:ext uri="{FF2B5EF4-FFF2-40B4-BE49-F238E27FC236}">
                            <a16:creationId xmlns:a16="http://schemas.microsoft.com/office/drawing/2014/main" id="{9D8217EB-2AF4-3A52-13C3-E07860E204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8068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6" name="Graphic 19">
                      <a:extLst>
                        <a:ext uri="{FF2B5EF4-FFF2-40B4-BE49-F238E27FC236}">
                          <a16:creationId xmlns:a16="http://schemas.microsoft.com/office/drawing/2014/main" id="{4CD720F0-518C-B73E-E041-3EA2734E98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1398" y="462880"/>
                      <a:ext cx="62865" cy="63737"/>
                      <a:chOff x="13721398" y="462880"/>
                      <a:chExt cx="62865" cy="63737"/>
                    </a:xfrm>
                  </p:grpSpPr>
                  <p:sp>
                    <p:nvSpPr>
                      <p:cNvPr id="1512" name="Freeform 315">
                        <a:extLst>
                          <a:ext uri="{FF2B5EF4-FFF2-40B4-BE49-F238E27FC236}">
                            <a16:creationId xmlns:a16="http://schemas.microsoft.com/office/drawing/2014/main" id="{B84DF09C-4DCA-0570-C529-A76A07AEB8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1398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3" name="Freeform 316">
                        <a:extLst>
                          <a:ext uri="{FF2B5EF4-FFF2-40B4-BE49-F238E27FC236}">
                            <a16:creationId xmlns:a16="http://schemas.microsoft.com/office/drawing/2014/main" id="{A56D40E7-0D12-E266-1E1D-3A5408655D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2830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7" name="Graphic 19">
                      <a:extLst>
                        <a:ext uri="{FF2B5EF4-FFF2-40B4-BE49-F238E27FC236}">
                          <a16:creationId xmlns:a16="http://schemas.microsoft.com/office/drawing/2014/main" id="{7AE23CAC-1CB2-203B-F11F-8CAA219B360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7113" y="462880"/>
                      <a:ext cx="62865" cy="63737"/>
                      <a:chOff x="13727113" y="462880"/>
                      <a:chExt cx="62865" cy="63737"/>
                    </a:xfrm>
                  </p:grpSpPr>
                  <p:sp>
                    <p:nvSpPr>
                      <p:cNvPr id="1510" name="Freeform 318">
                        <a:extLst>
                          <a:ext uri="{FF2B5EF4-FFF2-40B4-BE49-F238E27FC236}">
                            <a16:creationId xmlns:a16="http://schemas.microsoft.com/office/drawing/2014/main" id="{F24D66D5-6048-2020-438E-EA438EB3E2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7113" y="49427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11" name="Freeform 319">
                        <a:extLst>
                          <a:ext uri="{FF2B5EF4-FFF2-40B4-BE49-F238E27FC236}">
                            <a16:creationId xmlns:a16="http://schemas.microsoft.com/office/drawing/2014/main" id="{5EE54578-122E-1471-FFA5-990CD646DC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8545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8" name="Graphic 19">
                      <a:extLst>
                        <a:ext uri="{FF2B5EF4-FFF2-40B4-BE49-F238E27FC236}">
                          <a16:creationId xmlns:a16="http://schemas.microsoft.com/office/drawing/2014/main" id="{10794C63-0A64-BB16-4DCC-1812D759FD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31875" y="462880"/>
                      <a:ext cx="63817" cy="63737"/>
                      <a:chOff x="13731875" y="462880"/>
                      <a:chExt cx="63817" cy="63737"/>
                    </a:xfrm>
                  </p:grpSpPr>
                  <p:sp>
                    <p:nvSpPr>
                      <p:cNvPr id="1508" name="Freeform 321">
                        <a:extLst>
                          <a:ext uri="{FF2B5EF4-FFF2-40B4-BE49-F238E27FC236}">
                            <a16:creationId xmlns:a16="http://schemas.microsoft.com/office/drawing/2014/main" id="{D821B882-3311-C0F6-1C4A-51EED62140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1875" y="49427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9" name="Freeform 322">
                        <a:extLst>
                          <a:ext uri="{FF2B5EF4-FFF2-40B4-BE49-F238E27FC236}">
                            <a16:creationId xmlns:a16="http://schemas.microsoft.com/office/drawing/2014/main" id="{2CA8E2AC-8D55-5D80-A1D6-DC40E2E61D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63308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9" name="Graphic 19">
                      <a:extLst>
                        <a:ext uri="{FF2B5EF4-FFF2-40B4-BE49-F238E27FC236}">
                          <a16:creationId xmlns:a16="http://schemas.microsoft.com/office/drawing/2014/main" id="{E0344CBE-FA80-7825-6842-4F1081CA9B8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37590" y="462880"/>
                      <a:ext cx="62864" cy="63737"/>
                      <a:chOff x="13737590" y="462880"/>
                      <a:chExt cx="62864" cy="63737"/>
                    </a:xfrm>
                  </p:grpSpPr>
                  <p:sp>
                    <p:nvSpPr>
                      <p:cNvPr id="1506" name="Freeform 324">
                        <a:extLst>
                          <a:ext uri="{FF2B5EF4-FFF2-40B4-BE49-F238E27FC236}">
                            <a16:creationId xmlns:a16="http://schemas.microsoft.com/office/drawing/2014/main" id="{D0CF81F0-0156-D967-74A5-7E106B299D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7590" y="49427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7" name="Freeform 325">
                        <a:extLst>
                          <a:ext uri="{FF2B5EF4-FFF2-40B4-BE49-F238E27FC236}">
                            <a16:creationId xmlns:a16="http://schemas.microsoft.com/office/drawing/2014/main" id="{44F7E7BE-CAE2-6D89-E1BB-40F0584CB8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69023" y="46288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0" name="Graphic 19">
                      <a:extLst>
                        <a:ext uri="{FF2B5EF4-FFF2-40B4-BE49-F238E27FC236}">
                          <a16:creationId xmlns:a16="http://schemas.microsoft.com/office/drawing/2014/main" id="{25AA1760-65AA-F9A3-72CB-FD15975201D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49020" y="477150"/>
                      <a:ext cx="62864" cy="62786"/>
                      <a:chOff x="13749020" y="477150"/>
                      <a:chExt cx="62864" cy="62786"/>
                    </a:xfrm>
                  </p:grpSpPr>
                  <p:sp>
                    <p:nvSpPr>
                      <p:cNvPr id="1504" name="Freeform 327">
                        <a:extLst>
                          <a:ext uri="{FF2B5EF4-FFF2-40B4-BE49-F238E27FC236}">
                            <a16:creationId xmlns:a16="http://schemas.microsoft.com/office/drawing/2014/main" id="{E483C88C-6207-082A-26D7-10C1C2D4BF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9020" y="5085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5" name="Freeform 328">
                        <a:extLst>
                          <a:ext uri="{FF2B5EF4-FFF2-40B4-BE49-F238E27FC236}">
                            <a16:creationId xmlns:a16="http://schemas.microsoft.com/office/drawing/2014/main" id="{EC23E4DC-5D24-F1E8-3DB7-4658C25256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045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1" name="Graphic 19">
                      <a:extLst>
                        <a:ext uri="{FF2B5EF4-FFF2-40B4-BE49-F238E27FC236}">
                          <a16:creationId xmlns:a16="http://schemas.microsoft.com/office/drawing/2014/main" id="{8816BD88-6E7B-C269-DBDF-D4BA87E87C2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1878" y="477150"/>
                      <a:ext cx="63817" cy="62786"/>
                      <a:chOff x="13751878" y="477150"/>
                      <a:chExt cx="63817" cy="62786"/>
                    </a:xfrm>
                  </p:grpSpPr>
                  <p:sp>
                    <p:nvSpPr>
                      <p:cNvPr id="1502" name="Freeform 330">
                        <a:extLst>
                          <a:ext uri="{FF2B5EF4-FFF2-40B4-BE49-F238E27FC236}">
                            <a16:creationId xmlns:a16="http://schemas.microsoft.com/office/drawing/2014/main" id="{86B5EE61-1FEB-9C9B-1F2D-667F2A4CEE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1878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3" name="Freeform 331">
                        <a:extLst>
                          <a:ext uri="{FF2B5EF4-FFF2-40B4-BE49-F238E27FC236}">
                            <a16:creationId xmlns:a16="http://schemas.microsoft.com/office/drawing/2014/main" id="{64721A52-E3F2-83AA-9B47-0734FB5644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426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2" name="Graphic 19">
                      <a:extLst>
                        <a:ext uri="{FF2B5EF4-FFF2-40B4-BE49-F238E27FC236}">
                          <a16:creationId xmlns:a16="http://schemas.microsoft.com/office/drawing/2014/main" id="{54C16AAF-32DF-8EAC-6682-89B38D6724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76643" y="477150"/>
                      <a:ext cx="62865" cy="62786"/>
                      <a:chOff x="13776643" y="477150"/>
                      <a:chExt cx="62865" cy="62786"/>
                    </a:xfrm>
                  </p:grpSpPr>
                  <p:sp>
                    <p:nvSpPr>
                      <p:cNvPr id="1500" name="Freeform 333">
                        <a:extLst>
                          <a:ext uri="{FF2B5EF4-FFF2-40B4-BE49-F238E27FC236}">
                            <a16:creationId xmlns:a16="http://schemas.microsoft.com/office/drawing/2014/main" id="{A2F63282-11DF-3E5B-AE3D-1FD8B55849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6643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501" name="Freeform 334">
                        <a:extLst>
                          <a:ext uri="{FF2B5EF4-FFF2-40B4-BE49-F238E27FC236}">
                            <a16:creationId xmlns:a16="http://schemas.microsoft.com/office/drawing/2014/main" id="{62566BBB-7E2B-102E-22D6-8566EE54C9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08075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3" name="Graphic 19">
                      <a:extLst>
                        <a:ext uri="{FF2B5EF4-FFF2-40B4-BE49-F238E27FC236}">
                          <a16:creationId xmlns:a16="http://schemas.microsoft.com/office/drawing/2014/main" id="{BFDEA252-79A6-D99E-64A7-485E2252DD3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88073" y="477150"/>
                      <a:ext cx="63817" cy="62786"/>
                      <a:chOff x="13788073" y="477150"/>
                      <a:chExt cx="63817" cy="62786"/>
                    </a:xfrm>
                  </p:grpSpPr>
                  <p:sp>
                    <p:nvSpPr>
                      <p:cNvPr id="1498" name="Freeform 336">
                        <a:extLst>
                          <a:ext uri="{FF2B5EF4-FFF2-40B4-BE49-F238E27FC236}">
                            <a16:creationId xmlns:a16="http://schemas.microsoft.com/office/drawing/2014/main" id="{0921FF46-9152-4A05-1249-3315C1EC6A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8073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9" name="Freeform 337">
                        <a:extLst>
                          <a:ext uri="{FF2B5EF4-FFF2-40B4-BE49-F238E27FC236}">
                            <a16:creationId xmlns:a16="http://schemas.microsoft.com/office/drawing/2014/main" id="{D9D00DD4-D216-E68F-DC22-89941BB924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19505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4" name="Graphic 19">
                      <a:extLst>
                        <a:ext uri="{FF2B5EF4-FFF2-40B4-BE49-F238E27FC236}">
                          <a16:creationId xmlns:a16="http://schemas.microsoft.com/office/drawing/2014/main" id="{7A129CA1-A8FA-82DC-4A4A-8312D8210DD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82370" y="477150"/>
                      <a:ext cx="62865" cy="62786"/>
                      <a:chOff x="13882370" y="477150"/>
                      <a:chExt cx="62865" cy="62786"/>
                    </a:xfrm>
                  </p:grpSpPr>
                  <p:sp>
                    <p:nvSpPr>
                      <p:cNvPr id="1496" name="Freeform 339">
                        <a:extLst>
                          <a:ext uri="{FF2B5EF4-FFF2-40B4-BE49-F238E27FC236}">
                            <a16:creationId xmlns:a16="http://schemas.microsoft.com/office/drawing/2014/main" id="{0DD757E4-6FFB-9F64-6FA5-EDA4CAA3ED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2370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7" name="Freeform 340">
                        <a:extLst>
                          <a:ext uri="{FF2B5EF4-FFF2-40B4-BE49-F238E27FC236}">
                            <a16:creationId xmlns:a16="http://schemas.microsoft.com/office/drawing/2014/main" id="{B3BB6A19-5E8A-CE35-D025-E5179C860D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380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5" name="Graphic 19">
                      <a:extLst>
                        <a:ext uri="{FF2B5EF4-FFF2-40B4-BE49-F238E27FC236}">
                          <a16:creationId xmlns:a16="http://schemas.microsoft.com/office/drawing/2014/main" id="{DAC8EBFC-DC28-35E0-6355-BE1F232E73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89990" y="477150"/>
                      <a:ext cx="62865" cy="62786"/>
                      <a:chOff x="13889990" y="477150"/>
                      <a:chExt cx="62865" cy="62786"/>
                    </a:xfrm>
                  </p:grpSpPr>
                  <p:sp>
                    <p:nvSpPr>
                      <p:cNvPr id="1494" name="Freeform 342">
                        <a:extLst>
                          <a:ext uri="{FF2B5EF4-FFF2-40B4-BE49-F238E27FC236}">
                            <a16:creationId xmlns:a16="http://schemas.microsoft.com/office/drawing/2014/main" id="{8E419F76-AFCB-87A2-5760-B9FD9EE5D5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9990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5" name="Freeform 343">
                        <a:extLst>
                          <a:ext uri="{FF2B5EF4-FFF2-40B4-BE49-F238E27FC236}">
                            <a16:creationId xmlns:a16="http://schemas.microsoft.com/office/drawing/2014/main" id="{1ED7BACD-CAAF-E2D0-A4BB-77A7CEDCAE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142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6" name="Graphic 19">
                      <a:extLst>
                        <a:ext uri="{FF2B5EF4-FFF2-40B4-BE49-F238E27FC236}">
                          <a16:creationId xmlns:a16="http://schemas.microsoft.com/office/drawing/2014/main" id="{4071A9F9-2DBF-5DEB-5333-B1739F96477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04278" y="477150"/>
                      <a:ext cx="62865" cy="62786"/>
                      <a:chOff x="13904278" y="477150"/>
                      <a:chExt cx="62865" cy="62786"/>
                    </a:xfrm>
                  </p:grpSpPr>
                  <p:sp>
                    <p:nvSpPr>
                      <p:cNvPr id="1492" name="Freeform 345">
                        <a:extLst>
                          <a:ext uri="{FF2B5EF4-FFF2-40B4-BE49-F238E27FC236}">
                            <a16:creationId xmlns:a16="http://schemas.microsoft.com/office/drawing/2014/main" id="{03E5CC69-E8A6-B63D-1BEB-BC765403AD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4278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3" name="Freeform 346">
                        <a:extLst>
                          <a:ext uri="{FF2B5EF4-FFF2-40B4-BE49-F238E27FC236}">
                            <a16:creationId xmlns:a16="http://schemas.microsoft.com/office/drawing/2014/main" id="{6CAF489C-DB49-58C3-49A0-F1E637DEB5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5710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7" name="Graphic 19">
                      <a:extLst>
                        <a:ext uri="{FF2B5EF4-FFF2-40B4-BE49-F238E27FC236}">
                          <a16:creationId xmlns:a16="http://schemas.microsoft.com/office/drawing/2014/main" id="{8B00D2BF-60BF-CE55-C405-FE275C5F8A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14755" y="477150"/>
                      <a:ext cx="62864" cy="62786"/>
                      <a:chOff x="13914755" y="477150"/>
                      <a:chExt cx="62864" cy="62786"/>
                    </a:xfrm>
                  </p:grpSpPr>
                  <p:sp>
                    <p:nvSpPr>
                      <p:cNvPr id="1490" name="Freeform 348">
                        <a:extLst>
                          <a:ext uri="{FF2B5EF4-FFF2-40B4-BE49-F238E27FC236}">
                            <a16:creationId xmlns:a16="http://schemas.microsoft.com/office/drawing/2014/main" id="{1EA36BA7-F2BF-0919-3926-5BE7F0102D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4755" y="5085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91" name="Freeform 349">
                        <a:extLst>
                          <a:ext uri="{FF2B5EF4-FFF2-40B4-BE49-F238E27FC236}">
                            <a16:creationId xmlns:a16="http://schemas.microsoft.com/office/drawing/2014/main" id="{4EA9B836-A901-E778-6F26-2C71A9140C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6188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8" name="Graphic 19">
                      <a:extLst>
                        <a:ext uri="{FF2B5EF4-FFF2-40B4-BE49-F238E27FC236}">
                          <a16:creationId xmlns:a16="http://schemas.microsoft.com/office/drawing/2014/main" id="{47D384F8-4755-E341-1570-BEFDD66733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31900" y="477150"/>
                      <a:ext cx="62865" cy="62786"/>
                      <a:chOff x="13931900" y="477150"/>
                      <a:chExt cx="62865" cy="62786"/>
                    </a:xfrm>
                  </p:grpSpPr>
                  <p:sp>
                    <p:nvSpPr>
                      <p:cNvPr id="1488" name="Freeform 351">
                        <a:extLst>
                          <a:ext uri="{FF2B5EF4-FFF2-40B4-BE49-F238E27FC236}">
                            <a16:creationId xmlns:a16="http://schemas.microsoft.com/office/drawing/2014/main" id="{3D20F3A6-2632-6273-71EF-EA392DF926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1900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9" name="Freeform 352">
                        <a:extLst>
                          <a:ext uri="{FF2B5EF4-FFF2-40B4-BE49-F238E27FC236}">
                            <a16:creationId xmlns:a16="http://schemas.microsoft.com/office/drawing/2014/main" id="{90E8F115-CDF2-37DB-AE73-53B8C60769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6333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9" name="Graphic 19">
                      <a:extLst>
                        <a:ext uri="{FF2B5EF4-FFF2-40B4-BE49-F238E27FC236}">
                          <a16:creationId xmlns:a16="http://schemas.microsoft.com/office/drawing/2014/main" id="{A0F26248-8417-EF6B-4BE5-AB00F9D60E1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36663" y="477150"/>
                      <a:ext cx="63817" cy="62786"/>
                      <a:chOff x="13936663" y="477150"/>
                      <a:chExt cx="63817" cy="62786"/>
                    </a:xfrm>
                  </p:grpSpPr>
                  <p:sp>
                    <p:nvSpPr>
                      <p:cNvPr id="1486" name="Freeform 354">
                        <a:extLst>
                          <a:ext uri="{FF2B5EF4-FFF2-40B4-BE49-F238E27FC236}">
                            <a16:creationId xmlns:a16="http://schemas.microsoft.com/office/drawing/2014/main" id="{B04EC7B8-09AB-4981-50FE-F030899571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6663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7" name="Freeform 355">
                        <a:extLst>
                          <a:ext uri="{FF2B5EF4-FFF2-40B4-BE49-F238E27FC236}">
                            <a16:creationId xmlns:a16="http://schemas.microsoft.com/office/drawing/2014/main" id="{1670ED4F-81B1-1F1D-E433-95B833281C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69048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0" name="Graphic 19">
                      <a:extLst>
                        <a:ext uri="{FF2B5EF4-FFF2-40B4-BE49-F238E27FC236}">
                          <a16:creationId xmlns:a16="http://schemas.microsoft.com/office/drawing/2014/main" id="{CE39EF53-E0F4-6055-AB61-D923FF1A9E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43330" y="477150"/>
                      <a:ext cx="63817" cy="62786"/>
                      <a:chOff x="13943330" y="477150"/>
                      <a:chExt cx="63817" cy="62786"/>
                    </a:xfrm>
                  </p:grpSpPr>
                  <p:sp>
                    <p:nvSpPr>
                      <p:cNvPr id="1484" name="Freeform 357">
                        <a:extLst>
                          <a:ext uri="{FF2B5EF4-FFF2-40B4-BE49-F238E27FC236}">
                            <a16:creationId xmlns:a16="http://schemas.microsoft.com/office/drawing/2014/main" id="{B0DF5E62-A06E-DD7F-5014-BB452F1918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3330" y="5085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5" name="Freeform 358">
                        <a:extLst>
                          <a:ext uri="{FF2B5EF4-FFF2-40B4-BE49-F238E27FC236}">
                            <a16:creationId xmlns:a16="http://schemas.microsoft.com/office/drawing/2014/main" id="{1986E46C-456B-837C-D385-8019712440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74763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1" name="Graphic 19">
                      <a:extLst>
                        <a:ext uri="{FF2B5EF4-FFF2-40B4-BE49-F238E27FC236}">
                          <a16:creationId xmlns:a16="http://schemas.microsoft.com/office/drawing/2014/main" id="{E2968801-3D90-98FE-DFED-3B4951F646A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49998" y="476199"/>
                      <a:ext cx="62865" cy="63737"/>
                      <a:chOff x="13949998" y="476199"/>
                      <a:chExt cx="62865" cy="63737"/>
                    </a:xfrm>
                  </p:grpSpPr>
                  <p:sp>
                    <p:nvSpPr>
                      <p:cNvPr id="1482" name="Freeform 360">
                        <a:extLst>
                          <a:ext uri="{FF2B5EF4-FFF2-40B4-BE49-F238E27FC236}">
                            <a16:creationId xmlns:a16="http://schemas.microsoft.com/office/drawing/2014/main" id="{CB979CF3-B890-5F3B-F2FC-A74AD2D603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9998" y="50759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3" name="Freeform 361">
                        <a:extLst>
                          <a:ext uri="{FF2B5EF4-FFF2-40B4-BE49-F238E27FC236}">
                            <a16:creationId xmlns:a16="http://schemas.microsoft.com/office/drawing/2014/main" id="{BAEA7BDD-6FFC-BB9C-2150-6605A56317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143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2" name="Graphic 19">
                      <a:extLst>
                        <a:ext uri="{FF2B5EF4-FFF2-40B4-BE49-F238E27FC236}">
                          <a16:creationId xmlns:a16="http://schemas.microsoft.com/office/drawing/2014/main" id="{E43C6CB7-0A83-218A-1C4A-0D5BC285422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65238" y="476199"/>
                      <a:ext cx="62865" cy="63737"/>
                      <a:chOff x="13965238" y="476199"/>
                      <a:chExt cx="62865" cy="63737"/>
                    </a:xfrm>
                  </p:grpSpPr>
                  <p:sp>
                    <p:nvSpPr>
                      <p:cNvPr id="1480" name="Freeform 363">
                        <a:extLst>
                          <a:ext uri="{FF2B5EF4-FFF2-40B4-BE49-F238E27FC236}">
                            <a16:creationId xmlns:a16="http://schemas.microsoft.com/office/drawing/2014/main" id="{93812182-F06B-5077-B7CA-3915F46BC5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65238" y="50759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81" name="Freeform 364">
                        <a:extLst>
                          <a:ext uri="{FF2B5EF4-FFF2-40B4-BE49-F238E27FC236}">
                            <a16:creationId xmlns:a16="http://schemas.microsoft.com/office/drawing/2014/main" id="{8787123B-62DF-2863-CA15-10E84282EA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667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3" name="Graphic 19">
                      <a:extLst>
                        <a:ext uri="{FF2B5EF4-FFF2-40B4-BE49-F238E27FC236}">
                          <a16:creationId xmlns:a16="http://schemas.microsoft.com/office/drawing/2014/main" id="{E3BF699B-AB83-E371-E253-4CE53CDBD7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76668" y="476199"/>
                      <a:ext cx="62864" cy="63737"/>
                      <a:chOff x="13976668" y="476199"/>
                      <a:chExt cx="62864" cy="63737"/>
                    </a:xfrm>
                  </p:grpSpPr>
                  <p:sp>
                    <p:nvSpPr>
                      <p:cNvPr id="1478" name="Freeform 366">
                        <a:extLst>
                          <a:ext uri="{FF2B5EF4-FFF2-40B4-BE49-F238E27FC236}">
                            <a16:creationId xmlns:a16="http://schemas.microsoft.com/office/drawing/2014/main" id="{2A0269AC-C1F5-979B-5465-CEFB636C37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76668" y="50759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9" name="Freeform 367">
                        <a:extLst>
                          <a:ext uri="{FF2B5EF4-FFF2-40B4-BE49-F238E27FC236}">
                            <a16:creationId xmlns:a16="http://schemas.microsoft.com/office/drawing/2014/main" id="{88A1B3FE-04E7-A917-8E15-13770F52EA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810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4" name="Graphic 19">
                      <a:extLst>
                        <a:ext uri="{FF2B5EF4-FFF2-40B4-BE49-F238E27FC236}">
                          <a16:creationId xmlns:a16="http://schemas.microsoft.com/office/drawing/2014/main" id="{EB2D8D1F-46B2-6317-1877-71EF19B5CF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1430" y="476199"/>
                      <a:ext cx="62864" cy="63737"/>
                      <a:chOff x="13981430" y="476199"/>
                      <a:chExt cx="62864" cy="63737"/>
                    </a:xfrm>
                  </p:grpSpPr>
                  <p:sp>
                    <p:nvSpPr>
                      <p:cNvPr id="1476" name="Freeform 369">
                        <a:extLst>
                          <a:ext uri="{FF2B5EF4-FFF2-40B4-BE49-F238E27FC236}">
                            <a16:creationId xmlns:a16="http://schemas.microsoft.com/office/drawing/2014/main" id="{9DA123DD-B4BD-31DC-103E-0F98303ADA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1430" y="50759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7" name="Freeform 370">
                        <a:extLst>
                          <a:ext uri="{FF2B5EF4-FFF2-40B4-BE49-F238E27FC236}">
                            <a16:creationId xmlns:a16="http://schemas.microsoft.com/office/drawing/2014/main" id="{2A846DAD-42CF-0794-AA9C-07D0FB03EA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2863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5" name="Graphic 19">
                      <a:extLst>
                        <a:ext uri="{FF2B5EF4-FFF2-40B4-BE49-F238E27FC236}">
                          <a16:creationId xmlns:a16="http://schemas.microsoft.com/office/drawing/2014/main" id="{1C56DC9C-1FD3-3223-072C-C9F35546CD0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4288" y="476199"/>
                      <a:ext cx="63817" cy="63737"/>
                      <a:chOff x="13984288" y="476199"/>
                      <a:chExt cx="63817" cy="63737"/>
                    </a:xfrm>
                  </p:grpSpPr>
                  <p:sp>
                    <p:nvSpPr>
                      <p:cNvPr id="1474" name="Freeform 372">
                        <a:extLst>
                          <a:ext uri="{FF2B5EF4-FFF2-40B4-BE49-F238E27FC236}">
                            <a16:creationId xmlns:a16="http://schemas.microsoft.com/office/drawing/2014/main" id="{762723FE-B2F4-85DF-06FA-18096549A5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4288" y="50759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5" name="Freeform 373">
                        <a:extLst>
                          <a:ext uri="{FF2B5EF4-FFF2-40B4-BE49-F238E27FC236}">
                            <a16:creationId xmlns:a16="http://schemas.microsoft.com/office/drawing/2014/main" id="{74C83A07-DEB3-01A1-2E8B-7BFF4BF120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5720" y="4761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6" name="Graphic 19">
                      <a:extLst>
                        <a:ext uri="{FF2B5EF4-FFF2-40B4-BE49-F238E27FC236}">
                          <a16:creationId xmlns:a16="http://schemas.microsoft.com/office/drawing/2014/main" id="{9F75687C-B41F-D860-1427-22263BC69B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99528" y="495225"/>
                      <a:ext cx="62865" cy="62786"/>
                      <a:chOff x="13999528" y="495225"/>
                      <a:chExt cx="62865" cy="62786"/>
                    </a:xfrm>
                  </p:grpSpPr>
                  <p:sp>
                    <p:nvSpPr>
                      <p:cNvPr id="1472" name="Freeform 375">
                        <a:extLst>
                          <a:ext uri="{FF2B5EF4-FFF2-40B4-BE49-F238E27FC236}">
                            <a16:creationId xmlns:a16="http://schemas.microsoft.com/office/drawing/2014/main" id="{12A89696-BB19-795A-D28B-EB2DE77BC8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9528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3" name="Freeform 376">
                        <a:extLst>
                          <a:ext uri="{FF2B5EF4-FFF2-40B4-BE49-F238E27FC236}">
                            <a16:creationId xmlns:a16="http://schemas.microsoft.com/office/drawing/2014/main" id="{2E9D8465-952D-0CE7-BAE5-52A7EDAEBB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960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7" name="Graphic 19">
                      <a:extLst>
                        <a:ext uri="{FF2B5EF4-FFF2-40B4-BE49-F238E27FC236}">
                          <a16:creationId xmlns:a16="http://schemas.microsoft.com/office/drawing/2014/main" id="{8AA48A85-EC12-1AEE-01EC-F6830A0965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4290" y="495225"/>
                      <a:ext cx="62865" cy="62786"/>
                      <a:chOff x="14004290" y="495225"/>
                      <a:chExt cx="62865" cy="62786"/>
                    </a:xfrm>
                  </p:grpSpPr>
                  <p:sp>
                    <p:nvSpPr>
                      <p:cNvPr id="1470" name="Freeform 378">
                        <a:extLst>
                          <a:ext uri="{FF2B5EF4-FFF2-40B4-BE49-F238E27FC236}">
                            <a16:creationId xmlns:a16="http://schemas.microsoft.com/office/drawing/2014/main" id="{3413932F-535B-867F-4757-CD0D8A8E0F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4290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71" name="Freeform 379">
                        <a:extLst>
                          <a:ext uri="{FF2B5EF4-FFF2-40B4-BE49-F238E27FC236}">
                            <a16:creationId xmlns:a16="http://schemas.microsoft.com/office/drawing/2014/main" id="{77832EA4-5AF6-D555-4C6A-95FD96A9A3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572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8" name="Graphic 19">
                      <a:extLst>
                        <a:ext uri="{FF2B5EF4-FFF2-40B4-BE49-F238E27FC236}">
                          <a16:creationId xmlns:a16="http://schemas.microsoft.com/office/drawing/2014/main" id="{764118B4-D2B1-2960-010A-7ABF1C4924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8100" y="495225"/>
                      <a:ext cx="63817" cy="62786"/>
                      <a:chOff x="14008100" y="495225"/>
                      <a:chExt cx="63817" cy="62786"/>
                    </a:xfrm>
                  </p:grpSpPr>
                  <p:sp>
                    <p:nvSpPr>
                      <p:cNvPr id="1468" name="Freeform 381">
                        <a:extLst>
                          <a:ext uri="{FF2B5EF4-FFF2-40B4-BE49-F238E27FC236}">
                            <a16:creationId xmlns:a16="http://schemas.microsoft.com/office/drawing/2014/main" id="{61E1E864-4F7A-2B18-4DF2-A518925F5E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8100" y="52661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9" name="Freeform 382">
                        <a:extLst>
                          <a:ext uri="{FF2B5EF4-FFF2-40B4-BE49-F238E27FC236}">
                            <a16:creationId xmlns:a16="http://schemas.microsoft.com/office/drawing/2014/main" id="{B024D479-B3B1-59EC-B2AD-65F59CEC19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953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9" name="Graphic 19">
                      <a:extLst>
                        <a:ext uri="{FF2B5EF4-FFF2-40B4-BE49-F238E27FC236}">
                          <a16:creationId xmlns:a16="http://schemas.microsoft.com/office/drawing/2014/main" id="{7AC32777-882A-3C17-E8D7-FCBB7CED935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0483" y="495225"/>
                      <a:ext cx="62865" cy="62786"/>
                      <a:chOff x="14020483" y="495225"/>
                      <a:chExt cx="62865" cy="62786"/>
                    </a:xfrm>
                  </p:grpSpPr>
                  <p:sp>
                    <p:nvSpPr>
                      <p:cNvPr id="1466" name="Freeform 384">
                        <a:extLst>
                          <a:ext uri="{FF2B5EF4-FFF2-40B4-BE49-F238E27FC236}">
                            <a16:creationId xmlns:a16="http://schemas.microsoft.com/office/drawing/2014/main" id="{332D821E-5EAC-9F78-75EE-7E0A9DAAD4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0483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7" name="Freeform 385">
                        <a:extLst>
                          <a:ext uri="{FF2B5EF4-FFF2-40B4-BE49-F238E27FC236}">
                            <a16:creationId xmlns:a16="http://schemas.microsoft.com/office/drawing/2014/main" id="{E0DF88A7-F034-9432-709E-8D8BA9C2743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1915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0" name="Graphic 19">
                      <a:extLst>
                        <a:ext uri="{FF2B5EF4-FFF2-40B4-BE49-F238E27FC236}">
                          <a16:creationId xmlns:a16="http://schemas.microsoft.com/office/drawing/2014/main" id="{6F1CE4D9-A728-C0ED-7914-F0D796B51A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6198" y="495225"/>
                      <a:ext cx="62865" cy="62786"/>
                      <a:chOff x="14026198" y="495225"/>
                      <a:chExt cx="62865" cy="62786"/>
                    </a:xfrm>
                  </p:grpSpPr>
                  <p:sp>
                    <p:nvSpPr>
                      <p:cNvPr id="1464" name="Freeform 387">
                        <a:extLst>
                          <a:ext uri="{FF2B5EF4-FFF2-40B4-BE49-F238E27FC236}">
                            <a16:creationId xmlns:a16="http://schemas.microsoft.com/office/drawing/2014/main" id="{12B1AD5B-DF51-6D54-8E82-36E1CFB7E5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6198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5" name="Freeform 388">
                        <a:extLst>
                          <a:ext uri="{FF2B5EF4-FFF2-40B4-BE49-F238E27FC236}">
                            <a16:creationId xmlns:a16="http://schemas.microsoft.com/office/drawing/2014/main" id="{69CFE806-2C43-3A99-7AE3-0AE4EE652B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7630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1" name="Graphic 19">
                      <a:extLst>
                        <a:ext uri="{FF2B5EF4-FFF2-40B4-BE49-F238E27FC236}">
                          <a16:creationId xmlns:a16="http://schemas.microsoft.com/office/drawing/2014/main" id="{AC1DBE3D-D4F8-1FAF-42E4-6D569873927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0960" y="495225"/>
                      <a:ext cx="62865" cy="62786"/>
                      <a:chOff x="14030960" y="495225"/>
                      <a:chExt cx="62865" cy="62786"/>
                    </a:xfrm>
                  </p:grpSpPr>
                  <p:sp>
                    <p:nvSpPr>
                      <p:cNvPr id="1462" name="Freeform 390">
                        <a:extLst>
                          <a:ext uri="{FF2B5EF4-FFF2-40B4-BE49-F238E27FC236}">
                            <a16:creationId xmlns:a16="http://schemas.microsoft.com/office/drawing/2014/main" id="{DA2D4B12-2F21-CD75-401D-E6D1DD223B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960" y="52661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3" name="Freeform 391">
                        <a:extLst>
                          <a:ext uri="{FF2B5EF4-FFF2-40B4-BE49-F238E27FC236}">
                            <a16:creationId xmlns:a16="http://schemas.microsoft.com/office/drawing/2014/main" id="{9EF9B022-218D-F571-E3C4-2DE7D9D1B9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239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2" name="Graphic 19">
                      <a:extLst>
                        <a:ext uri="{FF2B5EF4-FFF2-40B4-BE49-F238E27FC236}">
                          <a16:creationId xmlns:a16="http://schemas.microsoft.com/office/drawing/2014/main" id="{D5DE25A8-2C9B-F057-8730-409BB82A11D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6200" y="495225"/>
                      <a:ext cx="63817" cy="62786"/>
                      <a:chOff x="14046200" y="495225"/>
                      <a:chExt cx="63817" cy="62786"/>
                    </a:xfrm>
                  </p:grpSpPr>
                  <p:sp>
                    <p:nvSpPr>
                      <p:cNvPr id="1460" name="Freeform 393">
                        <a:extLst>
                          <a:ext uri="{FF2B5EF4-FFF2-40B4-BE49-F238E27FC236}">
                            <a16:creationId xmlns:a16="http://schemas.microsoft.com/office/drawing/2014/main" id="{28ADB8E8-EACD-0080-C52F-31340CC8D9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6200" y="52661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61" name="Freeform 394">
                        <a:extLst>
                          <a:ext uri="{FF2B5EF4-FFF2-40B4-BE49-F238E27FC236}">
                            <a16:creationId xmlns:a16="http://schemas.microsoft.com/office/drawing/2014/main" id="{7FD21E42-5400-38C9-BE11-1293CC9BAD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7633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3" name="Graphic 19">
                      <a:extLst>
                        <a:ext uri="{FF2B5EF4-FFF2-40B4-BE49-F238E27FC236}">
                          <a16:creationId xmlns:a16="http://schemas.microsoft.com/office/drawing/2014/main" id="{823870BE-2836-5434-3F94-A5826E6FCD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5723" y="495225"/>
                      <a:ext cx="63817" cy="62786"/>
                      <a:chOff x="14035723" y="495225"/>
                      <a:chExt cx="63817" cy="62786"/>
                    </a:xfrm>
                  </p:grpSpPr>
                  <p:sp>
                    <p:nvSpPr>
                      <p:cNvPr id="1458" name="Freeform 396">
                        <a:extLst>
                          <a:ext uri="{FF2B5EF4-FFF2-40B4-BE49-F238E27FC236}">
                            <a16:creationId xmlns:a16="http://schemas.microsoft.com/office/drawing/2014/main" id="{42EDB8E2-CA71-CC46-6EB0-D536F89A32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5723" y="52661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9" name="Freeform 397">
                        <a:extLst>
                          <a:ext uri="{FF2B5EF4-FFF2-40B4-BE49-F238E27FC236}">
                            <a16:creationId xmlns:a16="http://schemas.microsoft.com/office/drawing/2014/main" id="{441F3C06-4C76-4C39-2D08-748A5CC066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7155" y="49522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4" name="Graphic 19">
                      <a:extLst>
                        <a:ext uri="{FF2B5EF4-FFF2-40B4-BE49-F238E27FC236}">
                          <a16:creationId xmlns:a16="http://schemas.microsoft.com/office/drawing/2014/main" id="{D38264C9-D49E-FC98-F2BC-9E203BCCB2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58583" y="512349"/>
                      <a:ext cx="63817" cy="63737"/>
                      <a:chOff x="14058583" y="512349"/>
                      <a:chExt cx="63817" cy="63737"/>
                    </a:xfrm>
                  </p:grpSpPr>
                  <p:sp>
                    <p:nvSpPr>
                      <p:cNvPr id="1456" name="Freeform 399">
                        <a:extLst>
                          <a:ext uri="{FF2B5EF4-FFF2-40B4-BE49-F238E27FC236}">
                            <a16:creationId xmlns:a16="http://schemas.microsoft.com/office/drawing/2014/main" id="{23542D0A-E267-28B4-D661-40C2383B40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8583" y="54374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7" name="Freeform 400">
                        <a:extLst>
                          <a:ext uri="{FF2B5EF4-FFF2-40B4-BE49-F238E27FC236}">
                            <a16:creationId xmlns:a16="http://schemas.microsoft.com/office/drawing/2014/main" id="{1897A196-85FA-1CA2-AF52-F4073C7245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90968" y="5123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5" name="Graphic 19">
                      <a:extLst>
                        <a:ext uri="{FF2B5EF4-FFF2-40B4-BE49-F238E27FC236}">
                          <a16:creationId xmlns:a16="http://schemas.microsoft.com/office/drawing/2014/main" id="{229651E2-2BCC-EF8F-2F6A-792E512ECE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74775" y="512349"/>
                      <a:ext cx="62865" cy="62786"/>
                      <a:chOff x="14074775" y="512349"/>
                      <a:chExt cx="62865" cy="62786"/>
                    </a:xfrm>
                  </p:grpSpPr>
                  <p:sp>
                    <p:nvSpPr>
                      <p:cNvPr id="1454" name="Freeform 402">
                        <a:extLst>
                          <a:ext uri="{FF2B5EF4-FFF2-40B4-BE49-F238E27FC236}">
                            <a16:creationId xmlns:a16="http://schemas.microsoft.com/office/drawing/2014/main" id="{0ACC3F72-D30D-E584-C4BB-35095D00034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4775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5" name="Freeform 403">
                        <a:extLst>
                          <a:ext uri="{FF2B5EF4-FFF2-40B4-BE49-F238E27FC236}">
                            <a16:creationId xmlns:a16="http://schemas.microsoft.com/office/drawing/2014/main" id="{DF0A3492-81B6-D8B6-7D7C-E2F9401D43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6208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6" name="Graphic 19">
                      <a:extLst>
                        <a:ext uri="{FF2B5EF4-FFF2-40B4-BE49-F238E27FC236}">
                          <a16:creationId xmlns:a16="http://schemas.microsoft.com/office/drawing/2014/main" id="{A43FE2AD-0F53-ADA6-F0A7-419C55E2629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97635" y="512349"/>
                      <a:ext cx="62865" cy="62786"/>
                      <a:chOff x="14097635" y="512349"/>
                      <a:chExt cx="62865" cy="62786"/>
                    </a:xfrm>
                  </p:grpSpPr>
                  <p:sp>
                    <p:nvSpPr>
                      <p:cNvPr id="1452" name="Freeform 405">
                        <a:extLst>
                          <a:ext uri="{FF2B5EF4-FFF2-40B4-BE49-F238E27FC236}">
                            <a16:creationId xmlns:a16="http://schemas.microsoft.com/office/drawing/2014/main" id="{1811CC50-8D8F-A63E-4E00-9BFAB6E726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97635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3" name="Freeform 406">
                        <a:extLst>
                          <a:ext uri="{FF2B5EF4-FFF2-40B4-BE49-F238E27FC236}">
                            <a16:creationId xmlns:a16="http://schemas.microsoft.com/office/drawing/2014/main" id="{5767CDEB-9FF5-55F0-F7CB-4643E36303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29068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7" name="Graphic 19">
                      <a:extLst>
                        <a:ext uri="{FF2B5EF4-FFF2-40B4-BE49-F238E27FC236}">
                          <a16:creationId xmlns:a16="http://schemas.microsoft.com/office/drawing/2014/main" id="{7961FE67-AA6E-5A87-B816-B4DEB4C8168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02398" y="512349"/>
                      <a:ext cx="62865" cy="62786"/>
                      <a:chOff x="14102398" y="512349"/>
                      <a:chExt cx="62865" cy="62786"/>
                    </a:xfrm>
                  </p:grpSpPr>
                  <p:sp>
                    <p:nvSpPr>
                      <p:cNvPr id="1450" name="Freeform 408">
                        <a:extLst>
                          <a:ext uri="{FF2B5EF4-FFF2-40B4-BE49-F238E27FC236}">
                            <a16:creationId xmlns:a16="http://schemas.microsoft.com/office/drawing/2014/main" id="{5A0AB17F-C032-6848-4DE3-677482B633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2398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51" name="Freeform 409">
                        <a:extLst>
                          <a:ext uri="{FF2B5EF4-FFF2-40B4-BE49-F238E27FC236}">
                            <a16:creationId xmlns:a16="http://schemas.microsoft.com/office/drawing/2014/main" id="{8D3ACAC0-18C1-76BD-D55F-E700181CB5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33830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8" name="Graphic 19">
                      <a:extLst>
                        <a:ext uri="{FF2B5EF4-FFF2-40B4-BE49-F238E27FC236}">
                          <a16:creationId xmlns:a16="http://schemas.microsoft.com/office/drawing/2014/main" id="{3B1A52CE-DBE6-0EDF-7B8F-E3436855F5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08113" y="512349"/>
                      <a:ext cx="62865" cy="62786"/>
                      <a:chOff x="14108113" y="512349"/>
                      <a:chExt cx="62865" cy="62786"/>
                    </a:xfrm>
                  </p:grpSpPr>
                  <p:sp>
                    <p:nvSpPr>
                      <p:cNvPr id="1448" name="Freeform 411">
                        <a:extLst>
                          <a:ext uri="{FF2B5EF4-FFF2-40B4-BE49-F238E27FC236}">
                            <a16:creationId xmlns:a16="http://schemas.microsoft.com/office/drawing/2014/main" id="{9CAD7C4F-77B2-B971-C29C-EFCDF2907C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8113" y="54374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9" name="Freeform 412">
                        <a:extLst>
                          <a:ext uri="{FF2B5EF4-FFF2-40B4-BE49-F238E27FC236}">
                            <a16:creationId xmlns:a16="http://schemas.microsoft.com/office/drawing/2014/main" id="{4A58F99A-94B3-EBEA-DCE5-91CF2FCB54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39545" y="51234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9" name="Graphic 19">
                      <a:extLst>
                        <a:ext uri="{FF2B5EF4-FFF2-40B4-BE49-F238E27FC236}">
                          <a16:creationId xmlns:a16="http://schemas.microsoft.com/office/drawing/2014/main" id="{110854BB-EE5F-C1CE-3448-F8BA1FB68F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52880" y="535180"/>
                      <a:ext cx="62864" cy="62786"/>
                      <a:chOff x="14152880" y="535180"/>
                      <a:chExt cx="62864" cy="62786"/>
                    </a:xfrm>
                  </p:grpSpPr>
                  <p:sp>
                    <p:nvSpPr>
                      <p:cNvPr id="1446" name="Freeform 414">
                        <a:extLst>
                          <a:ext uri="{FF2B5EF4-FFF2-40B4-BE49-F238E27FC236}">
                            <a16:creationId xmlns:a16="http://schemas.microsoft.com/office/drawing/2014/main" id="{F4759070-31B3-A64C-1D51-B51BD4BF5C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52880" y="56657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7" name="Freeform 415">
                        <a:extLst>
                          <a:ext uri="{FF2B5EF4-FFF2-40B4-BE49-F238E27FC236}">
                            <a16:creationId xmlns:a16="http://schemas.microsoft.com/office/drawing/2014/main" id="{4DEC18DE-D55C-7E87-6136-23EF413675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84313" y="53518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0" name="Graphic 19">
                      <a:extLst>
                        <a:ext uri="{FF2B5EF4-FFF2-40B4-BE49-F238E27FC236}">
                          <a16:creationId xmlns:a16="http://schemas.microsoft.com/office/drawing/2014/main" id="{874062B9-C108-6617-0BD7-D921C0A79D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75740" y="535180"/>
                      <a:ext cx="62865" cy="62786"/>
                      <a:chOff x="14175740" y="535180"/>
                      <a:chExt cx="62865" cy="62786"/>
                    </a:xfrm>
                  </p:grpSpPr>
                  <p:sp>
                    <p:nvSpPr>
                      <p:cNvPr id="1444" name="Freeform 417">
                        <a:extLst>
                          <a:ext uri="{FF2B5EF4-FFF2-40B4-BE49-F238E27FC236}">
                            <a16:creationId xmlns:a16="http://schemas.microsoft.com/office/drawing/2014/main" id="{4244DE8E-AEF6-98DD-9DF7-C251AD175C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75740" y="56657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5" name="Freeform 418">
                        <a:extLst>
                          <a:ext uri="{FF2B5EF4-FFF2-40B4-BE49-F238E27FC236}">
                            <a16:creationId xmlns:a16="http://schemas.microsoft.com/office/drawing/2014/main" id="{1113D534-8EB7-B360-F0BB-347AB60BF3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07173" y="53518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1" name="Graphic 19">
                      <a:extLst>
                        <a:ext uri="{FF2B5EF4-FFF2-40B4-BE49-F238E27FC236}">
                          <a16:creationId xmlns:a16="http://schemas.microsoft.com/office/drawing/2014/main" id="{FA886124-F949-0DFC-FA14-EFD046D4D2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24318" y="557060"/>
                      <a:ext cx="62864" cy="62786"/>
                      <a:chOff x="14224318" y="557060"/>
                      <a:chExt cx="62864" cy="62786"/>
                    </a:xfrm>
                  </p:grpSpPr>
                  <p:sp>
                    <p:nvSpPr>
                      <p:cNvPr id="1442" name="Freeform 420">
                        <a:extLst>
                          <a:ext uri="{FF2B5EF4-FFF2-40B4-BE49-F238E27FC236}">
                            <a16:creationId xmlns:a16="http://schemas.microsoft.com/office/drawing/2014/main" id="{49AEA70E-4C8A-79E5-D3AD-47DB064F18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24318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3" name="Freeform 421">
                        <a:extLst>
                          <a:ext uri="{FF2B5EF4-FFF2-40B4-BE49-F238E27FC236}">
                            <a16:creationId xmlns:a16="http://schemas.microsoft.com/office/drawing/2014/main" id="{F7B3DAF3-9735-10F9-0351-783FFB06B4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575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2" name="Graphic 19">
                      <a:extLst>
                        <a:ext uri="{FF2B5EF4-FFF2-40B4-BE49-F238E27FC236}">
                          <a16:creationId xmlns:a16="http://schemas.microsoft.com/office/drawing/2014/main" id="{D7491938-38E4-EB1D-F5F6-24EC3E7369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5748" y="557060"/>
                      <a:ext cx="62865" cy="62786"/>
                      <a:chOff x="14235748" y="557060"/>
                      <a:chExt cx="62865" cy="62786"/>
                    </a:xfrm>
                  </p:grpSpPr>
                  <p:sp>
                    <p:nvSpPr>
                      <p:cNvPr id="1440" name="Freeform 423">
                        <a:extLst>
                          <a:ext uri="{FF2B5EF4-FFF2-40B4-BE49-F238E27FC236}">
                            <a16:creationId xmlns:a16="http://schemas.microsoft.com/office/drawing/2014/main" id="{D584B52D-6B65-7A66-EEF2-00F225DBF0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5748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41" name="Freeform 424">
                        <a:extLst>
                          <a:ext uri="{FF2B5EF4-FFF2-40B4-BE49-F238E27FC236}">
                            <a16:creationId xmlns:a16="http://schemas.microsoft.com/office/drawing/2014/main" id="{29F45157-5F58-B942-07EC-F121C8D762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718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3" name="Graphic 19">
                      <a:extLst>
                        <a:ext uri="{FF2B5EF4-FFF2-40B4-BE49-F238E27FC236}">
                          <a16:creationId xmlns:a16="http://schemas.microsoft.com/office/drawing/2014/main" id="{F3D18BF8-BA2C-1D63-F331-AA0C878F3E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56703" y="557060"/>
                      <a:ext cx="62865" cy="62786"/>
                      <a:chOff x="14256703" y="557060"/>
                      <a:chExt cx="62865" cy="62786"/>
                    </a:xfrm>
                  </p:grpSpPr>
                  <p:sp>
                    <p:nvSpPr>
                      <p:cNvPr id="1438" name="Freeform 426">
                        <a:extLst>
                          <a:ext uri="{FF2B5EF4-FFF2-40B4-BE49-F238E27FC236}">
                            <a16:creationId xmlns:a16="http://schemas.microsoft.com/office/drawing/2014/main" id="{591E233C-123F-437B-785B-B7E0C6AA6F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6703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9" name="Freeform 427">
                        <a:extLst>
                          <a:ext uri="{FF2B5EF4-FFF2-40B4-BE49-F238E27FC236}">
                            <a16:creationId xmlns:a16="http://schemas.microsoft.com/office/drawing/2014/main" id="{B0455909-4CE9-8F7D-1E07-49647C762D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813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4" name="Graphic 19">
                      <a:extLst>
                        <a:ext uri="{FF2B5EF4-FFF2-40B4-BE49-F238E27FC236}">
                          <a16:creationId xmlns:a16="http://schemas.microsoft.com/office/drawing/2014/main" id="{E86281DF-3140-77E1-194F-B421A60BC9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2418" y="557060"/>
                      <a:ext cx="63817" cy="62786"/>
                      <a:chOff x="14262418" y="557060"/>
                      <a:chExt cx="63817" cy="62786"/>
                    </a:xfrm>
                  </p:grpSpPr>
                  <p:sp>
                    <p:nvSpPr>
                      <p:cNvPr id="1436" name="Freeform 429">
                        <a:extLst>
                          <a:ext uri="{FF2B5EF4-FFF2-40B4-BE49-F238E27FC236}">
                            <a16:creationId xmlns:a16="http://schemas.microsoft.com/office/drawing/2014/main" id="{3A54AB96-8C96-714E-2286-282AE47DD5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2418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7" name="Freeform 430">
                        <a:extLst>
                          <a:ext uri="{FF2B5EF4-FFF2-40B4-BE49-F238E27FC236}">
                            <a16:creationId xmlns:a16="http://schemas.microsoft.com/office/drawing/2014/main" id="{BAFE2A97-EF7C-3F10-F51C-62FD9440D7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480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5" name="Graphic 19">
                      <a:extLst>
                        <a:ext uri="{FF2B5EF4-FFF2-40B4-BE49-F238E27FC236}">
                          <a16:creationId xmlns:a16="http://schemas.microsoft.com/office/drawing/2014/main" id="{63A04E6B-1FC2-8A3E-F90C-8FB29F37EFA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08138" y="583697"/>
                      <a:ext cx="63817" cy="62786"/>
                      <a:chOff x="14308138" y="583697"/>
                      <a:chExt cx="63817" cy="62786"/>
                    </a:xfrm>
                  </p:grpSpPr>
                  <p:sp>
                    <p:nvSpPr>
                      <p:cNvPr id="1434" name="Freeform 432">
                        <a:extLst>
                          <a:ext uri="{FF2B5EF4-FFF2-40B4-BE49-F238E27FC236}">
                            <a16:creationId xmlns:a16="http://schemas.microsoft.com/office/drawing/2014/main" id="{0F3941DC-14EA-90D8-85DD-B35F5E36E4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8138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5" name="Freeform 433">
                        <a:extLst>
                          <a:ext uri="{FF2B5EF4-FFF2-40B4-BE49-F238E27FC236}">
                            <a16:creationId xmlns:a16="http://schemas.microsoft.com/office/drawing/2014/main" id="{2665F4E6-6E8B-0E50-B3D5-797F78FA0B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957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6" name="Graphic 19">
                      <a:extLst>
                        <a:ext uri="{FF2B5EF4-FFF2-40B4-BE49-F238E27FC236}">
                          <a16:creationId xmlns:a16="http://schemas.microsoft.com/office/drawing/2014/main" id="{3C881C83-7088-3A7A-C845-6A4ED1B372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17663" y="583697"/>
                      <a:ext cx="62865" cy="62786"/>
                      <a:chOff x="14317663" y="583697"/>
                      <a:chExt cx="62865" cy="62786"/>
                    </a:xfrm>
                  </p:grpSpPr>
                  <p:sp>
                    <p:nvSpPr>
                      <p:cNvPr id="1432" name="Freeform 435">
                        <a:extLst>
                          <a:ext uri="{FF2B5EF4-FFF2-40B4-BE49-F238E27FC236}">
                            <a16:creationId xmlns:a16="http://schemas.microsoft.com/office/drawing/2014/main" id="{3A6F3A94-3B0F-4A88-0D57-5412D44797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7663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3" name="Freeform 436">
                        <a:extLst>
                          <a:ext uri="{FF2B5EF4-FFF2-40B4-BE49-F238E27FC236}">
                            <a16:creationId xmlns:a16="http://schemas.microsoft.com/office/drawing/2014/main" id="{3DE5E29B-6E85-F3C5-7B53-79E01A6FE6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9095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7" name="Graphic 19">
                      <a:extLst>
                        <a:ext uri="{FF2B5EF4-FFF2-40B4-BE49-F238E27FC236}">
                          <a16:creationId xmlns:a16="http://schemas.microsoft.com/office/drawing/2014/main" id="{45ACF9CB-A4A6-CA56-C995-092CFADD89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0045" y="582746"/>
                      <a:ext cx="62865" cy="63737"/>
                      <a:chOff x="14330045" y="582746"/>
                      <a:chExt cx="62865" cy="63737"/>
                    </a:xfrm>
                  </p:grpSpPr>
                  <p:sp>
                    <p:nvSpPr>
                      <p:cNvPr id="1430" name="Freeform 438">
                        <a:extLst>
                          <a:ext uri="{FF2B5EF4-FFF2-40B4-BE49-F238E27FC236}">
                            <a16:creationId xmlns:a16="http://schemas.microsoft.com/office/drawing/2014/main" id="{B05F2AF5-3EBB-5920-0390-5E9C99B50C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0045" y="61413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31" name="Freeform 439">
                        <a:extLst>
                          <a:ext uri="{FF2B5EF4-FFF2-40B4-BE49-F238E27FC236}">
                            <a16:creationId xmlns:a16="http://schemas.microsoft.com/office/drawing/2014/main" id="{F39A59C4-A8B7-B6DD-104E-E7F86C840C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1478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8" name="Graphic 19">
                      <a:extLst>
                        <a:ext uri="{FF2B5EF4-FFF2-40B4-BE49-F238E27FC236}">
                          <a16:creationId xmlns:a16="http://schemas.microsoft.com/office/drawing/2014/main" id="{11B02951-0A59-7D63-EB65-091EA837C1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8618" y="582746"/>
                      <a:ext cx="62864" cy="63737"/>
                      <a:chOff x="14338618" y="582746"/>
                      <a:chExt cx="62864" cy="63737"/>
                    </a:xfrm>
                  </p:grpSpPr>
                  <p:sp>
                    <p:nvSpPr>
                      <p:cNvPr id="1428" name="Freeform 441">
                        <a:extLst>
                          <a:ext uri="{FF2B5EF4-FFF2-40B4-BE49-F238E27FC236}">
                            <a16:creationId xmlns:a16="http://schemas.microsoft.com/office/drawing/2014/main" id="{33D10935-9557-CA80-93BC-F5282F2B8A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8618" y="61413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9" name="Freeform 442">
                        <a:extLst>
                          <a:ext uri="{FF2B5EF4-FFF2-40B4-BE49-F238E27FC236}">
                            <a16:creationId xmlns:a16="http://schemas.microsoft.com/office/drawing/2014/main" id="{3C3DCC61-4CC0-F3A2-C9DF-2C97F31BE7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70050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9" name="Graphic 19">
                      <a:extLst>
                        <a:ext uri="{FF2B5EF4-FFF2-40B4-BE49-F238E27FC236}">
                          <a16:creationId xmlns:a16="http://schemas.microsoft.com/office/drawing/2014/main" id="{52DCF834-61F9-70E9-EB67-F8F030DFF2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0048" y="582746"/>
                      <a:ext cx="62865" cy="63737"/>
                      <a:chOff x="14350048" y="582746"/>
                      <a:chExt cx="62865" cy="63737"/>
                    </a:xfrm>
                  </p:grpSpPr>
                  <p:sp>
                    <p:nvSpPr>
                      <p:cNvPr id="1426" name="Freeform 444">
                        <a:extLst>
                          <a:ext uri="{FF2B5EF4-FFF2-40B4-BE49-F238E27FC236}">
                            <a16:creationId xmlns:a16="http://schemas.microsoft.com/office/drawing/2014/main" id="{3B76F848-8265-68AA-5632-68EA5BC445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0048" y="61413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7" name="Freeform 445">
                        <a:extLst>
                          <a:ext uri="{FF2B5EF4-FFF2-40B4-BE49-F238E27FC236}">
                            <a16:creationId xmlns:a16="http://schemas.microsoft.com/office/drawing/2014/main" id="{17AE9FAC-3C20-AC01-5219-F059E22220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1480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0" name="Graphic 19">
                      <a:extLst>
                        <a:ext uri="{FF2B5EF4-FFF2-40B4-BE49-F238E27FC236}">
                          <a16:creationId xmlns:a16="http://schemas.microsoft.com/office/drawing/2014/main" id="{2998B252-4D8C-1C33-56A0-35F28A4850B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5763" y="582746"/>
                      <a:ext cx="62865" cy="63737"/>
                      <a:chOff x="14355763" y="582746"/>
                      <a:chExt cx="62865" cy="63737"/>
                    </a:xfrm>
                  </p:grpSpPr>
                  <p:sp>
                    <p:nvSpPr>
                      <p:cNvPr id="1424" name="Freeform 447">
                        <a:extLst>
                          <a:ext uri="{FF2B5EF4-FFF2-40B4-BE49-F238E27FC236}">
                            <a16:creationId xmlns:a16="http://schemas.microsoft.com/office/drawing/2014/main" id="{3DC7726A-6F9D-123D-2C1E-49AD746B67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5763" y="61413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5" name="Freeform 448">
                        <a:extLst>
                          <a:ext uri="{FF2B5EF4-FFF2-40B4-BE49-F238E27FC236}">
                            <a16:creationId xmlns:a16="http://schemas.microsoft.com/office/drawing/2014/main" id="{647A4EF2-2BF5-34D7-50E0-1D83A729B6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7195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1" name="Graphic 19">
                      <a:extLst>
                        <a:ext uri="{FF2B5EF4-FFF2-40B4-BE49-F238E27FC236}">
                          <a16:creationId xmlns:a16="http://schemas.microsoft.com/office/drawing/2014/main" id="{5B1BD464-1F2A-6656-CA4E-7E706E18C9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81480" y="582746"/>
                      <a:ext cx="63817" cy="63737"/>
                      <a:chOff x="14381480" y="582746"/>
                      <a:chExt cx="63817" cy="63737"/>
                    </a:xfrm>
                  </p:grpSpPr>
                  <p:sp>
                    <p:nvSpPr>
                      <p:cNvPr id="1422" name="Freeform 450">
                        <a:extLst>
                          <a:ext uri="{FF2B5EF4-FFF2-40B4-BE49-F238E27FC236}">
                            <a16:creationId xmlns:a16="http://schemas.microsoft.com/office/drawing/2014/main" id="{E688FBF2-FEFE-06AA-6719-344B7DEB95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1480" y="61413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3" name="Freeform 451">
                        <a:extLst>
                          <a:ext uri="{FF2B5EF4-FFF2-40B4-BE49-F238E27FC236}">
                            <a16:creationId xmlns:a16="http://schemas.microsoft.com/office/drawing/2014/main" id="{9290E24F-C476-9CC8-B6EE-95EC9B9E27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12913" y="58274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2" name="Graphic 19">
                      <a:extLst>
                        <a:ext uri="{FF2B5EF4-FFF2-40B4-BE49-F238E27FC236}">
                          <a16:creationId xmlns:a16="http://schemas.microsoft.com/office/drawing/2014/main" id="{78780818-3706-4394-F9EB-80C5AFEF10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85290" y="583697"/>
                      <a:ext cx="62865" cy="62786"/>
                      <a:chOff x="14385290" y="583697"/>
                      <a:chExt cx="62865" cy="62786"/>
                    </a:xfrm>
                  </p:grpSpPr>
                  <p:sp>
                    <p:nvSpPr>
                      <p:cNvPr id="1420" name="Freeform 453">
                        <a:extLst>
                          <a:ext uri="{FF2B5EF4-FFF2-40B4-BE49-F238E27FC236}">
                            <a16:creationId xmlns:a16="http://schemas.microsoft.com/office/drawing/2014/main" id="{0E241642-68FC-A4EF-CE98-E6E5B8F8B3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5290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21" name="Freeform 454">
                        <a:extLst>
                          <a:ext uri="{FF2B5EF4-FFF2-40B4-BE49-F238E27FC236}">
                            <a16:creationId xmlns:a16="http://schemas.microsoft.com/office/drawing/2014/main" id="{A5132425-A982-21CC-61BA-619D84F0FD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1672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3" name="Graphic 19">
                      <a:extLst>
                        <a:ext uri="{FF2B5EF4-FFF2-40B4-BE49-F238E27FC236}">
                          <a16:creationId xmlns:a16="http://schemas.microsoft.com/office/drawing/2014/main" id="{81808231-17E8-3C18-0D11-B8D7820D03C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16723" y="583697"/>
                      <a:ext cx="63817" cy="62786"/>
                      <a:chOff x="14416723" y="583697"/>
                      <a:chExt cx="63817" cy="62786"/>
                    </a:xfrm>
                  </p:grpSpPr>
                  <p:sp>
                    <p:nvSpPr>
                      <p:cNvPr id="1418" name="Freeform 456">
                        <a:extLst>
                          <a:ext uri="{FF2B5EF4-FFF2-40B4-BE49-F238E27FC236}">
                            <a16:creationId xmlns:a16="http://schemas.microsoft.com/office/drawing/2014/main" id="{250CA24B-0556-3923-4DD8-BA316B1127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1672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9" name="Freeform 457">
                        <a:extLst>
                          <a:ext uri="{FF2B5EF4-FFF2-40B4-BE49-F238E27FC236}">
                            <a16:creationId xmlns:a16="http://schemas.microsoft.com/office/drawing/2014/main" id="{68FC2E54-1324-4294-42DC-4E107C6FDA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4910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4" name="Graphic 19">
                      <a:extLst>
                        <a:ext uri="{FF2B5EF4-FFF2-40B4-BE49-F238E27FC236}">
                          <a16:creationId xmlns:a16="http://schemas.microsoft.com/office/drawing/2014/main" id="{D3A2E8D5-20CD-1D78-5027-213E8CEA0AC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22438" y="583697"/>
                      <a:ext cx="62865" cy="62786"/>
                      <a:chOff x="14422438" y="583697"/>
                      <a:chExt cx="62865" cy="62786"/>
                    </a:xfrm>
                  </p:grpSpPr>
                  <p:sp>
                    <p:nvSpPr>
                      <p:cNvPr id="1416" name="Freeform 459">
                        <a:extLst>
                          <a:ext uri="{FF2B5EF4-FFF2-40B4-BE49-F238E27FC236}">
                            <a16:creationId xmlns:a16="http://schemas.microsoft.com/office/drawing/2014/main" id="{EA2D8CD9-BE00-94EC-D7C1-E7F4D818F9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22438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7" name="Freeform 460">
                        <a:extLst>
                          <a:ext uri="{FF2B5EF4-FFF2-40B4-BE49-F238E27FC236}">
                            <a16:creationId xmlns:a16="http://schemas.microsoft.com/office/drawing/2014/main" id="{B6FEF13C-D18F-E453-ABBA-3D092586BE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5387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5" name="Graphic 19">
                      <a:extLst>
                        <a:ext uri="{FF2B5EF4-FFF2-40B4-BE49-F238E27FC236}">
                          <a16:creationId xmlns:a16="http://schemas.microsoft.com/office/drawing/2014/main" id="{F6A5F651-AADF-422C-644D-13AA920B02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03400" y="583697"/>
                      <a:ext cx="62865" cy="62786"/>
                      <a:chOff x="14503400" y="583697"/>
                      <a:chExt cx="62865" cy="62786"/>
                    </a:xfrm>
                  </p:grpSpPr>
                  <p:sp>
                    <p:nvSpPr>
                      <p:cNvPr id="1414" name="Freeform 462">
                        <a:extLst>
                          <a:ext uri="{FF2B5EF4-FFF2-40B4-BE49-F238E27FC236}">
                            <a16:creationId xmlns:a16="http://schemas.microsoft.com/office/drawing/2014/main" id="{AFFD87D4-DE9F-507B-49F3-13FBA9FD7D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3400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5" name="Freeform 463">
                        <a:extLst>
                          <a:ext uri="{FF2B5EF4-FFF2-40B4-BE49-F238E27FC236}">
                            <a16:creationId xmlns:a16="http://schemas.microsoft.com/office/drawing/2014/main" id="{09381C9E-2C52-9C72-5B09-7AF5AAB5D5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483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6" name="Graphic 19">
                      <a:extLst>
                        <a:ext uri="{FF2B5EF4-FFF2-40B4-BE49-F238E27FC236}">
                          <a16:creationId xmlns:a16="http://schemas.microsoft.com/office/drawing/2014/main" id="{6EAA3FB5-4BE2-AB6F-4018-FFD90DF05F0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08163" y="583697"/>
                      <a:ext cx="63817" cy="62786"/>
                      <a:chOff x="14508163" y="583697"/>
                      <a:chExt cx="63817" cy="62786"/>
                    </a:xfrm>
                  </p:grpSpPr>
                  <p:sp>
                    <p:nvSpPr>
                      <p:cNvPr id="1412" name="Freeform 465">
                        <a:extLst>
                          <a:ext uri="{FF2B5EF4-FFF2-40B4-BE49-F238E27FC236}">
                            <a16:creationId xmlns:a16="http://schemas.microsoft.com/office/drawing/2014/main" id="{3E1EBAA3-DEBC-5D6E-07CD-1C01083EF42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816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3" name="Freeform 466">
                        <a:extLst>
                          <a:ext uri="{FF2B5EF4-FFF2-40B4-BE49-F238E27FC236}">
                            <a16:creationId xmlns:a16="http://schemas.microsoft.com/office/drawing/2014/main" id="{07D73771-5BE4-CBB6-8A51-4A8E4B366F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4054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7" name="Graphic 19">
                      <a:extLst>
                        <a:ext uri="{FF2B5EF4-FFF2-40B4-BE49-F238E27FC236}">
                          <a16:creationId xmlns:a16="http://schemas.microsoft.com/office/drawing/2014/main" id="{8D63245C-E553-B459-70E2-D1F02605D1A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33880" y="583697"/>
                      <a:ext cx="63817" cy="62786"/>
                      <a:chOff x="14533880" y="583697"/>
                      <a:chExt cx="63817" cy="62786"/>
                    </a:xfrm>
                  </p:grpSpPr>
                  <p:sp>
                    <p:nvSpPr>
                      <p:cNvPr id="1410" name="Freeform 468">
                        <a:extLst>
                          <a:ext uri="{FF2B5EF4-FFF2-40B4-BE49-F238E27FC236}">
                            <a16:creationId xmlns:a16="http://schemas.microsoft.com/office/drawing/2014/main" id="{FC0850BD-A252-4AB8-DF71-F7CA4A8F97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3880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11" name="Freeform 469">
                        <a:extLst>
                          <a:ext uri="{FF2B5EF4-FFF2-40B4-BE49-F238E27FC236}">
                            <a16:creationId xmlns:a16="http://schemas.microsoft.com/office/drawing/2014/main" id="{E417442D-AE44-668C-45C8-42797F4EDB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531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8" name="Graphic 19">
                      <a:extLst>
                        <a:ext uri="{FF2B5EF4-FFF2-40B4-BE49-F238E27FC236}">
                          <a16:creationId xmlns:a16="http://schemas.microsoft.com/office/drawing/2014/main" id="{632B6A9C-10D3-6FEC-2AA0-75154A2F4C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37690" y="583697"/>
                      <a:ext cx="62865" cy="62786"/>
                      <a:chOff x="14537690" y="583697"/>
                      <a:chExt cx="62865" cy="62786"/>
                    </a:xfrm>
                  </p:grpSpPr>
                  <p:sp>
                    <p:nvSpPr>
                      <p:cNvPr id="1408" name="Freeform 471">
                        <a:extLst>
                          <a:ext uri="{FF2B5EF4-FFF2-40B4-BE49-F238E27FC236}">
                            <a16:creationId xmlns:a16="http://schemas.microsoft.com/office/drawing/2014/main" id="{CE63405A-C5E7-4A43-D6D3-1CDB387E6D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7690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9" name="Freeform 472">
                        <a:extLst>
                          <a:ext uri="{FF2B5EF4-FFF2-40B4-BE49-F238E27FC236}">
                            <a16:creationId xmlns:a16="http://schemas.microsoft.com/office/drawing/2014/main" id="{6BBE976F-FECD-C846-B71C-92E497FDDB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912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9" name="Graphic 19">
                      <a:extLst>
                        <a:ext uri="{FF2B5EF4-FFF2-40B4-BE49-F238E27FC236}">
                          <a16:creationId xmlns:a16="http://schemas.microsoft.com/office/drawing/2014/main" id="{FA479340-B976-ABAF-C9E1-CDE474221A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40548" y="583697"/>
                      <a:ext cx="62865" cy="62786"/>
                      <a:chOff x="14540548" y="583697"/>
                      <a:chExt cx="62865" cy="62786"/>
                    </a:xfrm>
                  </p:grpSpPr>
                  <p:sp>
                    <p:nvSpPr>
                      <p:cNvPr id="1406" name="Freeform 474">
                        <a:extLst>
                          <a:ext uri="{FF2B5EF4-FFF2-40B4-BE49-F238E27FC236}">
                            <a16:creationId xmlns:a16="http://schemas.microsoft.com/office/drawing/2014/main" id="{F11D9B77-0D69-AC8E-72CF-4B75DD3DEC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40548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7" name="Freeform 475">
                        <a:extLst>
                          <a:ext uri="{FF2B5EF4-FFF2-40B4-BE49-F238E27FC236}">
                            <a16:creationId xmlns:a16="http://schemas.microsoft.com/office/drawing/2014/main" id="{F068AD0A-0C56-4A78-D6DA-9B854451C5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7198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0" name="Graphic 19">
                      <a:extLst>
                        <a:ext uri="{FF2B5EF4-FFF2-40B4-BE49-F238E27FC236}">
                          <a16:creationId xmlns:a16="http://schemas.microsoft.com/office/drawing/2014/main" id="{02A0A9C7-1C0B-B0E0-8E15-21197CB300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85315" y="583697"/>
                      <a:ext cx="63817" cy="62786"/>
                      <a:chOff x="14585315" y="583697"/>
                      <a:chExt cx="63817" cy="62786"/>
                    </a:xfrm>
                  </p:grpSpPr>
                  <p:sp>
                    <p:nvSpPr>
                      <p:cNvPr id="1404" name="Freeform 477">
                        <a:extLst>
                          <a:ext uri="{FF2B5EF4-FFF2-40B4-BE49-F238E27FC236}">
                            <a16:creationId xmlns:a16="http://schemas.microsoft.com/office/drawing/2014/main" id="{CA889CBC-197D-734F-3005-33C250D7FE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5315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5" name="Freeform 478">
                        <a:extLst>
                          <a:ext uri="{FF2B5EF4-FFF2-40B4-BE49-F238E27FC236}">
                            <a16:creationId xmlns:a16="http://schemas.microsoft.com/office/drawing/2014/main" id="{5B0823A5-5418-9D22-D683-1A432AD21D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1770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1" name="Graphic 19">
                      <a:extLst>
                        <a:ext uri="{FF2B5EF4-FFF2-40B4-BE49-F238E27FC236}">
                          <a16:creationId xmlns:a16="http://schemas.microsoft.com/office/drawing/2014/main" id="{131E7389-767A-7451-B454-5741D59505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20558" y="583697"/>
                      <a:ext cx="63817" cy="62786"/>
                      <a:chOff x="14620558" y="583697"/>
                      <a:chExt cx="63817" cy="62786"/>
                    </a:xfrm>
                  </p:grpSpPr>
                  <p:sp>
                    <p:nvSpPr>
                      <p:cNvPr id="1402" name="Freeform 480">
                        <a:extLst>
                          <a:ext uri="{FF2B5EF4-FFF2-40B4-BE49-F238E27FC236}">
                            <a16:creationId xmlns:a16="http://schemas.microsoft.com/office/drawing/2014/main" id="{D4F39149-57BF-CC5C-E6AC-1A9A5BA814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0558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3" name="Freeform 481">
                        <a:extLst>
                          <a:ext uri="{FF2B5EF4-FFF2-40B4-BE49-F238E27FC236}">
                            <a16:creationId xmlns:a16="http://schemas.microsoft.com/office/drawing/2014/main" id="{CDFAA6C3-535F-850A-EF34-6FA2BB4AE4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2943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2" name="Graphic 19">
                      <a:extLst>
                        <a:ext uri="{FF2B5EF4-FFF2-40B4-BE49-F238E27FC236}">
                          <a16:creationId xmlns:a16="http://schemas.microsoft.com/office/drawing/2014/main" id="{0A17F35F-DCBC-4AB5-1D32-B4C8234974F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57705" y="583697"/>
                      <a:ext cx="63817" cy="62786"/>
                      <a:chOff x="14657705" y="583697"/>
                      <a:chExt cx="63817" cy="62786"/>
                    </a:xfrm>
                  </p:grpSpPr>
                  <p:sp>
                    <p:nvSpPr>
                      <p:cNvPr id="1400" name="Freeform 483">
                        <a:extLst>
                          <a:ext uri="{FF2B5EF4-FFF2-40B4-BE49-F238E27FC236}">
                            <a16:creationId xmlns:a16="http://schemas.microsoft.com/office/drawing/2014/main" id="{0654C0E4-5234-2B70-7084-EFCC37BB42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7705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401" name="Freeform 484">
                        <a:extLst>
                          <a:ext uri="{FF2B5EF4-FFF2-40B4-BE49-F238E27FC236}">
                            <a16:creationId xmlns:a16="http://schemas.microsoft.com/office/drawing/2014/main" id="{2E62EFA5-982C-12EF-BE54-EFDEB4A612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90090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3" name="Graphic 19">
                      <a:extLst>
                        <a:ext uri="{FF2B5EF4-FFF2-40B4-BE49-F238E27FC236}">
                          <a16:creationId xmlns:a16="http://schemas.microsoft.com/office/drawing/2014/main" id="{2C4430EC-CFB4-BA74-A525-09EA2680D6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10093" y="583697"/>
                      <a:ext cx="63817" cy="62786"/>
                      <a:chOff x="14710093" y="583697"/>
                      <a:chExt cx="63817" cy="62786"/>
                    </a:xfrm>
                  </p:grpSpPr>
                  <p:sp>
                    <p:nvSpPr>
                      <p:cNvPr id="1398" name="Freeform 486">
                        <a:extLst>
                          <a:ext uri="{FF2B5EF4-FFF2-40B4-BE49-F238E27FC236}">
                            <a16:creationId xmlns:a16="http://schemas.microsoft.com/office/drawing/2014/main" id="{CB0E1A0C-EEA6-78DE-1D92-DE72067BA1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009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9" name="Freeform 487">
                        <a:extLst>
                          <a:ext uri="{FF2B5EF4-FFF2-40B4-BE49-F238E27FC236}">
                            <a16:creationId xmlns:a16="http://schemas.microsoft.com/office/drawing/2014/main" id="{7E37AF31-098A-088E-50EC-B266F95C64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4247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4" name="Graphic 19">
                      <a:extLst>
                        <a:ext uri="{FF2B5EF4-FFF2-40B4-BE49-F238E27FC236}">
                          <a16:creationId xmlns:a16="http://schemas.microsoft.com/office/drawing/2014/main" id="{8F79ADAB-A6F8-D2D5-063B-48348711B61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13903" y="583697"/>
                      <a:ext cx="63817" cy="62786"/>
                      <a:chOff x="14713903" y="583697"/>
                      <a:chExt cx="63817" cy="62786"/>
                    </a:xfrm>
                  </p:grpSpPr>
                  <p:sp>
                    <p:nvSpPr>
                      <p:cNvPr id="1396" name="Freeform 489">
                        <a:extLst>
                          <a:ext uri="{FF2B5EF4-FFF2-40B4-BE49-F238E27FC236}">
                            <a16:creationId xmlns:a16="http://schemas.microsoft.com/office/drawing/2014/main" id="{79FC643B-918D-6600-D68F-90DB77A177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3903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7" name="Freeform 490">
                        <a:extLst>
                          <a:ext uri="{FF2B5EF4-FFF2-40B4-BE49-F238E27FC236}">
                            <a16:creationId xmlns:a16="http://schemas.microsoft.com/office/drawing/2014/main" id="{E5E50349-6F02-71FA-7073-C70940B79B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45335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5" name="Graphic 19">
                      <a:extLst>
                        <a:ext uri="{FF2B5EF4-FFF2-40B4-BE49-F238E27FC236}">
                          <a16:creationId xmlns:a16="http://schemas.microsoft.com/office/drawing/2014/main" id="{5719CBD6-B926-F532-640B-6A9F94FBDB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92008" y="689292"/>
                      <a:ext cx="63817" cy="63737"/>
                      <a:chOff x="14792008" y="689292"/>
                      <a:chExt cx="63817" cy="63737"/>
                    </a:xfrm>
                  </p:grpSpPr>
                  <p:sp>
                    <p:nvSpPr>
                      <p:cNvPr id="1394" name="Freeform 492">
                        <a:extLst>
                          <a:ext uri="{FF2B5EF4-FFF2-40B4-BE49-F238E27FC236}">
                            <a16:creationId xmlns:a16="http://schemas.microsoft.com/office/drawing/2014/main" id="{236AFD6E-DF33-82E9-77CD-1D9907D6F6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92008" y="72068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5" name="Freeform 493">
                        <a:extLst>
                          <a:ext uri="{FF2B5EF4-FFF2-40B4-BE49-F238E27FC236}">
                            <a16:creationId xmlns:a16="http://schemas.microsoft.com/office/drawing/2014/main" id="{5B6FB8D3-132D-0F55-EFD5-4025293412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23440" y="68929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6" name="Graphic 19">
                      <a:extLst>
                        <a:ext uri="{FF2B5EF4-FFF2-40B4-BE49-F238E27FC236}">
                          <a16:creationId xmlns:a16="http://schemas.microsoft.com/office/drawing/2014/main" id="{4E9A47AB-42F6-677D-AEDC-9921C4F694E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3915" y="689292"/>
                      <a:ext cx="63817" cy="63737"/>
                      <a:chOff x="14813915" y="689292"/>
                      <a:chExt cx="63817" cy="63737"/>
                    </a:xfrm>
                  </p:grpSpPr>
                  <p:sp>
                    <p:nvSpPr>
                      <p:cNvPr id="1392" name="Freeform 495">
                        <a:extLst>
                          <a:ext uri="{FF2B5EF4-FFF2-40B4-BE49-F238E27FC236}">
                            <a16:creationId xmlns:a16="http://schemas.microsoft.com/office/drawing/2014/main" id="{F0867766-6FD7-8D68-04EE-912E0430E1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3915" y="72068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3" name="Freeform 496">
                        <a:extLst>
                          <a:ext uri="{FF2B5EF4-FFF2-40B4-BE49-F238E27FC236}">
                            <a16:creationId xmlns:a16="http://schemas.microsoft.com/office/drawing/2014/main" id="{0A282B5D-718E-5A96-E5A8-EFF0BC1FCC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5348" y="68929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7" name="Graphic 19">
                      <a:extLst>
                        <a:ext uri="{FF2B5EF4-FFF2-40B4-BE49-F238E27FC236}">
                          <a16:creationId xmlns:a16="http://schemas.microsoft.com/office/drawing/2014/main" id="{C04DC473-8CAD-30FE-78C3-6BEAB234A0C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4868" y="743517"/>
                      <a:ext cx="63817" cy="62786"/>
                      <a:chOff x="14814868" y="743517"/>
                      <a:chExt cx="63817" cy="62786"/>
                    </a:xfrm>
                  </p:grpSpPr>
                  <p:sp>
                    <p:nvSpPr>
                      <p:cNvPr id="1390" name="Freeform 498">
                        <a:extLst>
                          <a:ext uri="{FF2B5EF4-FFF2-40B4-BE49-F238E27FC236}">
                            <a16:creationId xmlns:a16="http://schemas.microsoft.com/office/drawing/2014/main" id="{02658160-7679-974F-8078-F08DBBB6D3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4868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91" name="Freeform 499">
                        <a:extLst>
                          <a:ext uri="{FF2B5EF4-FFF2-40B4-BE49-F238E27FC236}">
                            <a16:creationId xmlns:a16="http://schemas.microsoft.com/office/drawing/2014/main" id="{C9879D34-02BD-A92B-8CF7-BBF621D3BD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630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8" name="Graphic 19">
                      <a:extLst>
                        <a:ext uri="{FF2B5EF4-FFF2-40B4-BE49-F238E27FC236}">
                          <a16:creationId xmlns:a16="http://schemas.microsoft.com/office/drawing/2014/main" id="{B0DBACA8-A13B-E3E0-B273-9DD61B31BD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8678" y="743517"/>
                      <a:ext cx="63817" cy="62786"/>
                      <a:chOff x="14818678" y="743517"/>
                      <a:chExt cx="63817" cy="62786"/>
                    </a:xfrm>
                  </p:grpSpPr>
                  <p:sp>
                    <p:nvSpPr>
                      <p:cNvPr id="1388" name="Freeform 501">
                        <a:extLst>
                          <a:ext uri="{FF2B5EF4-FFF2-40B4-BE49-F238E27FC236}">
                            <a16:creationId xmlns:a16="http://schemas.microsoft.com/office/drawing/2014/main" id="{99966AE7-0E5C-3115-2E45-BDDF898C18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8678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9" name="Freeform 502">
                        <a:extLst>
                          <a:ext uri="{FF2B5EF4-FFF2-40B4-BE49-F238E27FC236}">
                            <a16:creationId xmlns:a16="http://schemas.microsoft.com/office/drawing/2014/main" id="{ABD44AD7-B602-647A-30EB-28FAA993EC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51063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9" name="Graphic 19">
                      <a:extLst>
                        <a:ext uri="{FF2B5EF4-FFF2-40B4-BE49-F238E27FC236}">
                          <a16:creationId xmlns:a16="http://schemas.microsoft.com/office/drawing/2014/main" id="{43CCF6D6-09E0-C859-763A-04610F56EB6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46300" y="743517"/>
                      <a:ext cx="63817" cy="62786"/>
                      <a:chOff x="14846300" y="743517"/>
                      <a:chExt cx="63817" cy="62786"/>
                    </a:xfrm>
                  </p:grpSpPr>
                  <p:sp>
                    <p:nvSpPr>
                      <p:cNvPr id="1386" name="Freeform 504">
                        <a:extLst>
                          <a:ext uri="{FF2B5EF4-FFF2-40B4-BE49-F238E27FC236}">
                            <a16:creationId xmlns:a16="http://schemas.microsoft.com/office/drawing/2014/main" id="{2F443883-2C46-02BA-76E1-F03B0A3917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6300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7" name="Freeform 505">
                        <a:extLst>
                          <a:ext uri="{FF2B5EF4-FFF2-40B4-BE49-F238E27FC236}">
                            <a16:creationId xmlns:a16="http://schemas.microsoft.com/office/drawing/2014/main" id="{35B79184-15C3-2112-D043-1D2B4383F0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8685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0" name="Graphic 19">
                      <a:extLst>
                        <a:ext uri="{FF2B5EF4-FFF2-40B4-BE49-F238E27FC236}">
                          <a16:creationId xmlns:a16="http://schemas.microsoft.com/office/drawing/2014/main" id="{7E012E73-917F-C93C-9020-5F3CBB272E9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0588" y="743517"/>
                      <a:ext cx="62865" cy="62786"/>
                      <a:chOff x="14860588" y="743517"/>
                      <a:chExt cx="62865" cy="62786"/>
                    </a:xfrm>
                  </p:grpSpPr>
                  <p:sp>
                    <p:nvSpPr>
                      <p:cNvPr id="1384" name="Freeform 507">
                        <a:extLst>
                          <a:ext uri="{FF2B5EF4-FFF2-40B4-BE49-F238E27FC236}">
                            <a16:creationId xmlns:a16="http://schemas.microsoft.com/office/drawing/2014/main" id="{4DBEDB09-828B-BD05-EE2F-B2056C30BFA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0588" y="77491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5" name="Freeform 508">
                        <a:extLst>
                          <a:ext uri="{FF2B5EF4-FFF2-40B4-BE49-F238E27FC236}">
                            <a16:creationId xmlns:a16="http://schemas.microsoft.com/office/drawing/2014/main" id="{72263B55-D09D-9B08-461D-88263B09E0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9202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1" name="Graphic 19">
                      <a:extLst>
                        <a:ext uri="{FF2B5EF4-FFF2-40B4-BE49-F238E27FC236}">
                          <a16:creationId xmlns:a16="http://schemas.microsoft.com/office/drawing/2014/main" id="{68AB6839-9AD4-EB58-5814-9532615081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4398" y="743517"/>
                      <a:ext cx="62865" cy="62786"/>
                      <a:chOff x="14864398" y="743517"/>
                      <a:chExt cx="62865" cy="62786"/>
                    </a:xfrm>
                  </p:grpSpPr>
                  <p:sp>
                    <p:nvSpPr>
                      <p:cNvPr id="1382" name="Freeform 510">
                        <a:extLst>
                          <a:ext uri="{FF2B5EF4-FFF2-40B4-BE49-F238E27FC236}">
                            <a16:creationId xmlns:a16="http://schemas.microsoft.com/office/drawing/2014/main" id="{7BBC6D8D-1AD8-035C-8956-BBC5FF558FB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4398" y="77491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3" name="Freeform 511">
                        <a:extLst>
                          <a:ext uri="{FF2B5EF4-FFF2-40B4-BE49-F238E27FC236}">
                            <a16:creationId xmlns:a16="http://schemas.microsoft.com/office/drawing/2014/main" id="{3DCF0900-BAA8-3656-2C1A-B1C130190C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9583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2" name="Graphic 19">
                      <a:extLst>
                        <a:ext uri="{FF2B5EF4-FFF2-40B4-BE49-F238E27FC236}">
                          <a16:creationId xmlns:a16="http://schemas.microsoft.com/office/drawing/2014/main" id="{A274BF1A-C318-B4AE-D1F9-5666854687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9160" y="743517"/>
                      <a:ext cx="63817" cy="62786"/>
                      <a:chOff x="14869160" y="743517"/>
                      <a:chExt cx="63817" cy="62786"/>
                    </a:xfrm>
                  </p:grpSpPr>
                  <p:sp>
                    <p:nvSpPr>
                      <p:cNvPr id="1380" name="Freeform 513">
                        <a:extLst>
                          <a:ext uri="{FF2B5EF4-FFF2-40B4-BE49-F238E27FC236}">
                            <a16:creationId xmlns:a16="http://schemas.microsoft.com/office/drawing/2014/main" id="{FA5BBA04-7D19-091B-1614-71DA5D7A39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9160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81" name="Freeform 514">
                        <a:extLst>
                          <a:ext uri="{FF2B5EF4-FFF2-40B4-BE49-F238E27FC236}">
                            <a16:creationId xmlns:a16="http://schemas.microsoft.com/office/drawing/2014/main" id="{6CE8F8A2-2A26-3ED6-F5B5-655B560D78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0593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3" name="Graphic 19">
                      <a:extLst>
                        <a:ext uri="{FF2B5EF4-FFF2-40B4-BE49-F238E27FC236}">
                          <a16:creationId xmlns:a16="http://schemas.microsoft.com/office/drawing/2014/main" id="{E9201170-043C-D59E-7CD0-58BAAA53EF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75828" y="743517"/>
                      <a:ext cx="62865" cy="62786"/>
                      <a:chOff x="14875828" y="743517"/>
                      <a:chExt cx="62865" cy="62786"/>
                    </a:xfrm>
                  </p:grpSpPr>
                  <p:sp>
                    <p:nvSpPr>
                      <p:cNvPr id="1378" name="Freeform 516">
                        <a:extLst>
                          <a:ext uri="{FF2B5EF4-FFF2-40B4-BE49-F238E27FC236}">
                            <a16:creationId xmlns:a16="http://schemas.microsoft.com/office/drawing/2014/main" id="{92EA1225-1D4A-07F8-A593-EE8E5870C48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5828" y="77491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9" name="Freeform 517">
                        <a:extLst>
                          <a:ext uri="{FF2B5EF4-FFF2-40B4-BE49-F238E27FC236}">
                            <a16:creationId xmlns:a16="http://schemas.microsoft.com/office/drawing/2014/main" id="{BDEC39E3-0758-48BB-1BC8-4140746B4F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7260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4" name="Graphic 19">
                      <a:extLst>
                        <a:ext uri="{FF2B5EF4-FFF2-40B4-BE49-F238E27FC236}">
                          <a16:creationId xmlns:a16="http://schemas.microsoft.com/office/drawing/2014/main" id="{016F38D3-E68D-4615-6B1E-CD96C79D7E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18690" y="743517"/>
                      <a:ext cx="63817" cy="62786"/>
                      <a:chOff x="14918690" y="743517"/>
                      <a:chExt cx="63817" cy="62786"/>
                    </a:xfrm>
                  </p:grpSpPr>
                  <p:sp>
                    <p:nvSpPr>
                      <p:cNvPr id="1376" name="Freeform 519">
                        <a:extLst>
                          <a:ext uri="{FF2B5EF4-FFF2-40B4-BE49-F238E27FC236}">
                            <a16:creationId xmlns:a16="http://schemas.microsoft.com/office/drawing/2014/main" id="{18D877C3-D401-FBA9-993F-C799EF7DFB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8690" y="77491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7" name="Freeform 520">
                        <a:extLst>
                          <a:ext uri="{FF2B5EF4-FFF2-40B4-BE49-F238E27FC236}">
                            <a16:creationId xmlns:a16="http://schemas.microsoft.com/office/drawing/2014/main" id="{44306468-5EB1-745C-7FA0-795C81D564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1075" y="74351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5" name="Graphic 19">
                      <a:extLst>
                        <a:ext uri="{FF2B5EF4-FFF2-40B4-BE49-F238E27FC236}">
                          <a16:creationId xmlns:a16="http://schemas.microsoft.com/office/drawing/2014/main" id="{057E8FDC-2570-4E72-CC46-A58CB8E000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7740" y="831038"/>
                      <a:ext cx="62865" cy="62786"/>
                      <a:chOff x="14937740" y="831038"/>
                      <a:chExt cx="62865" cy="62786"/>
                    </a:xfrm>
                  </p:grpSpPr>
                  <p:sp>
                    <p:nvSpPr>
                      <p:cNvPr id="1374" name="Freeform 522">
                        <a:extLst>
                          <a:ext uri="{FF2B5EF4-FFF2-40B4-BE49-F238E27FC236}">
                            <a16:creationId xmlns:a16="http://schemas.microsoft.com/office/drawing/2014/main" id="{AC50B0BD-A282-75FD-DD36-BA05ECD391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7740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5" name="Freeform 523">
                        <a:extLst>
                          <a:ext uri="{FF2B5EF4-FFF2-40B4-BE49-F238E27FC236}">
                            <a16:creationId xmlns:a16="http://schemas.microsoft.com/office/drawing/2014/main" id="{C8B1DDC4-B91E-C968-B212-79CD6A38D1F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917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6" name="Graphic 19">
                      <a:extLst>
                        <a:ext uri="{FF2B5EF4-FFF2-40B4-BE49-F238E27FC236}">
                          <a16:creationId xmlns:a16="http://schemas.microsoft.com/office/drawing/2014/main" id="{9BA086AF-1FA6-95D9-3D19-0F11FBA9850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47265" y="831038"/>
                      <a:ext cx="62865" cy="62786"/>
                      <a:chOff x="14947265" y="831038"/>
                      <a:chExt cx="62865" cy="62786"/>
                    </a:xfrm>
                  </p:grpSpPr>
                  <p:sp>
                    <p:nvSpPr>
                      <p:cNvPr id="1372" name="Freeform 525">
                        <a:extLst>
                          <a:ext uri="{FF2B5EF4-FFF2-40B4-BE49-F238E27FC236}">
                            <a16:creationId xmlns:a16="http://schemas.microsoft.com/office/drawing/2014/main" id="{C49AFF6E-818D-1240-47FA-666811AAED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47265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3" name="Freeform 526">
                        <a:extLst>
                          <a:ext uri="{FF2B5EF4-FFF2-40B4-BE49-F238E27FC236}">
                            <a16:creationId xmlns:a16="http://schemas.microsoft.com/office/drawing/2014/main" id="{BF62F7D0-1CD3-ED91-A536-9631AB6485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8698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7" name="Graphic 19">
                      <a:extLst>
                        <a:ext uri="{FF2B5EF4-FFF2-40B4-BE49-F238E27FC236}">
                          <a16:creationId xmlns:a16="http://schemas.microsoft.com/office/drawing/2014/main" id="{AFAF7555-A867-4CEB-E021-A1F0BD0DA72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52980" y="831038"/>
                      <a:ext cx="62864" cy="62786"/>
                      <a:chOff x="14952980" y="831038"/>
                      <a:chExt cx="62864" cy="62786"/>
                    </a:xfrm>
                  </p:grpSpPr>
                  <p:sp>
                    <p:nvSpPr>
                      <p:cNvPr id="1370" name="Freeform 528">
                        <a:extLst>
                          <a:ext uri="{FF2B5EF4-FFF2-40B4-BE49-F238E27FC236}">
                            <a16:creationId xmlns:a16="http://schemas.microsoft.com/office/drawing/2014/main" id="{2A7264A2-AD01-8EED-1AB9-0203961A1C7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2980" y="86243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71" name="Freeform 529">
                        <a:extLst>
                          <a:ext uri="{FF2B5EF4-FFF2-40B4-BE49-F238E27FC236}">
                            <a16:creationId xmlns:a16="http://schemas.microsoft.com/office/drawing/2014/main" id="{2B8430C5-7783-B86D-DDCB-D7B33BBA787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441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8" name="Graphic 19">
                      <a:extLst>
                        <a:ext uri="{FF2B5EF4-FFF2-40B4-BE49-F238E27FC236}">
                          <a16:creationId xmlns:a16="http://schemas.microsoft.com/office/drawing/2014/main" id="{EC9CE069-3E19-9586-F18A-88AA75BE9B2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0120" y="831038"/>
                      <a:ext cx="63817" cy="62786"/>
                      <a:chOff x="14930120" y="831038"/>
                      <a:chExt cx="63817" cy="62786"/>
                    </a:xfrm>
                  </p:grpSpPr>
                  <p:sp>
                    <p:nvSpPr>
                      <p:cNvPr id="1368" name="Freeform 531">
                        <a:extLst>
                          <a:ext uri="{FF2B5EF4-FFF2-40B4-BE49-F238E27FC236}">
                            <a16:creationId xmlns:a16="http://schemas.microsoft.com/office/drawing/2014/main" id="{BFC2096F-1798-939E-CB6B-FA2370B49E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0120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9" name="Freeform 532">
                        <a:extLst>
                          <a:ext uri="{FF2B5EF4-FFF2-40B4-BE49-F238E27FC236}">
                            <a16:creationId xmlns:a16="http://schemas.microsoft.com/office/drawing/2014/main" id="{C3B535EA-4E68-D239-45E4-852E1167E6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2505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9" name="Graphic 19">
                      <a:extLst>
                        <a:ext uri="{FF2B5EF4-FFF2-40B4-BE49-F238E27FC236}">
                          <a16:creationId xmlns:a16="http://schemas.microsoft.com/office/drawing/2014/main" id="{925B0A62-60CA-07D0-C747-2C0932241B1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79650" y="831038"/>
                      <a:ext cx="63817" cy="62786"/>
                      <a:chOff x="14979650" y="831038"/>
                      <a:chExt cx="63817" cy="62786"/>
                    </a:xfrm>
                  </p:grpSpPr>
                  <p:sp>
                    <p:nvSpPr>
                      <p:cNvPr id="1366" name="Freeform 534">
                        <a:extLst>
                          <a:ext uri="{FF2B5EF4-FFF2-40B4-BE49-F238E27FC236}">
                            <a16:creationId xmlns:a16="http://schemas.microsoft.com/office/drawing/2014/main" id="{D48EEDE7-E795-4C30-3817-09D812005C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9650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7" name="Freeform 535">
                        <a:extLst>
                          <a:ext uri="{FF2B5EF4-FFF2-40B4-BE49-F238E27FC236}">
                            <a16:creationId xmlns:a16="http://schemas.microsoft.com/office/drawing/2014/main" id="{696BED6E-1816-9810-524D-3A0FFF6B5E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1108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0" name="Graphic 19">
                      <a:extLst>
                        <a:ext uri="{FF2B5EF4-FFF2-40B4-BE49-F238E27FC236}">
                          <a16:creationId xmlns:a16="http://schemas.microsoft.com/office/drawing/2014/main" id="{04695F2F-D6BC-E324-1F94-4896112E40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94890" y="831038"/>
                      <a:ext cx="62865" cy="62786"/>
                      <a:chOff x="14994890" y="831038"/>
                      <a:chExt cx="62865" cy="62786"/>
                    </a:xfrm>
                  </p:grpSpPr>
                  <p:sp>
                    <p:nvSpPr>
                      <p:cNvPr id="1364" name="Freeform 537">
                        <a:extLst>
                          <a:ext uri="{FF2B5EF4-FFF2-40B4-BE49-F238E27FC236}">
                            <a16:creationId xmlns:a16="http://schemas.microsoft.com/office/drawing/2014/main" id="{123053E1-A6CA-2292-8A60-E43CED6182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94890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5" name="Freeform 538">
                        <a:extLst>
                          <a:ext uri="{FF2B5EF4-FFF2-40B4-BE49-F238E27FC236}">
                            <a16:creationId xmlns:a16="http://schemas.microsoft.com/office/drawing/2014/main" id="{44550AFA-6376-D933-3D6A-86984BE335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6323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1" name="Graphic 19">
                      <a:extLst>
                        <a:ext uri="{FF2B5EF4-FFF2-40B4-BE49-F238E27FC236}">
                          <a16:creationId xmlns:a16="http://schemas.microsoft.com/office/drawing/2014/main" id="{ECFE65EF-07E0-A9A9-F80C-C490F57C82D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95843" y="831038"/>
                      <a:ext cx="63817" cy="62786"/>
                      <a:chOff x="14995843" y="831038"/>
                      <a:chExt cx="63817" cy="62786"/>
                    </a:xfrm>
                  </p:grpSpPr>
                  <p:sp>
                    <p:nvSpPr>
                      <p:cNvPr id="1362" name="Freeform 540">
                        <a:extLst>
                          <a:ext uri="{FF2B5EF4-FFF2-40B4-BE49-F238E27FC236}">
                            <a16:creationId xmlns:a16="http://schemas.microsoft.com/office/drawing/2014/main" id="{83B900A4-7235-11F6-99A3-16EA25BCF4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95843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3" name="Freeform 541">
                        <a:extLst>
                          <a:ext uri="{FF2B5EF4-FFF2-40B4-BE49-F238E27FC236}">
                            <a16:creationId xmlns:a16="http://schemas.microsoft.com/office/drawing/2014/main" id="{35F99288-CB99-FFE0-D3C5-6ACF6823F9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8228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2" name="Graphic 19">
                      <a:extLst>
                        <a:ext uri="{FF2B5EF4-FFF2-40B4-BE49-F238E27FC236}">
                          <a16:creationId xmlns:a16="http://schemas.microsoft.com/office/drawing/2014/main" id="{45314237-C847-5A12-1212-281446EC5BF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46325" y="831038"/>
                      <a:ext cx="62865" cy="62786"/>
                      <a:chOff x="15046325" y="831038"/>
                      <a:chExt cx="62865" cy="62786"/>
                    </a:xfrm>
                  </p:grpSpPr>
                  <p:sp>
                    <p:nvSpPr>
                      <p:cNvPr id="1360" name="Freeform 543">
                        <a:extLst>
                          <a:ext uri="{FF2B5EF4-FFF2-40B4-BE49-F238E27FC236}">
                            <a16:creationId xmlns:a16="http://schemas.microsoft.com/office/drawing/2014/main" id="{EF614AF7-F985-FEC9-3A72-CA87F9AC4E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46325" y="86243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61" name="Freeform 544">
                        <a:extLst>
                          <a:ext uri="{FF2B5EF4-FFF2-40B4-BE49-F238E27FC236}">
                            <a16:creationId xmlns:a16="http://schemas.microsoft.com/office/drawing/2014/main" id="{2EBEFCDE-B220-8EB8-DF1F-04E27D49D6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7758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3" name="Graphic 19">
                      <a:extLst>
                        <a:ext uri="{FF2B5EF4-FFF2-40B4-BE49-F238E27FC236}">
                          <a16:creationId xmlns:a16="http://schemas.microsoft.com/office/drawing/2014/main" id="{1E91CBE9-1B6C-1B5A-85E8-D19B6150082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67293" y="831038"/>
                      <a:ext cx="62864" cy="62786"/>
                      <a:chOff x="15167293" y="831038"/>
                      <a:chExt cx="62864" cy="62786"/>
                    </a:xfrm>
                  </p:grpSpPr>
                  <p:sp>
                    <p:nvSpPr>
                      <p:cNvPr id="1358" name="Freeform 546">
                        <a:extLst>
                          <a:ext uri="{FF2B5EF4-FFF2-40B4-BE49-F238E27FC236}">
                            <a16:creationId xmlns:a16="http://schemas.microsoft.com/office/drawing/2014/main" id="{515A7F54-E2EF-B2F8-35A9-17D8624F21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67293" y="86243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9" name="Freeform 547">
                        <a:extLst>
                          <a:ext uri="{FF2B5EF4-FFF2-40B4-BE49-F238E27FC236}">
                            <a16:creationId xmlns:a16="http://schemas.microsoft.com/office/drawing/2014/main" id="{5A4465EF-8FCC-43C4-1221-6710B28450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98725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4" name="Graphic 19">
                      <a:extLst>
                        <a:ext uri="{FF2B5EF4-FFF2-40B4-BE49-F238E27FC236}">
                          <a16:creationId xmlns:a16="http://schemas.microsoft.com/office/drawing/2014/main" id="{300741E2-B8BB-FE89-EC62-33A0E39149A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78723" y="831038"/>
                      <a:ext cx="63817" cy="62786"/>
                      <a:chOff x="15178723" y="831038"/>
                      <a:chExt cx="63817" cy="62786"/>
                    </a:xfrm>
                  </p:grpSpPr>
                  <p:sp>
                    <p:nvSpPr>
                      <p:cNvPr id="1356" name="Freeform 549">
                        <a:extLst>
                          <a:ext uri="{FF2B5EF4-FFF2-40B4-BE49-F238E27FC236}">
                            <a16:creationId xmlns:a16="http://schemas.microsoft.com/office/drawing/2014/main" id="{739A79A3-AACA-434F-7EE5-11D2836B28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78723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7" name="Freeform 550">
                        <a:extLst>
                          <a:ext uri="{FF2B5EF4-FFF2-40B4-BE49-F238E27FC236}">
                            <a16:creationId xmlns:a16="http://schemas.microsoft.com/office/drawing/2014/main" id="{E6174BFB-EED3-42FC-62FC-9541E12756E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10155" y="83103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5" name="Graphic 19">
                      <a:extLst>
                        <a:ext uri="{FF2B5EF4-FFF2-40B4-BE49-F238E27FC236}">
                          <a16:creationId xmlns:a16="http://schemas.microsoft.com/office/drawing/2014/main" id="{20A92294-68EB-E9D5-7689-E041CC74418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32915" y="583697"/>
                      <a:ext cx="62865" cy="62786"/>
                      <a:chOff x="14432915" y="583697"/>
                      <a:chExt cx="62865" cy="62786"/>
                    </a:xfrm>
                  </p:grpSpPr>
                  <p:sp>
                    <p:nvSpPr>
                      <p:cNvPr id="1354" name="Freeform 552">
                        <a:extLst>
                          <a:ext uri="{FF2B5EF4-FFF2-40B4-BE49-F238E27FC236}">
                            <a16:creationId xmlns:a16="http://schemas.microsoft.com/office/drawing/2014/main" id="{8E01BC38-7A4E-268E-9373-F2CF0E0C1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32915" y="615090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5" name="Freeform 553">
                        <a:extLst>
                          <a:ext uri="{FF2B5EF4-FFF2-40B4-BE49-F238E27FC236}">
                            <a16:creationId xmlns:a16="http://schemas.microsoft.com/office/drawing/2014/main" id="{6E89B536-4B0B-3261-E1B1-D7798452CB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6434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6" name="Graphic 19">
                      <a:extLst>
                        <a:ext uri="{FF2B5EF4-FFF2-40B4-BE49-F238E27FC236}">
                          <a16:creationId xmlns:a16="http://schemas.microsoft.com/office/drawing/2014/main" id="{47C90090-BC6E-2746-E1CA-77BF3936325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44345" y="583697"/>
                      <a:ext cx="63817" cy="62786"/>
                      <a:chOff x="14444345" y="583697"/>
                      <a:chExt cx="63817" cy="62786"/>
                    </a:xfrm>
                  </p:grpSpPr>
                  <p:sp>
                    <p:nvSpPr>
                      <p:cNvPr id="1352" name="Freeform 555">
                        <a:extLst>
                          <a:ext uri="{FF2B5EF4-FFF2-40B4-BE49-F238E27FC236}">
                            <a16:creationId xmlns:a16="http://schemas.microsoft.com/office/drawing/2014/main" id="{FCA6F70C-B623-A161-1803-605954F8218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44345" y="61509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3" name="Freeform 556">
                        <a:extLst>
                          <a:ext uri="{FF2B5EF4-FFF2-40B4-BE49-F238E27FC236}">
                            <a16:creationId xmlns:a16="http://schemas.microsoft.com/office/drawing/2014/main" id="{D394219E-6C5C-B813-CBB7-FE16DB7A10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75778" y="5836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7" name="Graphic 19">
                      <a:extLst>
                        <a:ext uri="{FF2B5EF4-FFF2-40B4-BE49-F238E27FC236}">
                          <a16:creationId xmlns:a16="http://schemas.microsoft.com/office/drawing/2014/main" id="{355231FB-B869-504C-7522-6B7E6D888A3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7180" y="557060"/>
                      <a:ext cx="63817" cy="62786"/>
                      <a:chOff x="14267180" y="557060"/>
                      <a:chExt cx="63817" cy="62786"/>
                    </a:xfrm>
                  </p:grpSpPr>
                  <p:sp>
                    <p:nvSpPr>
                      <p:cNvPr id="1350" name="Freeform 558">
                        <a:extLst>
                          <a:ext uri="{FF2B5EF4-FFF2-40B4-BE49-F238E27FC236}">
                            <a16:creationId xmlns:a16="http://schemas.microsoft.com/office/drawing/2014/main" id="{4FFEDDA1-5B42-48AA-254F-5BD70D1E36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718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51" name="Freeform 559">
                        <a:extLst>
                          <a:ext uri="{FF2B5EF4-FFF2-40B4-BE49-F238E27FC236}">
                            <a16:creationId xmlns:a16="http://schemas.microsoft.com/office/drawing/2014/main" id="{E595F865-6DB9-4DBF-5FBC-6F8F24E091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861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8" name="Graphic 19">
                      <a:extLst>
                        <a:ext uri="{FF2B5EF4-FFF2-40B4-BE49-F238E27FC236}">
                          <a16:creationId xmlns:a16="http://schemas.microsoft.com/office/drawing/2014/main" id="{5E61964D-359A-52BE-62C8-AA68C6D1B64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79563" y="557060"/>
                      <a:ext cx="62865" cy="62786"/>
                      <a:chOff x="14279563" y="557060"/>
                      <a:chExt cx="62865" cy="62786"/>
                    </a:xfrm>
                  </p:grpSpPr>
                  <p:sp>
                    <p:nvSpPr>
                      <p:cNvPr id="1348" name="Freeform 561">
                        <a:extLst>
                          <a:ext uri="{FF2B5EF4-FFF2-40B4-BE49-F238E27FC236}">
                            <a16:creationId xmlns:a16="http://schemas.microsoft.com/office/drawing/2014/main" id="{01039A82-3828-87AD-CA38-3A1BC4F5D3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79563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9" name="Freeform 562">
                        <a:extLst>
                          <a:ext uri="{FF2B5EF4-FFF2-40B4-BE49-F238E27FC236}">
                            <a16:creationId xmlns:a16="http://schemas.microsoft.com/office/drawing/2014/main" id="{7D7184B1-D4C6-91CB-D446-CDE3D84628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099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9" name="Graphic 19">
                      <a:extLst>
                        <a:ext uri="{FF2B5EF4-FFF2-40B4-BE49-F238E27FC236}">
                          <a16:creationId xmlns:a16="http://schemas.microsoft.com/office/drawing/2014/main" id="{B164D309-7F48-736F-526C-06645FDF78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85278" y="557060"/>
                      <a:ext cx="62865" cy="62786"/>
                      <a:chOff x="14285278" y="557060"/>
                      <a:chExt cx="62865" cy="62786"/>
                    </a:xfrm>
                  </p:grpSpPr>
                  <p:sp>
                    <p:nvSpPr>
                      <p:cNvPr id="1346" name="Freeform 564">
                        <a:extLst>
                          <a:ext uri="{FF2B5EF4-FFF2-40B4-BE49-F238E27FC236}">
                            <a16:creationId xmlns:a16="http://schemas.microsoft.com/office/drawing/2014/main" id="{2794DF97-11CB-6376-2DE9-736F70C7D95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5278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7" name="Freeform 565">
                        <a:extLst>
                          <a:ext uri="{FF2B5EF4-FFF2-40B4-BE49-F238E27FC236}">
                            <a16:creationId xmlns:a16="http://schemas.microsoft.com/office/drawing/2014/main" id="{A714D554-3C06-0816-0A8C-6F2A16A27F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671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40" name="Graphic 19">
                      <a:extLst>
                        <a:ext uri="{FF2B5EF4-FFF2-40B4-BE49-F238E27FC236}">
                          <a16:creationId xmlns:a16="http://schemas.microsoft.com/office/drawing/2014/main" id="{3449F45F-C47A-F5E9-156B-D376DB20137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90993" y="557060"/>
                      <a:ext cx="62864" cy="62786"/>
                      <a:chOff x="14290993" y="557060"/>
                      <a:chExt cx="62864" cy="62786"/>
                    </a:xfrm>
                  </p:grpSpPr>
                  <p:sp>
                    <p:nvSpPr>
                      <p:cNvPr id="1344" name="Freeform 567">
                        <a:extLst>
                          <a:ext uri="{FF2B5EF4-FFF2-40B4-BE49-F238E27FC236}">
                            <a16:creationId xmlns:a16="http://schemas.microsoft.com/office/drawing/2014/main" id="{3E3BF8C1-8F90-85A0-2769-3F2D37D1EE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0993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5" name="Freeform 568">
                        <a:extLst>
                          <a:ext uri="{FF2B5EF4-FFF2-40B4-BE49-F238E27FC236}">
                            <a16:creationId xmlns:a16="http://schemas.microsoft.com/office/drawing/2014/main" id="{8332BE1B-CE78-A49B-2D00-E3A7311A9F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2242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41" name="Graphic 19">
                      <a:extLst>
                        <a:ext uri="{FF2B5EF4-FFF2-40B4-BE49-F238E27FC236}">
                          <a16:creationId xmlns:a16="http://schemas.microsoft.com/office/drawing/2014/main" id="{56160E56-806D-8F57-F4A9-F589605A48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92848" y="477150"/>
                      <a:ext cx="62865" cy="62786"/>
                      <a:chOff x="13892848" y="477150"/>
                      <a:chExt cx="62865" cy="62786"/>
                    </a:xfrm>
                  </p:grpSpPr>
                  <p:sp>
                    <p:nvSpPr>
                      <p:cNvPr id="1342" name="Freeform 570">
                        <a:extLst>
                          <a:ext uri="{FF2B5EF4-FFF2-40B4-BE49-F238E27FC236}">
                            <a16:creationId xmlns:a16="http://schemas.microsoft.com/office/drawing/2014/main" id="{6E0BE85D-9845-6591-4482-B5ECC94F81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2848" y="50854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43" name="Freeform 571">
                        <a:extLst>
                          <a:ext uri="{FF2B5EF4-FFF2-40B4-BE49-F238E27FC236}">
                            <a16:creationId xmlns:a16="http://schemas.microsoft.com/office/drawing/2014/main" id="{BE19A0B9-C2F4-6201-184B-74A2150FB7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4280" y="47715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68D2DF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1162" name="Freeform 572">
                    <a:extLst>
                      <a:ext uri="{FF2B5EF4-FFF2-40B4-BE49-F238E27FC236}">
                        <a16:creationId xmlns:a16="http://schemas.microsoft.com/office/drawing/2014/main" id="{18F79D1A-6B2E-B2B7-70A0-572F687D61BE}"/>
                      </a:ext>
                    </a:extLst>
                  </p:cNvPr>
                  <p:cNvSpPr/>
                  <p:nvPr/>
                </p:nvSpPr>
                <p:spPr>
                  <a:xfrm>
                    <a:off x="9618980" y="-144055"/>
                    <a:ext cx="5592127" cy="1006486"/>
                  </a:xfrm>
                  <a:custGeom>
                    <a:avLst/>
                    <a:gdLst>
                      <a:gd name="connsiteX0" fmla="*/ 0 w 5592127"/>
                      <a:gd name="connsiteY0" fmla="*/ 0 h 1006486"/>
                      <a:gd name="connsiteX1" fmla="*/ 113348 w 5592127"/>
                      <a:gd name="connsiteY1" fmla="*/ 0 h 1006486"/>
                      <a:gd name="connsiteX2" fmla="*/ 113348 w 5592127"/>
                      <a:gd name="connsiteY2" fmla="*/ 9513 h 1006486"/>
                      <a:gd name="connsiteX3" fmla="*/ 131445 w 5592127"/>
                      <a:gd name="connsiteY3" fmla="*/ 9513 h 1006486"/>
                      <a:gd name="connsiteX4" fmla="*/ 131445 w 5592127"/>
                      <a:gd name="connsiteY4" fmla="*/ 14270 h 1006486"/>
                      <a:gd name="connsiteX5" fmla="*/ 194310 w 5592127"/>
                      <a:gd name="connsiteY5" fmla="*/ 14270 h 1006486"/>
                      <a:gd name="connsiteX6" fmla="*/ 194310 w 5592127"/>
                      <a:gd name="connsiteY6" fmla="*/ 25685 h 1006486"/>
                      <a:gd name="connsiteX7" fmla="*/ 239078 w 5592127"/>
                      <a:gd name="connsiteY7" fmla="*/ 25685 h 1006486"/>
                      <a:gd name="connsiteX8" fmla="*/ 239078 w 5592127"/>
                      <a:gd name="connsiteY8" fmla="*/ 34247 h 1006486"/>
                      <a:gd name="connsiteX9" fmla="*/ 275273 w 5592127"/>
                      <a:gd name="connsiteY9" fmla="*/ 34247 h 1006486"/>
                      <a:gd name="connsiteX10" fmla="*/ 275273 w 5592127"/>
                      <a:gd name="connsiteY10" fmla="*/ 43760 h 1006486"/>
                      <a:gd name="connsiteX11" fmla="*/ 538163 w 5592127"/>
                      <a:gd name="connsiteY11" fmla="*/ 43760 h 1006486"/>
                      <a:gd name="connsiteX12" fmla="*/ 538163 w 5592127"/>
                      <a:gd name="connsiteY12" fmla="*/ 49468 h 1006486"/>
                      <a:gd name="connsiteX13" fmla="*/ 678180 w 5592127"/>
                      <a:gd name="connsiteY13" fmla="*/ 49468 h 1006486"/>
                      <a:gd name="connsiteX14" fmla="*/ 678180 w 5592127"/>
                      <a:gd name="connsiteY14" fmla="*/ 54225 h 1006486"/>
                      <a:gd name="connsiteX15" fmla="*/ 721043 w 5592127"/>
                      <a:gd name="connsiteY15" fmla="*/ 54225 h 1006486"/>
                      <a:gd name="connsiteX16" fmla="*/ 721043 w 5592127"/>
                      <a:gd name="connsiteY16" fmla="*/ 68494 h 1006486"/>
                      <a:gd name="connsiteX17" fmla="*/ 741998 w 5592127"/>
                      <a:gd name="connsiteY17" fmla="*/ 68494 h 1006486"/>
                      <a:gd name="connsiteX18" fmla="*/ 741998 w 5592127"/>
                      <a:gd name="connsiteY18" fmla="*/ 76105 h 1006486"/>
                      <a:gd name="connsiteX19" fmla="*/ 784860 w 5592127"/>
                      <a:gd name="connsiteY19" fmla="*/ 76105 h 1006486"/>
                      <a:gd name="connsiteX20" fmla="*/ 784860 w 5592127"/>
                      <a:gd name="connsiteY20" fmla="*/ 84667 h 1006486"/>
                      <a:gd name="connsiteX21" fmla="*/ 1002030 w 5592127"/>
                      <a:gd name="connsiteY21" fmla="*/ 84667 h 1006486"/>
                      <a:gd name="connsiteX22" fmla="*/ 1002030 w 5592127"/>
                      <a:gd name="connsiteY22" fmla="*/ 93228 h 1006486"/>
                      <a:gd name="connsiteX23" fmla="*/ 1086803 w 5592127"/>
                      <a:gd name="connsiteY23" fmla="*/ 93228 h 1006486"/>
                      <a:gd name="connsiteX24" fmla="*/ 1086803 w 5592127"/>
                      <a:gd name="connsiteY24" fmla="*/ 100839 h 1006486"/>
                      <a:gd name="connsiteX25" fmla="*/ 1150620 w 5592127"/>
                      <a:gd name="connsiteY25" fmla="*/ 100839 h 1006486"/>
                      <a:gd name="connsiteX26" fmla="*/ 1150620 w 5592127"/>
                      <a:gd name="connsiteY26" fmla="*/ 106547 h 1006486"/>
                      <a:gd name="connsiteX27" fmla="*/ 1254443 w 5592127"/>
                      <a:gd name="connsiteY27" fmla="*/ 106547 h 1006486"/>
                      <a:gd name="connsiteX28" fmla="*/ 1254443 w 5592127"/>
                      <a:gd name="connsiteY28" fmla="*/ 115109 h 1006486"/>
                      <a:gd name="connsiteX29" fmla="*/ 1306830 w 5592127"/>
                      <a:gd name="connsiteY29" fmla="*/ 115109 h 1006486"/>
                      <a:gd name="connsiteX30" fmla="*/ 1306830 w 5592127"/>
                      <a:gd name="connsiteY30" fmla="*/ 121768 h 1006486"/>
                      <a:gd name="connsiteX31" fmla="*/ 1332548 w 5592127"/>
                      <a:gd name="connsiteY31" fmla="*/ 121768 h 1006486"/>
                      <a:gd name="connsiteX32" fmla="*/ 1332548 w 5592127"/>
                      <a:gd name="connsiteY32" fmla="*/ 130330 h 1006486"/>
                      <a:gd name="connsiteX33" fmla="*/ 1568768 w 5592127"/>
                      <a:gd name="connsiteY33" fmla="*/ 130330 h 1006486"/>
                      <a:gd name="connsiteX34" fmla="*/ 1568768 w 5592127"/>
                      <a:gd name="connsiteY34" fmla="*/ 137940 h 1006486"/>
                      <a:gd name="connsiteX35" fmla="*/ 1591628 w 5592127"/>
                      <a:gd name="connsiteY35" fmla="*/ 137940 h 1006486"/>
                      <a:gd name="connsiteX36" fmla="*/ 1591628 w 5592127"/>
                      <a:gd name="connsiteY36" fmla="*/ 156015 h 1006486"/>
                      <a:gd name="connsiteX37" fmla="*/ 1626870 w 5592127"/>
                      <a:gd name="connsiteY37" fmla="*/ 156015 h 1006486"/>
                      <a:gd name="connsiteX38" fmla="*/ 1626870 w 5592127"/>
                      <a:gd name="connsiteY38" fmla="*/ 162674 h 1006486"/>
                      <a:gd name="connsiteX39" fmla="*/ 1638300 w 5592127"/>
                      <a:gd name="connsiteY39" fmla="*/ 162674 h 1006486"/>
                      <a:gd name="connsiteX40" fmla="*/ 1638300 w 5592127"/>
                      <a:gd name="connsiteY40" fmla="*/ 176944 h 1006486"/>
                      <a:gd name="connsiteX41" fmla="*/ 1658303 w 5592127"/>
                      <a:gd name="connsiteY41" fmla="*/ 176944 h 1006486"/>
                      <a:gd name="connsiteX42" fmla="*/ 1658303 w 5592127"/>
                      <a:gd name="connsiteY42" fmla="*/ 181700 h 1006486"/>
                      <a:gd name="connsiteX43" fmla="*/ 1736408 w 5592127"/>
                      <a:gd name="connsiteY43" fmla="*/ 181700 h 1006486"/>
                      <a:gd name="connsiteX44" fmla="*/ 1736408 w 5592127"/>
                      <a:gd name="connsiteY44" fmla="*/ 189311 h 1006486"/>
                      <a:gd name="connsiteX45" fmla="*/ 1821180 w 5592127"/>
                      <a:gd name="connsiteY45" fmla="*/ 189311 h 1006486"/>
                      <a:gd name="connsiteX46" fmla="*/ 1821180 w 5592127"/>
                      <a:gd name="connsiteY46" fmla="*/ 195019 h 1006486"/>
                      <a:gd name="connsiteX47" fmla="*/ 1928813 w 5592127"/>
                      <a:gd name="connsiteY47" fmla="*/ 195019 h 1006486"/>
                      <a:gd name="connsiteX48" fmla="*/ 1928813 w 5592127"/>
                      <a:gd name="connsiteY48" fmla="*/ 203581 h 1006486"/>
                      <a:gd name="connsiteX49" fmla="*/ 1962150 w 5592127"/>
                      <a:gd name="connsiteY49" fmla="*/ 203581 h 1006486"/>
                      <a:gd name="connsiteX50" fmla="*/ 1962150 w 5592127"/>
                      <a:gd name="connsiteY50" fmla="*/ 210240 h 1006486"/>
                      <a:gd name="connsiteX51" fmla="*/ 2131695 w 5592127"/>
                      <a:gd name="connsiteY51" fmla="*/ 210240 h 1006486"/>
                      <a:gd name="connsiteX52" fmla="*/ 2131695 w 5592127"/>
                      <a:gd name="connsiteY52" fmla="*/ 222607 h 1006486"/>
                      <a:gd name="connsiteX53" fmla="*/ 2137410 w 5592127"/>
                      <a:gd name="connsiteY53" fmla="*/ 222607 h 1006486"/>
                      <a:gd name="connsiteX54" fmla="*/ 2137410 w 5592127"/>
                      <a:gd name="connsiteY54" fmla="*/ 227363 h 1006486"/>
                      <a:gd name="connsiteX55" fmla="*/ 2169795 w 5592127"/>
                      <a:gd name="connsiteY55" fmla="*/ 227363 h 1006486"/>
                      <a:gd name="connsiteX56" fmla="*/ 2169795 w 5592127"/>
                      <a:gd name="connsiteY56" fmla="*/ 240682 h 1006486"/>
                      <a:gd name="connsiteX57" fmla="*/ 2366010 w 5592127"/>
                      <a:gd name="connsiteY57" fmla="*/ 240682 h 1006486"/>
                      <a:gd name="connsiteX58" fmla="*/ 2366010 w 5592127"/>
                      <a:gd name="connsiteY58" fmla="*/ 252097 h 1006486"/>
                      <a:gd name="connsiteX59" fmla="*/ 2408873 w 5592127"/>
                      <a:gd name="connsiteY59" fmla="*/ 252097 h 1006486"/>
                      <a:gd name="connsiteX60" fmla="*/ 2408873 w 5592127"/>
                      <a:gd name="connsiteY60" fmla="*/ 258757 h 1006486"/>
                      <a:gd name="connsiteX61" fmla="*/ 2432685 w 5592127"/>
                      <a:gd name="connsiteY61" fmla="*/ 258757 h 1006486"/>
                      <a:gd name="connsiteX62" fmla="*/ 2432685 w 5592127"/>
                      <a:gd name="connsiteY62" fmla="*/ 262562 h 1006486"/>
                      <a:gd name="connsiteX63" fmla="*/ 2493645 w 5592127"/>
                      <a:gd name="connsiteY63" fmla="*/ 262562 h 1006486"/>
                      <a:gd name="connsiteX64" fmla="*/ 2493645 w 5592127"/>
                      <a:gd name="connsiteY64" fmla="*/ 274929 h 1006486"/>
                      <a:gd name="connsiteX65" fmla="*/ 2595563 w 5592127"/>
                      <a:gd name="connsiteY65" fmla="*/ 274929 h 1006486"/>
                      <a:gd name="connsiteX66" fmla="*/ 2595563 w 5592127"/>
                      <a:gd name="connsiteY66" fmla="*/ 284442 h 1006486"/>
                      <a:gd name="connsiteX67" fmla="*/ 2687003 w 5592127"/>
                      <a:gd name="connsiteY67" fmla="*/ 284442 h 1006486"/>
                      <a:gd name="connsiteX68" fmla="*/ 2687003 w 5592127"/>
                      <a:gd name="connsiteY68" fmla="*/ 293004 h 1006486"/>
                      <a:gd name="connsiteX69" fmla="*/ 2718435 w 5592127"/>
                      <a:gd name="connsiteY69" fmla="*/ 293004 h 1006486"/>
                      <a:gd name="connsiteX70" fmla="*/ 2718435 w 5592127"/>
                      <a:gd name="connsiteY70" fmla="*/ 301566 h 1006486"/>
                      <a:gd name="connsiteX71" fmla="*/ 2735580 w 5592127"/>
                      <a:gd name="connsiteY71" fmla="*/ 301566 h 1006486"/>
                      <a:gd name="connsiteX72" fmla="*/ 2735580 w 5592127"/>
                      <a:gd name="connsiteY72" fmla="*/ 312981 h 1006486"/>
                      <a:gd name="connsiteX73" fmla="*/ 2805113 w 5592127"/>
                      <a:gd name="connsiteY73" fmla="*/ 312981 h 1006486"/>
                      <a:gd name="connsiteX74" fmla="*/ 2805113 w 5592127"/>
                      <a:gd name="connsiteY74" fmla="*/ 322494 h 1006486"/>
                      <a:gd name="connsiteX75" fmla="*/ 2827973 w 5592127"/>
                      <a:gd name="connsiteY75" fmla="*/ 322494 h 1006486"/>
                      <a:gd name="connsiteX76" fmla="*/ 2827973 w 5592127"/>
                      <a:gd name="connsiteY76" fmla="*/ 332007 h 1006486"/>
                      <a:gd name="connsiteX77" fmla="*/ 2847975 w 5592127"/>
                      <a:gd name="connsiteY77" fmla="*/ 332007 h 1006486"/>
                      <a:gd name="connsiteX78" fmla="*/ 2847975 w 5592127"/>
                      <a:gd name="connsiteY78" fmla="*/ 340569 h 1006486"/>
                      <a:gd name="connsiteX79" fmla="*/ 2896553 w 5592127"/>
                      <a:gd name="connsiteY79" fmla="*/ 340569 h 1006486"/>
                      <a:gd name="connsiteX80" fmla="*/ 2896553 w 5592127"/>
                      <a:gd name="connsiteY80" fmla="*/ 352936 h 1006486"/>
                      <a:gd name="connsiteX81" fmla="*/ 3019425 w 5592127"/>
                      <a:gd name="connsiteY81" fmla="*/ 352936 h 1006486"/>
                      <a:gd name="connsiteX82" fmla="*/ 3019425 w 5592127"/>
                      <a:gd name="connsiteY82" fmla="*/ 362449 h 1006486"/>
                      <a:gd name="connsiteX83" fmla="*/ 3063240 w 5592127"/>
                      <a:gd name="connsiteY83" fmla="*/ 362449 h 1006486"/>
                      <a:gd name="connsiteX84" fmla="*/ 3063240 w 5592127"/>
                      <a:gd name="connsiteY84" fmla="*/ 371963 h 1006486"/>
                      <a:gd name="connsiteX85" fmla="*/ 3107055 w 5592127"/>
                      <a:gd name="connsiteY85" fmla="*/ 371963 h 1006486"/>
                      <a:gd name="connsiteX86" fmla="*/ 3107055 w 5592127"/>
                      <a:gd name="connsiteY86" fmla="*/ 379573 h 1006486"/>
                      <a:gd name="connsiteX87" fmla="*/ 3151823 w 5592127"/>
                      <a:gd name="connsiteY87" fmla="*/ 379573 h 1006486"/>
                      <a:gd name="connsiteX88" fmla="*/ 3151823 w 5592127"/>
                      <a:gd name="connsiteY88" fmla="*/ 387184 h 1006486"/>
                      <a:gd name="connsiteX89" fmla="*/ 3248978 w 5592127"/>
                      <a:gd name="connsiteY89" fmla="*/ 387184 h 1006486"/>
                      <a:gd name="connsiteX90" fmla="*/ 3248978 w 5592127"/>
                      <a:gd name="connsiteY90" fmla="*/ 394794 h 1006486"/>
                      <a:gd name="connsiteX91" fmla="*/ 3260408 w 5592127"/>
                      <a:gd name="connsiteY91" fmla="*/ 394794 h 1006486"/>
                      <a:gd name="connsiteX92" fmla="*/ 3260408 w 5592127"/>
                      <a:gd name="connsiteY92" fmla="*/ 401453 h 1006486"/>
                      <a:gd name="connsiteX93" fmla="*/ 3275648 w 5592127"/>
                      <a:gd name="connsiteY93" fmla="*/ 401453 h 1006486"/>
                      <a:gd name="connsiteX94" fmla="*/ 3275648 w 5592127"/>
                      <a:gd name="connsiteY94" fmla="*/ 410015 h 1006486"/>
                      <a:gd name="connsiteX95" fmla="*/ 3288030 w 5592127"/>
                      <a:gd name="connsiteY95" fmla="*/ 410015 h 1006486"/>
                      <a:gd name="connsiteX96" fmla="*/ 3288030 w 5592127"/>
                      <a:gd name="connsiteY96" fmla="*/ 416674 h 1006486"/>
                      <a:gd name="connsiteX97" fmla="*/ 3329940 w 5592127"/>
                      <a:gd name="connsiteY97" fmla="*/ 416674 h 1006486"/>
                      <a:gd name="connsiteX98" fmla="*/ 3329940 w 5592127"/>
                      <a:gd name="connsiteY98" fmla="*/ 423333 h 1006486"/>
                      <a:gd name="connsiteX99" fmla="*/ 3423285 w 5592127"/>
                      <a:gd name="connsiteY99" fmla="*/ 423333 h 1006486"/>
                      <a:gd name="connsiteX100" fmla="*/ 3423285 w 5592127"/>
                      <a:gd name="connsiteY100" fmla="*/ 434749 h 1006486"/>
                      <a:gd name="connsiteX101" fmla="*/ 3560445 w 5592127"/>
                      <a:gd name="connsiteY101" fmla="*/ 434749 h 1006486"/>
                      <a:gd name="connsiteX102" fmla="*/ 3560445 w 5592127"/>
                      <a:gd name="connsiteY102" fmla="*/ 446165 h 1006486"/>
                      <a:gd name="connsiteX103" fmla="*/ 3574733 w 5592127"/>
                      <a:gd name="connsiteY103" fmla="*/ 446165 h 1006486"/>
                      <a:gd name="connsiteX104" fmla="*/ 3574733 w 5592127"/>
                      <a:gd name="connsiteY104" fmla="*/ 454727 h 1006486"/>
                      <a:gd name="connsiteX105" fmla="*/ 3591878 w 5592127"/>
                      <a:gd name="connsiteY105" fmla="*/ 454727 h 1006486"/>
                      <a:gd name="connsiteX106" fmla="*/ 3591878 w 5592127"/>
                      <a:gd name="connsiteY106" fmla="*/ 468996 h 1006486"/>
                      <a:gd name="connsiteX107" fmla="*/ 3614738 w 5592127"/>
                      <a:gd name="connsiteY107" fmla="*/ 468996 h 1006486"/>
                      <a:gd name="connsiteX108" fmla="*/ 3614738 w 5592127"/>
                      <a:gd name="connsiteY108" fmla="*/ 475655 h 1006486"/>
                      <a:gd name="connsiteX109" fmla="*/ 3642360 w 5592127"/>
                      <a:gd name="connsiteY109" fmla="*/ 475655 h 1006486"/>
                      <a:gd name="connsiteX110" fmla="*/ 3642360 w 5592127"/>
                      <a:gd name="connsiteY110" fmla="*/ 490876 h 1006486"/>
                      <a:gd name="connsiteX111" fmla="*/ 3658553 w 5592127"/>
                      <a:gd name="connsiteY111" fmla="*/ 490876 h 1006486"/>
                      <a:gd name="connsiteX112" fmla="*/ 3658553 w 5592127"/>
                      <a:gd name="connsiteY112" fmla="*/ 499438 h 1006486"/>
                      <a:gd name="connsiteX113" fmla="*/ 3673793 w 5592127"/>
                      <a:gd name="connsiteY113" fmla="*/ 499438 h 1006486"/>
                      <a:gd name="connsiteX114" fmla="*/ 3673793 w 5592127"/>
                      <a:gd name="connsiteY114" fmla="*/ 508000 h 1006486"/>
                      <a:gd name="connsiteX115" fmla="*/ 3693795 w 5592127"/>
                      <a:gd name="connsiteY115" fmla="*/ 508000 h 1006486"/>
                      <a:gd name="connsiteX116" fmla="*/ 3693795 w 5592127"/>
                      <a:gd name="connsiteY116" fmla="*/ 517513 h 1006486"/>
                      <a:gd name="connsiteX117" fmla="*/ 3715703 w 5592127"/>
                      <a:gd name="connsiteY117" fmla="*/ 517513 h 1006486"/>
                      <a:gd name="connsiteX118" fmla="*/ 3715703 w 5592127"/>
                      <a:gd name="connsiteY118" fmla="*/ 523221 h 1006486"/>
                      <a:gd name="connsiteX119" fmla="*/ 3736658 w 5592127"/>
                      <a:gd name="connsiteY119" fmla="*/ 523221 h 1006486"/>
                      <a:gd name="connsiteX120" fmla="*/ 3736658 w 5592127"/>
                      <a:gd name="connsiteY120" fmla="*/ 532734 h 1006486"/>
                      <a:gd name="connsiteX121" fmla="*/ 3758565 w 5592127"/>
                      <a:gd name="connsiteY121" fmla="*/ 532734 h 1006486"/>
                      <a:gd name="connsiteX122" fmla="*/ 3758565 w 5592127"/>
                      <a:gd name="connsiteY122" fmla="*/ 537491 h 1006486"/>
                      <a:gd name="connsiteX123" fmla="*/ 3779520 w 5592127"/>
                      <a:gd name="connsiteY123" fmla="*/ 537491 h 1006486"/>
                      <a:gd name="connsiteX124" fmla="*/ 3779520 w 5592127"/>
                      <a:gd name="connsiteY124" fmla="*/ 542247 h 1006486"/>
                      <a:gd name="connsiteX125" fmla="*/ 3810953 w 5592127"/>
                      <a:gd name="connsiteY125" fmla="*/ 542247 h 1006486"/>
                      <a:gd name="connsiteX126" fmla="*/ 3810953 w 5592127"/>
                      <a:gd name="connsiteY126" fmla="*/ 550809 h 1006486"/>
                      <a:gd name="connsiteX127" fmla="*/ 3818573 w 5592127"/>
                      <a:gd name="connsiteY127" fmla="*/ 550809 h 1006486"/>
                      <a:gd name="connsiteX128" fmla="*/ 3818573 w 5592127"/>
                      <a:gd name="connsiteY128" fmla="*/ 562225 h 1006486"/>
                      <a:gd name="connsiteX129" fmla="*/ 3843338 w 5592127"/>
                      <a:gd name="connsiteY129" fmla="*/ 562225 h 1006486"/>
                      <a:gd name="connsiteX130" fmla="*/ 3854768 w 5592127"/>
                      <a:gd name="connsiteY130" fmla="*/ 562225 h 1006486"/>
                      <a:gd name="connsiteX131" fmla="*/ 3854768 w 5592127"/>
                      <a:gd name="connsiteY131" fmla="*/ 579348 h 1006486"/>
                      <a:gd name="connsiteX132" fmla="*/ 3862388 w 5592127"/>
                      <a:gd name="connsiteY132" fmla="*/ 579348 h 1006486"/>
                      <a:gd name="connsiteX133" fmla="*/ 3862388 w 5592127"/>
                      <a:gd name="connsiteY133" fmla="*/ 589813 h 1006486"/>
                      <a:gd name="connsiteX134" fmla="*/ 3878580 w 5592127"/>
                      <a:gd name="connsiteY134" fmla="*/ 589813 h 1006486"/>
                      <a:gd name="connsiteX135" fmla="*/ 3878580 w 5592127"/>
                      <a:gd name="connsiteY135" fmla="*/ 606936 h 1006486"/>
                      <a:gd name="connsiteX136" fmla="*/ 3886200 w 5592127"/>
                      <a:gd name="connsiteY136" fmla="*/ 606936 h 1006486"/>
                      <a:gd name="connsiteX137" fmla="*/ 3886200 w 5592127"/>
                      <a:gd name="connsiteY137" fmla="*/ 625963 h 1006486"/>
                      <a:gd name="connsiteX138" fmla="*/ 4079558 w 5592127"/>
                      <a:gd name="connsiteY138" fmla="*/ 625963 h 1006486"/>
                      <a:gd name="connsiteX139" fmla="*/ 4079558 w 5592127"/>
                      <a:gd name="connsiteY139" fmla="*/ 638330 h 1006486"/>
                      <a:gd name="connsiteX140" fmla="*/ 4163378 w 5592127"/>
                      <a:gd name="connsiteY140" fmla="*/ 638330 h 1006486"/>
                      <a:gd name="connsiteX141" fmla="*/ 4163378 w 5592127"/>
                      <a:gd name="connsiteY141" fmla="*/ 652599 h 1006486"/>
                      <a:gd name="connsiteX142" fmla="*/ 4417695 w 5592127"/>
                      <a:gd name="connsiteY142" fmla="*/ 652599 h 1006486"/>
                      <a:gd name="connsiteX143" fmla="*/ 4417695 w 5592127"/>
                      <a:gd name="connsiteY143" fmla="*/ 671626 h 1006486"/>
                      <a:gd name="connsiteX144" fmla="*/ 4460558 w 5592127"/>
                      <a:gd name="connsiteY144" fmla="*/ 671626 h 1006486"/>
                      <a:gd name="connsiteX145" fmla="*/ 4460558 w 5592127"/>
                      <a:gd name="connsiteY145" fmla="*/ 687798 h 1006486"/>
                      <a:gd name="connsiteX146" fmla="*/ 4561523 w 5592127"/>
                      <a:gd name="connsiteY146" fmla="*/ 687798 h 1006486"/>
                      <a:gd name="connsiteX147" fmla="*/ 4561523 w 5592127"/>
                      <a:gd name="connsiteY147" fmla="*/ 709678 h 1006486"/>
                      <a:gd name="connsiteX148" fmla="*/ 4632960 w 5592127"/>
                      <a:gd name="connsiteY148" fmla="*/ 709678 h 1006486"/>
                      <a:gd name="connsiteX149" fmla="*/ 4632960 w 5592127"/>
                      <a:gd name="connsiteY149" fmla="*/ 731558 h 1006486"/>
                      <a:gd name="connsiteX150" fmla="*/ 4725353 w 5592127"/>
                      <a:gd name="connsiteY150" fmla="*/ 731558 h 1006486"/>
                      <a:gd name="connsiteX151" fmla="*/ 4725353 w 5592127"/>
                      <a:gd name="connsiteY151" fmla="*/ 759146 h 1006486"/>
                      <a:gd name="connsiteX152" fmla="*/ 5167313 w 5592127"/>
                      <a:gd name="connsiteY152" fmla="*/ 759146 h 1006486"/>
                      <a:gd name="connsiteX153" fmla="*/ 5167313 w 5592127"/>
                      <a:gd name="connsiteY153" fmla="*/ 809566 h 1006486"/>
                      <a:gd name="connsiteX154" fmla="*/ 5187315 w 5592127"/>
                      <a:gd name="connsiteY154" fmla="*/ 809566 h 1006486"/>
                      <a:gd name="connsiteX155" fmla="*/ 5187315 w 5592127"/>
                      <a:gd name="connsiteY155" fmla="*/ 865693 h 1006486"/>
                      <a:gd name="connsiteX156" fmla="*/ 5229225 w 5592127"/>
                      <a:gd name="connsiteY156" fmla="*/ 865693 h 1006486"/>
                      <a:gd name="connsiteX157" fmla="*/ 5229225 w 5592127"/>
                      <a:gd name="connsiteY157" fmla="*/ 919918 h 1006486"/>
                      <a:gd name="connsiteX158" fmla="*/ 5334953 w 5592127"/>
                      <a:gd name="connsiteY158" fmla="*/ 919918 h 1006486"/>
                      <a:gd name="connsiteX159" fmla="*/ 5334953 w 5592127"/>
                      <a:gd name="connsiteY159" fmla="*/ 1006487 h 1006486"/>
                      <a:gd name="connsiteX160" fmla="*/ 5592128 w 5592127"/>
                      <a:gd name="connsiteY160" fmla="*/ 1006487 h 100648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</a:cxnLst>
                    <a:rect l="l" t="t" r="r" b="b"/>
                    <a:pathLst>
                      <a:path w="5592127" h="1006486">
                        <a:moveTo>
                          <a:pt x="0" y="0"/>
                        </a:moveTo>
                        <a:lnTo>
                          <a:pt x="113348" y="0"/>
                        </a:lnTo>
                        <a:lnTo>
                          <a:pt x="113348" y="9513"/>
                        </a:lnTo>
                        <a:lnTo>
                          <a:pt x="131445" y="9513"/>
                        </a:lnTo>
                        <a:lnTo>
                          <a:pt x="131445" y="14270"/>
                        </a:lnTo>
                        <a:lnTo>
                          <a:pt x="194310" y="14270"/>
                        </a:lnTo>
                        <a:lnTo>
                          <a:pt x="194310" y="25685"/>
                        </a:lnTo>
                        <a:lnTo>
                          <a:pt x="239078" y="25685"/>
                        </a:lnTo>
                        <a:lnTo>
                          <a:pt x="239078" y="34247"/>
                        </a:lnTo>
                        <a:lnTo>
                          <a:pt x="275273" y="34247"/>
                        </a:lnTo>
                        <a:lnTo>
                          <a:pt x="275273" y="43760"/>
                        </a:lnTo>
                        <a:lnTo>
                          <a:pt x="538163" y="43760"/>
                        </a:lnTo>
                        <a:lnTo>
                          <a:pt x="538163" y="49468"/>
                        </a:lnTo>
                        <a:lnTo>
                          <a:pt x="678180" y="49468"/>
                        </a:lnTo>
                        <a:lnTo>
                          <a:pt x="678180" y="54225"/>
                        </a:lnTo>
                        <a:lnTo>
                          <a:pt x="721043" y="54225"/>
                        </a:lnTo>
                        <a:lnTo>
                          <a:pt x="721043" y="68494"/>
                        </a:lnTo>
                        <a:lnTo>
                          <a:pt x="741998" y="68494"/>
                        </a:lnTo>
                        <a:lnTo>
                          <a:pt x="741998" y="76105"/>
                        </a:lnTo>
                        <a:lnTo>
                          <a:pt x="784860" y="76105"/>
                        </a:lnTo>
                        <a:lnTo>
                          <a:pt x="784860" y="84667"/>
                        </a:lnTo>
                        <a:lnTo>
                          <a:pt x="1002030" y="84667"/>
                        </a:lnTo>
                        <a:lnTo>
                          <a:pt x="1002030" y="93228"/>
                        </a:lnTo>
                        <a:lnTo>
                          <a:pt x="1086803" y="93228"/>
                        </a:lnTo>
                        <a:lnTo>
                          <a:pt x="1086803" y="100839"/>
                        </a:lnTo>
                        <a:lnTo>
                          <a:pt x="1150620" y="100839"/>
                        </a:lnTo>
                        <a:lnTo>
                          <a:pt x="1150620" y="106547"/>
                        </a:lnTo>
                        <a:lnTo>
                          <a:pt x="1254443" y="106547"/>
                        </a:lnTo>
                        <a:lnTo>
                          <a:pt x="1254443" y="115109"/>
                        </a:lnTo>
                        <a:lnTo>
                          <a:pt x="1306830" y="115109"/>
                        </a:lnTo>
                        <a:lnTo>
                          <a:pt x="1306830" y="121768"/>
                        </a:lnTo>
                        <a:lnTo>
                          <a:pt x="1332548" y="121768"/>
                        </a:lnTo>
                        <a:lnTo>
                          <a:pt x="1332548" y="130330"/>
                        </a:lnTo>
                        <a:lnTo>
                          <a:pt x="1568768" y="130330"/>
                        </a:lnTo>
                        <a:lnTo>
                          <a:pt x="1568768" y="137940"/>
                        </a:lnTo>
                        <a:lnTo>
                          <a:pt x="1591628" y="137940"/>
                        </a:lnTo>
                        <a:lnTo>
                          <a:pt x="1591628" y="156015"/>
                        </a:lnTo>
                        <a:lnTo>
                          <a:pt x="1626870" y="156015"/>
                        </a:lnTo>
                        <a:lnTo>
                          <a:pt x="1626870" y="162674"/>
                        </a:lnTo>
                        <a:lnTo>
                          <a:pt x="1638300" y="162674"/>
                        </a:lnTo>
                        <a:lnTo>
                          <a:pt x="1638300" y="176944"/>
                        </a:lnTo>
                        <a:lnTo>
                          <a:pt x="1658303" y="176944"/>
                        </a:lnTo>
                        <a:lnTo>
                          <a:pt x="1658303" y="181700"/>
                        </a:lnTo>
                        <a:lnTo>
                          <a:pt x="1736408" y="181700"/>
                        </a:lnTo>
                        <a:lnTo>
                          <a:pt x="1736408" y="189311"/>
                        </a:lnTo>
                        <a:lnTo>
                          <a:pt x="1821180" y="189311"/>
                        </a:lnTo>
                        <a:lnTo>
                          <a:pt x="1821180" y="195019"/>
                        </a:lnTo>
                        <a:lnTo>
                          <a:pt x="1928813" y="195019"/>
                        </a:lnTo>
                        <a:lnTo>
                          <a:pt x="1928813" y="203581"/>
                        </a:lnTo>
                        <a:lnTo>
                          <a:pt x="1962150" y="203581"/>
                        </a:lnTo>
                        <a:lnTo>
                          <a:pt x="1962150" y="210240"/>
                        </a:lnTo>
                        <a:lnTo>
                          <a:pt x="2131695" y="210240"/>
                        </a:lnTo>
                        <a:lnTo>
                          <a:pt x="2131695" y="222607"/>
                        </a:lnTo>
                        <a:lnTo>
                          <a:pt x="2137410" y="222607"/>
                        </a:lnTo>
                        <a:lnTo>
                          <a:pt x="2137410" y="227363"/>
                        </a:lnTo>
                        <a:lnTo>
                          <a:pt x="2169795" y="227363"/>
                        </a:lnTo>
                        <a:lnTo>
                          <a:pt x="2169795" y="240682"/>
                        </a:lnTo>
                        <a:lnTo>
                          <a:pt x="2366010" y="240682"/>
                        </a:lnTo>
                        <a:lnTo>
                          <a:pt x="2366010" y="252097"/>
                        </a:lnTo>
                        <a:lnTo>
                          <a:pt x="2408873" y="252097"/>
                        </a:lnTo>
                        <a:lnTo>
                          <a:pt x="2408873" y="258757"/>
                        </a:lnTo>
                        <a:lnTo>
                          <a:pt x="2432685" y="258757"/>
                        </a:lnTo>
                        <a:lnTo>
                          <a:pt x="2432685" y="262562"/>
                        </a:lnTo>
                        <a:lnTo>
                          <a:pt x="2493645" y="262562"/>
                        </a:lnTo>
                        <a:lnTo>
                          <a:pt x="2493645" y="274929"/>
                        </a:lnTo>
                        <a:lnTo>
                          <a:pt x="2595563" y="274929"/>
                        </a:lnTo>
                        <a:lnTo>
                          <a:pt x="2595563" y="284442"/>
                        </a:lnTo>
                        <a:lnTo>
                          <a:pt x="2687003" y="284442"/>
                        </a:lnTo>
                        <a:lnTo>
                          <a:pt x="2687003" y="293004"/>
                        </a:lnTo>
                        <a:lnTo>
                          <a:pt x="2718435" y="293004"/>
                        </a:lnTo>
                        <a:lnTo>
                          <a:pt x="2718435" y="301566"/>
                        </a:lnTo>
                        <a:lnTo>
                          <a:pt x="2735580" y="301566"/>
                        </a:lnTo>
                        <a:lnTo>
                          <a:pt x="2735580" y="312981"/>
                        </a:lnTo>
                        <a:lnTo>
                          <a:pt x="2805113" y="312981"/>
                        </a:lnTo>
                        <a:lnTo>
                          <a:pt x="2805113" y="322494"/>
                        </a:lnTo>
                        <a:lnTo>
                          <a:pt x="2827973" y="322494"/>
                        </a:lnTo>
                        <a:lnTo>
                          <a:pt x="2827973" y="332007"/>
                        </a:lnTo>
                        <a:lnTo>
                          <a:pt x="2847975" y="332007"/>
                        </a:lnTo>
                        <a:lnTo>
                          <a:pt x="2847975" y="340569"/>
                        </a:lnTo>
                        <a:lnTo>
                          <a:pt x="2896553" y="340569"/>
                        </a:lnTo>
                        <a:lnTo>
                          <a:pt x="2896553" y="352936"/>
                        </a:lnTo>
                        <a:lnTo>
                          <a:pt x="3019425" y="352936"/>
                        </a:lnTo>
                        <a:lnTo>
                          <a:pt x="3019425" y="362449"/>
                        </a:lnTo>
                        <a:lnTo>
                          <a:pt x="3063240" y="362449"/>
                        </a:lnTo>
                        <a:lnTo>
                          <a:pt x="3063240" y="371963"/>
                        </a:lnTo>
                        <a:lnTo>
                          <a:pt x="3107055" y="371963"/>
                        </a:lnTo>
                        <a:lnTo>
                          <a:pt x="3107055" y="379573"/>
                        </a:lnTo>
                        <a:lnTo>
                          <a:pt x="3151823" y="379573"/>
                        </a:lnTo>
                        <a:lnTo>
                          <a:pt x="3151823" y="387184"/>
                        </a:lnTo>
                        <a:lnTo>
                          <a:pt x="3248978" y="387184"/>
                        </a:lnTo>
                        <a:lnTo>
                          <a:pt x="3248978" y="394794"/>
                        </a:lnTo>
                        <a:lnTo>
                          <a:pt x="3260408" y="394794"/>
                        </a:lnTo>
                        <a:lnTo>
                          <a:pt x="3260408" y="401453"/>
                        </a:lnTo>
                        <a:lnTo>
                          <a:pt x="3275648" y="401453"/>
                        </a:lnTo>
                        <a:lnTo>
                          <a:pt x="3275648" y="410015"/>
                        </a:lnTo>
                        <a:lnTo>
                          <a:pt x="3288030" y="410015"/>
                        </a:lnTo>
                        <a:lnTo>
                          <a:pt x="3288030" y="416674"/>
                        </a:lnTo>
                        <a:lnTo>
                          <a:pt x="3329940" y="416674"/>
                        </a:lnTo>
                        <a:lnTo>
                          <a:pt x="3329940" y="423333"/>
                        </a:lnTo>
                        <a:lnTo>
                          <a:pt x="3423285" y="423333"/>
                        </a:lnTo>
                        <a:lnTo>
                          <a:pt x="3423285" y="434749"/>
                        </a:lnTo>
                        <a:lnTo>
                          <a:pt x="3560445" y="434749"/>
                        </a:lnTo>
                        <a:lnTo>
                          <a:pt x="3560445" y="446165"/>
                        </a:lnTo>
                        <a:lnTo>
                          <a:pt x="3574733" y="446165"/>
                        </a:lnTo>
                        <a:lnTo>
                          <a:pt x="3574733" y="454727"/>
                        </a:lnTo>
                        <a:lnTo>
                          <a:pt x="3591878" y="454727"/>
                        </a:lnTo>
                        <a:lnTo>
                          <a:pt x="3591878" y="468996"/>
                        </a:lnTo>
                        <a:lnTo>
                          <a:pt x="3614738" y="468996"/>
                        </a:lnTo>
                        <a:lnTo>
                          <a:pt x="3614738" y="475655"/>
                        </a:lnTo>
                        <a:lnTo>
                          <a:pt x="3642360" y="475655"/>
                        </a:lnTo>
                        <a:lnTo>
                          <a:pt x="3642360" y="490876"/>
                        </a:lnTo>
                        <a:lnTo>
                          <a:pt x="3658553" y="490876"/>
                        </a:lnTo>
                        <a:lnTo>
                          <a:pt x="3658553" y="499438"/>
                        </a:lnTo>
                        <a:lnTo>
                          <a:pt x="3673793" y="499438"/>
                        </a:lnTo>
                        <a:lnTo>
                          <a:pt x="3673793" y="508000"/>
                        </a:lnTo>
                        <a:lnTo>
                          <a:pt x="3693795" y="508000"/>
                        </a:lnTo>
                        <a:lnTo>
                          <a:pt x="3693795" y="517513"/>
                        </a:lnTo>
                        <a:lnTo>
                          <a:pt x="3715703" y="517513"/>
                        </a:lnTo>
                        <a:lnTo>
                          <a:pt x="3715703" y="523221"/>
                        </a:lnTo>
                        <a:lnTo>
                          <a:pt x="3736658" y="523221"/>
                        </a:lnTo>
                        <a:lnTo>
                          <a:pt x="3736658" y="532734"/>
                        </a:lnTo>
                        <a:lnTo>
                          <a:pt x="3758565" y="532734"/>
                        </a:lnTo>
                        <a:lnTo>
                          <a:pt x="3758565" y="537491"/>
                        </a:lnTo>
                        <a:lnTo>
                          <a:pt x="3779520" y="537491"/>
                        </a:lnTo>
                        <a:lnTo>
                          <a:pt x="3779520" y="542247"/>
                        </a:lnTo>
                        <a:lnTo>
                          <a:pt x="3810953" y="542247"/>
                        </a:lnTo>
                        <a:lnTo>
                          <a:pt x="3810953" y="550809"/>
                        </a:lnTo>
                        <a:lnTo>
                          <a:pt x="3818573" y="550809"/>
                        </a:lnTo>
                        <a:lnTo>
                          <a:pt x="3818573" y="562225"/>
                        </a:lnTo>
                        <a:lnTo>
                          <a:pt x="3843338" y="562225"/>
                        </a:lnTo>
                        <a:lnTo>
                          <a:pt x="3854768" y="562225"/>
                        </a:lnTo>
                        <a:lnTo>
                          <a:pt x="3854768" y="579348"/>
                        </a:lnTo>
                        <a:lnTo>
                          <a:pt x="3862388" y="579348"/>
                        </a:lnTo>
                        <a:lnTo>
                          <a:pt x="3862388" y="589813"/>
                        </a:lnTo>
                        <a:lnTo>
                          <a:pt x="3878580" y="589813"/>
                        </a:lnTo>
                        <a:lnTo>
                          <a:pt x="3878580" y="606936"/>
                        </a:lnTo>
                        <a:lnTo>
                          <a:pt x="3886200" y="606936"/>
                        </a:lnTo>
                        <a:lnTo>
                          <a:pt x="3886200" y="625963"/>
                        </a:lnTo>
                        <a:lnTo>
                          <a:pt x="4079558" y="625963"/>
                        </a:lnTo>
                        <a:lnTo>
                          <a:pt x="4079558" y="638330"/>
                        </a:lnTo>
                        <a:lnTo>
                          <a:pt x="4163378" y="638330"/>
                        </a:lnTo>
                        <a:lnTo>
                          <a:pt x="4163378" y="652599"/>
                        </a:lnTo>
                        <a:lnTo>
                          <a:pt x="4417695" y="652599"/>
                        </a:lnTo>
                        <a:lnTo>
                          <a:pt x="4417695" y="671626"/>
                        </a:lnTo>
                        <a:lnTo>
                          <a:pt x="4460558" y="671626"/>
                        </a:lnTo>
                        <a:lnTo>
                          <a:pt x="4460558" y="687798"/>
                        </a:lnTo>
                        <a:lnTo>
                          <a:pt x="4561523" y="687798"/>
                        </a:lnTo>
                        <a:lnTo>
                          <a:pt x="4561523" y="709678"/>
                        </a:lnTo>
                        <a:lnTo>
                          <a:pt x="4632960" y="709678"/>
                        </a:lnTo>
                        <a:lnTo>
                          <a:pt x="4632960" y="731558"/>
                        </a:lnTo>
                        <a:lnTo>
                          <a:pt x="4725353" y="731558"/>
                        </a:lnTo>
                        <a:lnTo>
                          <a:pt x="4725353" y="759146"/>
                        </a:lnTo>
                        <a:lnTo>
                          <a:pt x="5167313" y="759146"/>
                        </a:lnTo>
                        <a:lnTo>
                          <a:pt x="5167313" y="809566"/>
                        </a:lnTo>
                        <a:lnTo>
                          <a:pt x="5187315" y="809566"/>
                        </a:lnTo>
                        <a:lnTo>
                          <a:pt x="5187315" y="865693"/>
                        </a:lnTo>
                        <a:lnTo>
                          <a:pt x="5229225" y="865693"/>
                        </a:lnTo>
                        <a:lnTo>
                          <a:pt x="5229225" y="919918"/>
                        </a:lnTo>
                        <a:lnTo>
                          <a:pt x="5334953" y="919918"/>
                        </a:lnTo>
                        <a:lnTo>
                          <a:pt x="5334953" y="1006487"/>
                        </a:lnTo>
                        <a:lnTo>
                          <a:pt x="5592128" y="1006487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68D2DF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73" name="Freeform 573">
                  <a:extLst>
                    <a:ext uri="{FF2B5EF4-FFF2-40B4-BE49-F238E27FC236}">
                      <a16:creationId xmlns:a16="http://schemas.microsoft.com/office/drawing/2014/main" id="{B199110F-1583-C510-7380-14B2928C4585}"/>
                    </a:ext>
                  </a:extLst>
                </p:cNvPr>
                <p:cNvSpPr/>
                <p:nvPr/>
              </p:nvSpPr>
              <p:spPr>
                <a:xfrm>
                  <a:off x="980566" y="1044633"/>
                  <a:ext cx="11907" cy="2203235"/>
                </a:xfrm>
                <a:custGeom>
                  <a:avLst/>
                  <a:gdLst>
                    <a:gd name="connsiteX0" fmla="*/ 0 w 9525"/>
                    <a:gd name="connsiteY0" fmla="*/ 0 h 2203235"/>
                    <a:gd name="connsiteX1" fmla="*/ 0 w 9525"/>
                    <a:gd name="connsiteY1" fmla="*/ 2203236 h 2203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2203235">
                      <a:moveTo>
                        <a:pt x="0" y="0"/>
                      </a:moveTo>
                      <a:lnTo>
                        <a:pt x="0" y="2203236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4" name="Freeform 574">
                  <a:extLst>
                    <a:ext uri="{FF2B5EF4-FFF2-40B4-BE49-F238E27FC236}">
                      <a16:creationId xmlns:a16="http://schemas.microsoft.com/office/drawing/2014/main" id="{644873E4-BCFF-E410-2053-1850E43E5675}"/>
                    </a:ext>
                  </a:extLst>
                </p:cNvPr>
                <p:cNvSpPr/>
                <p:nvPr/>
              </p:nvSpPr>
              <p:spPr>
                <a:xfrm>
                  <a:off x="980566" y="3247868"/>
                  <a:ext cx="7825296" cy="9513"/>
                </a:xfrm>
                <a:custGeom>
                  <a:avLst/>
                  <a:gdLst>
                    <a:gd name="connsiteX0" fmla="*/ 0 w 6259830"/>
                    <a:gd name="connsiteY0" fmla="*/ 0 h 9513"/>
                    <a:gd name="connsiteX1" fmla="*/ 6259830 w 6259830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6259830" h="9513">
                      <a:moveTo>
                        <a:pt x="0" y="0"/>
                      </a:moveTo>
                      <a:lnTo>
                        <a:pt x="625983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5" name="Freeform 575">
                  <a:extLst>
                    <a:ext uri="{FF2B5EF4-FFF2-40B4-BE49-F238E27FC236}">
                      <a16:creationId xmlns:a16="http://schemas.microsoft.com/office/drawing/2014/main" id="{42744FFA-1BBB-A0D9-CB6D-F24CEE8ED58B}"/>
                    </a:ext>
                  </a:extLst>
                </p:cNvPr>
                <p:cNvSpPr/>
                <p:nvPr/>
              </p:nvSpPr>
              <p:spPr>
                <a:xfrm>
                  <a:off x="934129" y="3204108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6" name="Freeform 587">
                  <a:extLst>
                    <a:ext uri="{FF2B5EF4-FFF2-40B4-BE49-F238E27FC236}">
                      <a16:creationId xmlns:a16="http://schemas.microsoft.com/office/drawing/2014/main" id="{2049A590-DD42-AEA2-87B8-27AB44E14662}"/>
                    </a:ext>
                  </a:extLst>
                </p:cNvPr>
                <p:cNvSpPr/>
                <p:nvPr/>
              </p:nvSpPr>
              <p:spPr>
                <a:xfrm>
                  <a:off x="934129" y="2780774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7" name="Freeform 588">
                  <a:extLst>
                    <a:ext uri="{FF2B5EF4-FFF2-40B4-BE49-F238E27FC236}">
                      <a16:creationId xmlns:a16="http://schemas.microsoft.com/office/drawing/2014/main" id="{1499F08A-6D68-C7C2-C899-77C0D3DB667B}"/>
                    </a:ext>
                  </a:extLst>
                </p:cNvPr>
                <p:cNvSpPr/>
                <p:nvPr/>
              </p:nvSpPr>
              <p:spPr>
                <a:xfrm>
                  <a:off x="934129" y="2358392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8" name="Freeform 589">
                  <a:extLst>
                    <a:ext uri="{FF2B5EF4-FFF2-40B4-BE49-F238E27FC236}">
                      <a16:creationId xmlns:a16="http://schemas.microsoft.com/office/drawing/2014/main" id="{AE7B2E5E-59C4-D6CC-1324-4813249FC89E}"/>
                    </a:ext>
                  </a:extLst>
                </p:cNvPr>
                <p:cNvSpPr/>
                <p:nvPr/>
              </p:nvSpPr>
              <p:spPr>
                <a:xfrm>
                  <a:off x="934129" y="1935059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9" name="Freeform 590">
                  <a:extLst>
                    <a:ext uri="{FF2B5EF4-FFF2-40B4-BE49-F238E27FC236}">
                      <a16:creationId xmlns:a16="http://schemas.microsoft.com/office/drawing/2014/main" id="{2364C40D-346D-0499-5D80-629BAC5FC154}"/>
                    </a:ext>
                  </a:extLst>
                </p:cNvPr>
                <p:cNvSpPr/>
                <p:nvPr/>
              </p:nvSpPr>
              <p:spPr>
                <a:xfrm>
                  <a:off x="934129" y="1511725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0" name="Freeform 591">
                  <a:extLst>
                    <a:ext uri="{FF2B5EF4-FFF2-40B4-BE49-F238E27FC236}">
                      <a16:creationId xmlns:a16="http://schemas.microsoft.com/office/drawing/2014/main" id="{407A7B1E-C734-9447-1DEF-9F8A4E12540E}"/>
                    </a:ext>
                  </a:extLst>
                </p:cNvPr>
                <p:cNvSpPr/>
                <p:nvPr/>
              </p:nvSpPr>
              <p:spPr>
                <a:xfrm>
                  <a:off x="934129" y="1088393"/>
                  <a:ext cx="46437" cy="9513"/>
                </a:xfrm>
                <a:custGeom>
                  <a:avLst/>
                  <a:gdLst>
                    <a:gd name="connsiteX0" fmla="*/ 0 w 37147"/>
                    <a:gd name="connsiteY0" fmla="*/ 0 h 9513"/>
                    <a:gd name="connsiteX1" fmla="*/ 37148 w 37147"/>
                    <a:gd name="connsiteY1" fmla="*/ 0 h 9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7147" h="9513">
                      <a:moveTo>
                        <a:pt x="0" y="0"/>
                      </a:moveTo>
                      <a:lnTo>
                        <a:pt x="37148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grpSp>
              <p:nvGrpSpPr>
                <p:cNvPr id="81" name="Graphic 19">
                  <a:extLst>
                    <a:ext uri="{FF2B5EF4-FFF2-40B4-BE49-F238E27FC236}">
                      <a16:creationId xmlns:a16="http://schemas.microsoft.com/office/drawing/2014/main" id="{1499A7C9-C08F-C1FF-C3B8-E6A946A9A76B}"/>
                    </a:ext>
                  </a:extLst>
                </p:cNvPr>
                <p:cNvGrpSpPr/>
                <p:nvPr/>
              </p:nvGrpSpPr>
              <p:grpSpPr>
                <a:xfrm>
                  <a:off x="1088919" y="1079831"/>
                  <a:ext cx="7365685" cy="663063"/>
                  <a:chOff x="9618027" y="-155471"/>
                  <a:chExt cx="5892165" cy="663063"/>
                </a:xfrm>
                <a:noFill/>
              </p:grpSpPr>
              <p:grpSp>
                <p:nvGrpSpPr>
                  <p:cNvPr id="583" name="Graphic 19">
                    <a:extLst>
                      <a:ext uri="{FF2B5EF4-FFF2-40B4-BE49-F238E27FC236}">
                        <a16:creationId xmlns:a16="http://schemas.microsoft.com/office/drawing/2014/main" id="{3C5D29BE-EE96-5647-1929-F9148EB3171F}"/>
                      </a:ext>
                    </a:extLst>
                  </p:cNvPr>
                  <p:cNvGrpSpPr/>
                  <p:nvPr/>
                </p:nvGrpSpPr>
                <p:grpSpPr>
                  <a:xfrm>
                    <a:off x="9725660" y="-155471"/>
                    <a:ext cx="5784532" cy="663063"/>
                    <a:chOff x="9725660" y="-155471"/>
                    <a:chExt cx="5784532" cy="663063"/>
                  </a:xfrm>
                </p:grpSpPr>
                <p:grpSp>
                  <p:nvGrpSpPr>
                    <p:cNvPr id="585" name="Graphic 19">
                      <a:extLst>
                        <a:ext uri="{FF2B5EF4-FFF2-40B4-BE49-F238E27FC236}">
                          <a16:creationId xmlns:a16="http://schemas.microsoft.com/office/drawing/2014/main" id="{6D060600-FD2E-B847-F84F-73E018D929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725660" y="-155471"/>
                      <a:ext cx="63817" cy="63737"/>
                      <a:chOff x="9725660" y="-155471"/>
                      <a:chExt cx="63817" cy="63737"/>
                    </a:xfrm>
                  </p:grpSpPr>
                  <p:sp>
                    <p:nvSpPr>
                      <p:cNvPr id="1159" name="Freeform 595">
                        <a:extLst>
                          <a:ext uri="{FF2B5EF4-FFF2-40B4-BE49-F238E27FC236}">
                            <a16:creationId xmlns:a16="http://schemas.microsoft.com/office/drawing/2014/main" id="{28AD793D-1D6C-B8D7-E620-D73AE16B98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25660" y="-12312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60" name="Freeform 596">
                        <a:extLst>
                          <a:ext uri="{FF2B5EF4-FFF2-40B4-BE49-F238E27FC236}">
                            <a16:creationId xmlns:a16="http://schemas.microsoft.com/office/drawing/2014/main" id="{0048E8BA-30B3-256E-43E1-31C29247BC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58045" y="-1554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6" name="Graphic 19">
                      <a:extLst>
                        <a:ext uri="{FF2B5EF4-FFF2-40B4-BE49-F238E27FC236}">
                          <a16:creationId xmlns:a16="http://schemas.microsoft.com/office/drawing/2014/main" id="{03469F06-8B4D-6B4A-D8F8-0166DBFF15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253345" y="-82220"/>
                      <a:ext cx="62864" cy="62786"/>
                      <a:chOff x="10253345" y="-82220"/>
                      <a:chExt cx="62864" cy="62786"/>
                    </a:xfrm>
                  </p:grpSpPr>
                  <p:sp>
                    <p:nvSpPr>
                      <p:cNvPr id="1157" name="Freeform 598">
                        <a:extLst>
                          <a:ext uri="{FF2B5EF4-FFF2-40B4-BE49-F238E27FC236}">
                            <a16:creationId xmlns:a16="http://schemas.microsoft.com/office/drawing/2014/main" id="{E01755F7-4F7B-491C-B178-4A20969DA7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53345" y="-5082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8" name="Freeform 599">
                        <a:extLst>
                          <a:ext uri="{FF2B5EF4-FFF2-40B4-BE49-F238E27FC236}">
                            <a16:creationId xmlns:a16="http://schemas.microsoft.com/office/drawing/2014/main" id="{B07DF68E-25FE-9122-B5FC-300935E330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84778" y="-8222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7" name="Graphic 19">
                      <a:extLst>
                        <a:ext uri="{FF2B5EF4-FFF2-40B4-BE49-F238E27FC236}">
                          <a16:creationId xmlns:a16="http://schemas.microsoft.com/office/drawing/2014/main" id="{46C1035D-7EC0-5532-6734-BABFF90193C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24858" y="9105"/>
                      <a:ext cx="62864" cy="62786"/>
                      <a:chOff x="10924858" y="9105"/>
                      <a:chExt cx="62864" cy="62786"/>
                    </a:xfrm>
                  </p:grpSpPr>
                  <p:sp>
                    <p:nvSpPr>
                      <p:cNvPr id="1155" name="Freeform 601">
                        <a:extLst>
                          <a:ext uri="{FF2B5EF4-FFF2-40B4-BE49-F238E27FC236}">
                            <a16:creationId xmlns:a16="http://schemas.microsoft.com/office/drawing/2014/main" id="{C2B50479-E52F-EE37-0590-2F9C209126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24858" y="4049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6" name="Freeform 602">
                        <a:extLst>
                          <a:ext uri="{FF2B5EF4-FFF2-40B4-BE49-F238E27FC236}">
                            <a16:creationId xmlns:a16="http://schemas.microsoft.com/office/drawing/2014/main" id="{0AA38152-48E7-A9AA-6CD8-9C2E1B6C6F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56290" y="910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8" name="Graphic 19">
                      <a:extLst>
                        <a:ext uri="{FF2B5EF4-FFF2-40B4-BE49-F238E27FC236}">
                          <a16:creationId xmlns:a16="http://schemas.microsoft.com/office/drawing/2014/main" id="{A1CB8BB6-AB55-0EE5-6B89-3BA7A64C0D9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47718" y="24326"/>
                      <a:ext cx="62865" cy="62786"/>
                      <a:chOff x="10947718" y="24326"/>
                      <a:chExt cx="62865" cy="62786"/>
                    </a:xfrm>
                  </p:grpSpPr>
                  <p:sp>
                    <p:nvSpPr>
                      <p:cNvPr id="1153" name="Freeform 604">
                        <a:extLst>
                          <a:ext uri="{FF2B5EF4-FFF2-40B4-BE49-F238E27FC236}">
                            <a16:creationId xmlns:a16="http://schemas.microsoft.com/office/drawing/2014/main" id="{2E925869-5AFD-C8FA-BEA5-D192F93440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47718" y="5571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4" name="Freeform 605">
                        <a:extLst>
                          <a:ext uri="{FF2B5EF4-FFF2-40B4-BE49-F238E27FC236}">
                            <a16:creationId xmlns:a16="http://schemas.microsoft.com/office/drawing/2014/main" id="{378A6256-51D7-A18B-EB71-EB57E0229A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79150" y="2432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89" name="Graphic 19">
                      <a:extLst>
                        <a:ext uri="{FF2B5EF4-FFF2-40B4-BE49-F238E27FC236}">
                          <a16:creationId xmlns:a16="http://schemas.microsoft.com/office/drawing/2014/main" id="{CE937271-7B21-3018-E51C-340B8E171F5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88675" y="24326"/>
                      <a:ext cx="63817" cy="62786"/>
                      <a:chOff x="10988675" y="24326"/>
                      <a:chExt cx="63817" cy="62786"/>
                    </a:xfrm>
                  </p:grpSpPr>
                  <p:sp>
                    <p:nvSpPr>
                      <p:cNvPr id="1151" name="Freeform 607">
                        <a:extLst>
                          <a:ext uri="{FF2B5EF4-FFF2-40B4-BE49-F238E27FC236}">
                            <a16:creationId xmlns:a16="http://schemas.microsoft.com/office/drawing/2014/main" id="{7324CC9D-946B-933E-31E5-53EDD4C6B0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88675" y="5571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2" name="Freeform 608">
                        <a:extLst>
                          <a:ext uri="{FF2B5EF4-FFF2-40B4-BE49-F238E27FC236}">
                            <a16:creationId xmlns:a16="http://schemas.microsoft.com/office/drawing/2014/main" id="{514178D3-21FA-D4F7-127D-74C9C10918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20108" y="2432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0" name="Graphic 19">
                      <a:extLst>
                        <a:ext uri="{FF2B5EF4-FFF2-40B4-BE49-F238E27FC236}">
                          <a16:creationId xmlns:a16="http://schemas.microsoft.com/office/drawing/2014/main" id="{FC7BCC89-5498-8734-FA85-835AC1AA8E5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02963" y="24326"/>
                      <a:ext cx="63817" cy="62786"/>
                      <a:chOff x="11002963" y="24326"/>
                      <a:chExt cx="63817" cy="62786"/>
                    </a:xfrm>
                  </p:grpSpPr>
                  <p:sp>
                    <p:nvSpPr>
                      <p:cNvPr id="1149" name="Freeform 610">
                        <a:extLst>
                          <a:ext uri="{FF2B5EF4-FFF2-40B4-BE49-F238E27FC236}">
                            <a16:creationId xmlns:a16="http://schemas.microsoft.com/office/drawing/2014/main" id="{AEB4E80D-B20C-A83E-3AA3-8E4D31153F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02963" y="5571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0" name="Freeform 611">
                        <a:extLst>
                          <a:ext uri="{FF2B5EF4-FFF2-40B4-BE49-F238E27FC236}">
                            <a16:creationId xmlns:a16="http://schemas.microsoft.com/office/drawing/2014/main" id="{0EFC97EA-4C14-5DB4-8073-9DD14B1075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34395" y="2432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1" name="Graphic 19">
                      <a:extLst>
                        <a:ext uri="{FF2B5EF4-FFF2-40B4-BE49-F238E27FC236}">
                          <a16:creationId xmlns:a16="http://schemas.microsoft.com/office/drawing/2014/main" id="{5CFF5693-7CA7-C3B9-699C-159B0E248E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96320" y="41450"/>
                      <a:ext cx="62864" cy="63737"/>
                      <a:chOff x="11196320" y="41450"/>
                      <a:chExt cx="62864" cy="63737"/>
                    </a:xfrm>
                  </p:grpSpPr>
                  <p:sp>
                    <p:nvSpPr>
                      <p:cNvPr id="1147" name="Freeform 613">
                        <a:extLst>
                          <a:ext uri="{FF2B5EF4-FFF2-40B4-BE49-F238E27FC236}">
                            <a16:creationId xmlns:a16="http://schemas.microsoft.com/office/drawing/2014/main" id="{E0D94B16-C864-E5C5-7982-1C559EEA74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96320" y="728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8" name="Freeform 614">
                        <a:extLst>
                          <a:ext uri="{FF2B5EF4-FFF2-40B4-BE49-F238E27FC236}">
                            <a16:creationId xmlns:a16="http://schemas.microsoft.com/office/drawing/2014/main" id="{88FA7B3F-8F83-7711-2FA0-5C36E6BF61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27753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2" name="Graphic 19">
                      <a:extLst>
                        <a:ext uri="{FF2B5EF4-FFF2-40B4-BE49-F238E27FC236}">
                          <a16:creationId xmlns:a16="http://schemas.microsoft.com/office/drawing/2014/main" id="{A50D0B2E-1D0B-97C8-F495-48BF2F7E49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99178" y="41450"/>
                      <a:ext cx="62864" cy="63737"/>
                      <a:chOff x="11199178" y="41450"/>
                      <a:chExt cx="62864" cy="63737"/>
                    </a:xfrm>
                  </p:grpSpPr>
                  <p:sp>
                    <p:nvSpPr>
                      <p:cNvPr id="1145" name="Freeform 616">
                        <a:extLst>
                          <a:ext uri="{FF2B5EF4-FFF2-40B4-BE49-F238E27FC236}">
                            <a16:creationId xmlns:a16="http://schemas.microsoft.com/office/drawing/2014/main" id="{36C9D6DC-8D36-E407-0408-187A3276ED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99178" y="728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6" name="Freeform 617">
                        <a:extLst>
                          <a:ext uri="{FF2B5EF4-FFF2-40B4-BE49-F238E27FC236}">
                            <a16:creationId xmlns:a16="http://schemas.microsoft.com/office/drawing/2014/main" id="{B92E25A8-9438-DA70-FC95-58EE3DA2DD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0610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3" name="Graphic 19">
                      <a:extLst>
                        <a:ext uri="{FF2B5EF4-FFF2-40B4-BE49-F238E27FC236}">
                          <a16:creationId xmlns:a16="http://schemas.microsoft.com/office/drawing/2014/main" id="{3CE4B879-DF71-4450-6921-3C7C3E7B27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02035" y="41450"/>
                      <a:ext cx="62864" cy="63737"/>
                      <a:chOff x="11202035" y="41450"/>
                      <a:chExt cx="62864" cy="63737"/>
                    </a:xfrm>
                  </p:grpSpPr>
                  <p:sp>
                    <p:nvSpPr>
                      <p:cNvPr id="1143" name="Freeform 619">
                        <a:extLst>
                          <a:ext uri="{FF2B5EF4-FFF2-40B4-BE49-F238E27FC236}">
                            <a16:creationId xmlns:a16="http://schemas.microsoft.com/office/drawing/2014/main" id="{3CAA83EB-6BD7-6B2C-0844-D629B8F0E3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2035" y="7284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4" name="Freeform 620">
                        <a:extLst>
                          <a:ext uri="{FF2B5EF4-FFF2-40B4-BE49-F238E27FC236}">
                            <a16:creationId xmlns:a16="http://schemas.microsoft.com/office/drawing/2014/main" id="{BC94D2B3-33D3-A1FE-5C34-022D98E7FA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3468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4" name="Graphic 19">
                      <a:extLst>
                        <a:ext uri="{FF2B5EF4-FFF2-40B4-BE49-F238E27FC236}">
                          <a16:creationId xmlns:a16="http://schemas.microsoft.com/office/drawing/2014/main" id="{EE221E11-1D37-F905-7444-A1F62FF9F6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04893" y="41450"/>
                      <a:ext cx="63817" cy="63737"/>
                      <a:chOff x="11204893" y="41450"/>
                      <a:chExt cx="63817" cy="63737"/>
                    </a:xfrm>
                  </p:grpSpPr>
                  <p:sp>
                    <p:nvSpPr>
                      <p:cNvPr id="1141" name="Freeform 622">
                        <a:extLst>
                          <a:ext uri="{FF2B5EF4-FFF2-40B4-BE49-F238E27FC236}">
                            <a16:creationId xmlns:a16="http://schemas.microsoft.com/office/drawing/2014/main" id="{2B10C03B-5F55-D5E8-90D6-53313DE372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4893" y="728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2" name="Freeform 623">
                        <a:extLst>
                          <a:ext uri="{FF2B5EF4-FFF2-40B4-BE49-F238E27FC236}">
                            <a16:creationId xmlns:a16="http://schemas.microsoft.com/office/drawing/2014/main" id="{0234FAAE-1E7F-62C4-5705-4EA54BFA40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6325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5" name="Graphic 19">
                      <a:extLst>
                        <a:ext uri="{FF2B5EF4-FFF2-40B4-BE49-F238E27FC236}">
                          <a16:creationId xmlns:a16="http://schemas.microsoft.com/office/drawing/2014/main" id="{7E543965-84A8-671C-DA38-45B2B367EC6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07750" y="41450"/>
                      <a:ext cx="63817" cy="63737"/>
                      <a:chOff x="11207750" y="41450"/>
                      <a:chExt cx="63817" cy="63737"/>
                    </a:xfrm>
                  </p:grpSpPr>
                  <p:sp>
                    <p:nvSpPr>
                      <p:cNvPr id="1139" name="Freeform 625">
                        <a:extLst>
                          <a:ext uri="{FF2B5EF4-FFF2-40B4-BE49-F238E27FC236}">
                            <a16:creationId xmlns:a16="http://schemas.microsoft.com/office/drawing/2014/main" id="{4B1FE6F8-116C-B25A-98D2-9FBD1516F3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07750" y="728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0" name="Freeform 626">
                        <a:extLst>
                          <a:ext uri="{FF2B5EF4-FFF2-40B4-BE49-F238E27FC236}">
                            <a16:creationId xmlns:a16="http://schemas.microsoft.com/office/drawing/2014/main" id="{8565652E-1047-90F0-EE34-97FE35BFFC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39183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6" name="Graphic 19">
                      <a:extLst>
                        <a:ext uri="{FF2B5EF4-FFF2-40B4-BE49-F238E27FC236}">
                          <a16:creationId xmlns:a16="http://schemas.microsoft.com/office/drawing/2014/main" id="{23247686-5CE0-7FDB-42D3-676B6530F03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10608" y="41450"/>
                      <a:ext cx="63817" cy="63737"/>
                      <a:chOff x="11210608" y="41450"/>
                      <a:chExt cx="63817" cy="63737"/>
                    </a:xfrm>
                  </p:grpSpPr>
                  <p:sp>
                    <p:nvSpPr>
                      <p:cNvPr id="1137" name="Freeform 628">
                        <a:extLst>
                          <a:ext uri="{FF2B5EF4-FFF2-40B4-BE49-F238E27FC236}">
                            <a16:creationId xmlns:a16="http://schemas.microsoft.com/office/drawing/2014/main" id="{2E8D4F81-2239-B4F9-F779-4FF6B066FA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10608" y="7284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8" name="Freeform 629">
                        <a:extLst>
                          <a:ext uri="{FF2B5EF4-FFF2-40B4-BE49-F238E27FC236}">
                            <a16:creationId xmlns:a16="http://schemas.microsoft.com/office/drawing/2014/main" id="{553C9395-FC75-DC98-EFE8-1689FA94D8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42993" y="41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7" name="Graphic 19">
                      <a:extLst>
                        <a:ext uri="{FF2B5EF4-FFF2-40B4-BE49-F238E27FC236}">
                          <a16:creationId xmlns:a16="http://schemas.microsoft.com/office/drawing/2014/main" id="{E11C4B49-4159-1382-0494-F9A7BCEBA71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69663" y="67135"/>
                      <a:ext cx="62864" cy="62786"/>
                      <a:chOff x="11269663" y="67135"/>
                      <a:chExt cx="62864" cy="62786"/>
                    </a:xfrm>
                  </p:grpSpPr>
                  <p:sp>
                    <p:nvSpPr>
                      <p:cNvPr id="1135" name="Freeform 631">
                        <a:extLst>
                          <a:ext uri="{FF2B5EF4-FFF2-40B4-BE49-F238E27FC236}">
                            <a16:creationId xmlns:a16="http://schemas.microsoft.com/office/drawing/2014/main" id="{2905F451-BB09-9816-BD7E-7F5D831DF2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69663" y="9852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6" name="Freeform 632">
                        <a:extLst>
                          <a:ext uri="{FF2B5EF4-FFF2-40B4-BE49-F238E27FC236}">
                            <a16:creationId xmlns:a16="http://schemas.microsoft.com/office/drawing/2014/main" id="{AD1C6349-C841-53ED-EC06-D746631391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01095" y="6713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8" name="Graphic 19">
                      <a:extLst>
                        <a:ext uri="{FF2B5EF4-FFF2-40B4-BE49-F238E27FC236}">
                          <a16:creationId xmlns:a16="http://schemas.microsoft.com/office/drawing/2014/main" id="{4469282F-207E-F8CD-3C22-B046E558886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320145" y="80453"/>
                      <a:ext cx="63817" cy="63737"/>
                      <a:chOff x="11320145" y="80453"/>
                      <a:chExt cx="63817" cy="63737"/>
                    </a:xfrm>
                  </p:grpSpPr>
                  <p:sp>
                    <p:nvSpPr>
                      <p:cNvPr id="1133" name="Freeform 634">
                        <a:extLst>
                          <a:ext uri="{FF2B5EF4-FFF2-40B4-BE49-F238E27FC236}">
                            <a16:creationId xmlns:a16="http://schemas.microsoft.com/office/drawing/2014/main" id="{E0B9B327-6F60-4708-B36E-1C093E25F9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20145" y="1118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4" name="Freeform 635">
                        <a:extLst>
                          <a:ext uri="{FF2B5EF4-FFF2-40B4-BE49-F238E27FC236}">
                            <a16:creationId xmlns:a16="http://schemas.microsoft.com/office/drawing/2014/main" id="{2216C218-2240-ECC4-E1D5-805524A26F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51578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599" name="Graphic 19">
                      <a:extLst>
                        <a:ext uri="{FF2B5EF4-FFF2-40B4-BE49-F238E27FC236}">
                          <a16:creationId xmlns:a16="http://schemas.microsoft.com/office/drawing/2014/main" id="{5FBD97DB-B34E-1DC5-7FB4-8DA6A18260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391583" y="80453"/>
                      <a:ext cx="62864" cy="63737"/>
                      <a:chOff x="11391583" y="80453"/>
                      <a:chExt cx="62864" cy="63737"/>
                    </a:xfrm>
                  </p:grpSpPr>
                  <p:sp>
                    <p:nvSpPr>
                      <p:cNvPr id="1131" name="Freeform 637">
                        <a:extLst>
                          <a:ext uri="{FF2B5EF4-FFF2-40B4-BE49-F238E27FC236}">
                            <a16:creationId xmlns:a16="http://schemas.microsoft.com/office/drawing/2014/main" id="{893BD7C2-14A0-C009-EE18-5D5DA2DCEA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91583" y="1118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2" name="Freeform 638">
                        <a:extLst>
                          <a:ext uri="{FF2B5EF4-FFF2-40B4-BE49-F238E27FC236}">
                            <a16:creationId xmlns:a16="http://schemas.microsoft.com/office/drawing/2014/main" id="{E91AFD5F-ACEE-3960-6306-5EAF80E31A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23015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0" name="Graphic 19">
                      <a:extLst>
                        <a:ext uri="{FF2B5EF4-FFF2-40B4-BE49-F238E27FC236}">
                          <a16:creationId xmlns:a16="http://schemas.microsoft.com/office/drawing/2014/main" id="{EF4640F1-FE65-0122-DC15-E246CC9AF87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92548" y="80453"/>
                      <a:ext cx="62865" cy="63737"/>
                      <a:chOff x="11492548" y="80453"/>
                      <a:chExt cx="62865" cy="63737"/>
                    </a:xfrm>
                  </p:grpSpPr>
                  <p:sp>
                    <p:nvSpPr>
                      <p:cNvPr id="1129" name="Freeform 640">
                        <a:extLst>
                          <a:ext uri="{FF2B5EF4-FFF2-40B4-BE49-F238E27FC236}">
                            <a16:creationId xmlns:a16="http://schemas.microsoft.com/office/drawing/2014/main" id="{50889C89-75CA-459B-B163-DBEE616979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92548" y="1118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0" name="Freeform 641">
                        <a:extLst>
                          <a:ext uri="{FF2B5EF4-FFF2-40B4-BE49-F238E27FC236}">
                            <a16:creationId xmlns:a16="http://schemas.microsoft.com/office/drawing/2014/main" id="{54F6E93A-A018-D1FD-397D-E2A27463F3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23980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1" name="Graphic 19">
                      <a:extLst>
                        <a:ext uri="{FF2B5EF4-FFF2-40B4-BE49-F238E27FC236}">
                          <a16:creationId xmlns:a16="http://schemas.microsoft.com/office/drawing/2014/main" id="{FBDEA17E-3DAC-CC50-3C55-92F3839D38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30648" y="80453"/>
                      <a:ext cx="63817" cy="63737"/>
                      <a:chOff x="11530648" y="80453"/>
                      <a:chExt cx="63817" cy="63737"/>
                    </a:xfrm>
                  </p:grpSpPr>
                  <p:sp>
                    <p:nvSpPr>
                      <p:cNvPr id="1127" name="Freeform 643">
                        <a:extLst>
                          <a:ext uri="{FF2B5EF4-FFF2-40B4-BE49-F238E27FC236}">
                            <a16:creationId xmlns:a16="http://schemas.microsoft.com/office/drawing/2014/main" id="{D6A07567-A195-8E85-E4A3-94607A5D6B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30648" y="1118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8" name="Freeform 644">
                        <a:extLst>
                          <a:ext uri="{FF2B5EF4-FFF2-40B4-BE49-F238E27FC236}">
                            <a16:creationId xmlns:a16="http://schemas.microsoft.com/office/drawing/2014/main" id="{743062BA-8A25-8E56-834A-7BC48D5833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62080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2" name="Graphic 19">
                      <a:extLst>
                        <a:ext uri="{FF2B5EF4-FFF2-40B4-BE49-F238E27FC236}">
                          <a16:creationId xmlns:a16="http://schemas.microsoft.com/office/drawing/2014/main" id="{5A64AAC6-8B0D-4679-06F5-16F412E16DF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83035" y="80453"/>
                      <a:ext cx="62865" cy="63737"/>
                      <a:chOff x="11583035" y="80453"/>
                      <a:chExt cx="62865" cy="63737"/>
                    </a:xfrm>
                  </p:grpSpPr>
                  <p:sp>
                    <p:nvSpPr>
                      <p:cNvPr id="1125" name="Freeform 646">
                        <a:extLst>
                          <a:ext uri="{FF2B5EF4-FFF2-40B4-BE49-F238E27FC236}">
                            <a16:creationId xmlns:a16="http://schemas.microsoft.com/office/drawing/2014/main" id="{31DF99BB-2F46-72F1-8473-50EE0F8EAC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83035" y="1118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6" name="Freeform 647">
                        <a:extLst>
                          <a:ext uri="{FF2B5EF4-FFF2-40B4-BE49-F238E27FC236}">
                            <a16:creationId xmlns:a16="http://schemas.microsoft.com/office/drawing/2014/main" id="{CF8F35CF-6C9A-EDE8-AD76-797BE846BB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14468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3" name="Graphic 19">
                      <a:extLst>
                        <a:ext uri="{FF2B5EF4-FFF2-40B4-BE49-F238E27FC236}">
                          <a16:creationId xmlns:a16="http://schemas.microsoft.com/office/drawing/2014/main" id="{452A14FD-53E6-EC69-98AF-4CB7BE0ED3D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96370" y="80453"/>
                      <a:ext cx="63817" cy="63737"/>
                      <a:chOff x="11596370" y="80453"/>
                      <a:chExt cx="63817" cy="63737"/>
                    </a:xfrm>
                  </p:grpSpPr>
                  <p:sp>
                    <p:nvSpPr>
                      <p:cNvPr id="1123" name="Freeform 649">
                        <a:extLst>
                          <a:ext uri="{FF2B5EF4-FFF2-40B4-BE49-F238E27FC236}">
                            <a16:creationId xmlns:a16="http://schemas.microsoft.com/office/drawing/2014/main" id="{326D1226-AF6D-E20E-D747-83FEAF73C0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96370" y="1118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4" name="Freeform 650">
                        <a:extLst>
                          <a:ext uri="{FF2B5EF4-FFF2-40B4-BE49-F238E27FC236}">
                            <a16:creationId xmlns:a16="http://schemas.microsoft.com/office/drawing/2014/main" id="{D00CE290-B39E-CDBA-D0B7-8EC9155A79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27803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4" name="Graphic 19">
                      <a:extLst>
                        <a:ext uri="{FF2B5EF4-FFF2-40B4-BE49-F238E27FC236}">
                          <a16:creationId xmlns:a16="http://schemas.microsoft.com/office/drawing/2014/main" id="{58852C3A-1DF8-4EF7-3B9C-5F33864E1E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70665" y="80453"/>
                      <a:ext cx="62864" cy="63737"/>
                      <a:chOff x="11670665" y="80453"/>
                      <a:chExt cx="62864" cy="63737"/>
                    </a:xfrm>
                  </p:grpSpPr>
                  <p:sp>
                    <p:nvSpPr>
                      <p:cNvPr id="1121" name="Freeform 652">
                        <a:extLst>
                          <a:ext uri="{FF2B5EF4-FFF2-40B4-BE49-F238E27FC236}">
                            <a16:creationId xmlns:a16="http://schemas.microsoft.com/office/drawing/2014/main" id="{295A40B4-4106-0C24-6E93-2E73758B81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70665" y="1118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2" name="Freeform 653">
                        <a:extLst>
                          <a:ext uri="{FF2B5EF4-FFF2-40B4-BE49-F238E27FC236}">
                            <a16:creationId xmlns:a16="http://schemas.microsoft.com/office/drawing/2014/main" id="{2691BD64-F211-9CE9-8644-EE581DEE39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2098" y="804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5" name="Graphic 19">
                      <a:extLst>
                        <a:ext uri="{FF2B5EF4-FFF2-40B4-BE49-F238E27FC236}">
                          <a16:creationId xmlns:a16="http://schemas.microsoft.com/office/drawing/2014/main" id="{B13E3919-C2A7-82F2-A4CD-CA13A1167C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787823" y="87113"/>
                      <a:ext cx="62865" cy="62786"/>
                      <a:chOff x="11787823" y="87113"/>
                      <a:chExt cx="62865" cy="62786"/>
                    </a:xfrm>
                  </p:grpSpPr>
                  <p:sp>
                    <p:nvSpPr>
                      <p:cNvPr id="1119" name="Freeform 655">
                        <a:extLst>
                          <a:ext uri="{FF2B5EF4-FFF2-40B4-BE49-F238E27FC236}">
                            <a16:creationId xmlns:a16="http://schemas.microsoft.com/office/drawing/2014/main" id="{DBF56272-81B8-A88B-986F-B33B12DD8F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87823" y="11850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0" name="Freeform 656">
                        <a:extLst>
                          <a:ext uri="{FF2B5EF4-FFF2-40B4-BE49-F238E27FC236}">
                            <a16:creationId xmlns:a16="http://schemas.microsoft.com/office/drawing/2014/main" id="{40FB9F6E-F5FD-6B90-46EC-715946780F3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19255" y="8711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6" name="Graphic 19">
                      <a:extLst>
                        <a:ext uri="{FF2B5EF4-FFF2-40B4-BE49-F238E27FC236}">
                          <a16:creationId xmlns:a16="http://schemas.microsoft.com/office/drawing/2014/main" id="{585AC9F5-A06E-0268-09D9-B84F8402B1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864023" y="93772"/>
                      <a:ext cx="63817" cy="63737"/>
                      <a:chOff x="11864023" y="93772"/>
                      <a:chExt cx="63817" cy="63737"/>
                    </a:xfrm>
                  </p:grpSpPr>
                  <p:sp>
                    <p:nvSpPr>
                      <p:cNvPr id="1117" name="Freeform 658">
                        <a:extLst>
                          <a:ext uri="{FF2B5EF4-FFF2-40B4-BE49-F238E27FC236}">
                            <a16:creationId xmlns:a16="http://schemas.microsoft.com/office/drawing/2014/main" id="{BFECB745-5655-4B92-6A90-03E7F1A83C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64023" y="1261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8" name="Freeform 659">
                        <a:extLst>
                          <a:ext uri="{FF2B5EF4-FFF2-40B4-BE49-F238E27FC236}">
                            <a16:creationId xmlns:a16="http://schemas.microsoft.com/office/drawing/2014/main" id="{DA455F96-D1B2-82A3-15ED-2C4EE5726D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96408" y="937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7" name="Graphic 19">
                      <a:extLst>
                        <a:ext uri="{FF2B5EF4-FFF2-40B4-BE49-F238E27FC236}">
                          <a16:creationId xmlns:a16="http://schemas.microsoft.com/office/drawing/2014/main" id="{B965466C-804D-B448-9CEE-BF62684388E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17375" y="93772"/>
                      <a:ext cx="62865" cy="63737"/>
                      <a:chOff x="12017375" y="93772"/>
                      <a:chExt cx="62865" cy="63737"/>
                    </a:xfrm>
                  </p:grpSpPr>
                  <p:sp>
                    <p:nvSpPr>
                      <p:cNvPr id="1115" name="Freeform 661">
                        <a:extLst>
                          <a:ext uri="{FF2B5EF4-FFF2-40B4-BE49-F238E27FC236}">
                            <a16:creationId xmlns:a16="http://schemas.microsoft.com/office/drawing/2014/main" id="{841A64B0-24C6-468B-17CE-72A33E1AA9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17375" y="1261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6" name="Freeform 662">
                        <a:extLst>
                          <a:ext uri="{FF2B5EF4-FFF2-40B4-BE49-F238E27FC236}">
                            <a16:creationId xmlns:a16="http://schemas.microsoft.com/office/drawing/2014/main" id="{1099646C-93D1-5030-ADBC-3F9D59C01D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48808" y="93772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8" name="Graphic 19">
                      <a:extLst>
                        <a:ext uri="{FF2B5EF4-FFF2-40B4-BE49-F238E27FC236}">
                          <a16:creationId xmlns:a16="http://schemas.microsoft.com/office/drawing/2014/main" id="{F2DDBCCC-E65B-E6B5-E595-8D68162EACF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66905" y="103285"/>
                      <a:ext cx="63817" cy="62786"/>
                      <a:chOff x="12066905" y="103285"/>
                      <a:chExt cx="63817" cy="62786"/>
                    </a:xfrm>
                  </p:grpSpPr>
                  <p:sp>
                    <p:nvSpPr>
                      <p:cNvPr id="1113" name="Freeform 664">
                        <a:extLst>
                          <a:ext uri="{FF2B5EF4-FFF2-40B4-BE49-F238E27FC236}">
                            <a16:creationId xmlns:a16="http://schemas.microsoft.com/office/drawing/2014/main" id="{5EDC3732-5FAC-E5F6-8FE8-E53CA00CA1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66905" y="13467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4" name="Freeform 665">
                        <a:extLst>
                          <a:ext uri="{FF2B5EF4-FFF2-40B4-BE49-F238E27FC236}">
                            <a16:creationId xmlns:a16="http://schemas.microsoft.com/office/drawing/2014/main" id="{BE6D72FF-7170-22D5-8600-5C0FB8D0A5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98338" y="10328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09" name="Graphic 19">
                      <a:extLst>
                        <a:ext uri="{FF2B5EF4-FFF2-40B4-BE49-F238E27FC236}">
                          <a16:creationId xmlns:a16="http://schemas.microsoft.com/office/drawing/2014/main" id="{F6CC0C2D-29ED-EAB7-9B59-404099DF021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84088" y="119457"/>
                      <a:ext cx="63817" cy="63737"/>
                      <a:chOff x="12384088" y="119457"/>
                      <a:chExt cx="63817" cy="63737"/>
                    </a:xfrm>
                  </p:grpSpPr>
                  <p:sp>
                    <p:nvSpPr>
                      <p:cNvPr id="1111" name="Freeform 667">
                        <a:extLst>
                          <a:ext uri="{FF2B5EF4-FFF2-40B4-BE49-F238E27FC236}">
                            <a16:creationId xmlns:a16="http://schemas.microsoft.com/office/drawing/2014/main" id="{A90B7DA1-8924-C0CB-3758-184B7EA60C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84088" y="15085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2" name="Freeform 668">
                        <a:extLst>
                          <a:ext uri="{FF2B5EF4-FFF2-40B4-BE49-F238E27FC236}">
                            <a16:creationId xmlns:a16="http://schemas.microsoft.com/office/drawing/2014/main" id="{53E1E3A4-D07E-9AA8-7D26-A0E6885ABB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15520" y="11945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0" name="Graphic 19">
                      <a:extLst>
                        <a:ext uri="{FF2B5EF4-FFF2-40B4-BE49-F238E27FC236}">
                          <a16:creationId xmlns:a16="http://schemas.microsoft.com/office/drawing/2014/main" id="{1987AAD2-A68F-9B59-DF68-0425C177AE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776518" y="125165"/>
                      <a:ext cx="62865" cy="62786"/>
                      <a:chOff x="12776518" y="125165"/>
                      <a:chExt cx="62865" cy="62786"/>
                    </a:xfrm>
                  </p:grpSpPr>
                  <p:sp>
                    <p:nvSpPr>
                      <p:cNvPr id="1109" name="Freeform 670">
                        <a:extLst>
                          <a:ext uri="{FF2B5EF4-FFF2-40B4-BE49-F238E27FC236}">
                            <a16:creationId xmlns:a16="http://schemas.microsoft.com/office/drawing/2014/main" id="{3BF0C515-B064-056D-FD02-E822C592C9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76518" y="15655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10" name="Freeform 671">
                        <a:extLst>
                          <a:ext uri="{FF2B5EF4-FFF2-40B4-BE49-F238E27FC236}">
                            <a16:creationId xmlns:a16="http://schemas.microsoft.com/office/drawing/2014/main" id="{E6A93294-CB5C-4B3D-BE84-57361700AA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07950" y="1251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1" name="Graphic 19">
                      <a:extLst>
                        <a:ext uri="{FF2B5EF4-FFF2-40B4-BE49-F238E27FC236}">
                          <a16:creationId xmlns:a16="http://schemas.microsoft.com/office/drawing/2014/main" id="{7D69A334-A70E-45DE-9610-9E83FDC44C0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977495" y="144191"/>
                      <a:ext cx="62864" cy="63737"/>
                      <a:chOff x="12977495" y="144191"/>
                      <a:chExt cx="62864" cy="63737"/>
                    </a:xfrm>
                  </p:grpSpPr>
                  <p:sp>
                    <p:nvSpPr>
                      <p:cNvPr id="1107" name="Freeform 673">
                        <a:extLst>
                          <a:ext uri="{FF2B5EF4-FFF2-40B4-BE49-F238E27FC236}">
                            <a16:creationId xmlns:a16="http://schemas.microsoft.com/office/drawing/2014/main" id="{C1837F95-C040-99ED-CE02-BD2E393EC8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977495" y="17653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8" name="Freeform 674">
                        <a:extLst>
                          <a:ext uri="{FF2B5EF4-FFF2-40B4-BE49-F238E27FC236}">
                            <a16:creationId xmlns:a16="http://schemas.microsoft.com/office/drawing/2014/main" id="{5B9C8682-00D3-566A-7458-A8BC6D2B27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8928" y="14419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2" name="Graphic 19">
                      <a:extLst>
                        <a:ext uri="{FF2B5EF4-FFF2-40B4-BE49-F238E27FC236}">
                          <a16:creationId xmlns:a16="http://schemas.microsoft.com/office/drawing/2014/main" id="{661046F0-ACD4-D3C3-4A88-7F6AD4200B9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00355" y="144191"/>
                      <a:ext cx="62865" cy="63737"/>
                      <a:chOff x="13000355" y="144191"/>
                      <a:chExt cx="62865" cy="63737"/>
                    </a:xfrm>
                  </p:grpSpPr>
                  <p:sp>
                    <p:nvSpPr>
                      <p:cNvPr id="1105" name="Freeform 676">
                        <a:extLst>
                          <a:ext uri="{FF2B5EF4-FFF2-40B4-BE49-F238E27FC236}">
                            <a16:creationId xmlns:a16="http://schemas.microsoft.com/office/drawing/2014/main" id="{3E0FC73B-E00F-72C9-C8C9-4BC2F578E3D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0355" y="17653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6" name="Freeform 677">
                        <a:extLst>
                          <a:ext uri="{FF2B5EF4-FFF2-40B4-BE49-F238E27FC236}">
                            <a16:creationId xmlns:a16="http://schemas.microsoft.com/office/drawing/2014/main" id="{051906B7-BDC1-FBF4-526B-E7BC710DB6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1788" y="14419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3" name="Graphic 19">
                      <a:extLst>
                        <a:ext uri="{FF2B5EF4-FFF2-40B4-BE49-F238E27FC236}">
                          <a16:creationId xmlns:a16="http://schemas.microsoft.com/office/drawing/2014/main" id="{04298BC2-DEEA-792A-BBCD-FCDD4AB48D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42265" y="144191"/>
                      <a:ext cx="62864" cy="63737"/>
                      <a:chOff x="13042265" y="144191"/>
                      <a:chExt cx="62864" cy="63737"/>
                    </a:xfrm>
                  </p:grpSpPr>
                  <p:sp>
                    <p:nvSpPr>
                      <p:cNvPr id="1103" name="Freeform 679">
                        <a:extLst>
                          <a:ext uri="{FF2B5EF4-FFF2-40B4-BE49-F238E27FC236}">
                            <a16:creationId xmlns:a16="http://schemas.microsoft.com/office/drawing/2014/main" id="{D777D990-A1C3-F0EE-2A7F-F772307D62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42265" y="17653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4" name="Freeform 680">
                        <a:extLst>
                          <a:ext uri="{FF2B5EF4-FFF2-40B4-BE49-F238E27FC236}">
                            <a16:creationId xmlns:a16="http://schemas.microsoft.com/office/drawing/2014/main" id="{E4DE077A-161C-DD3A-3C43-0A7842DF15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73698" y="14419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4" name="Graphic 19">
                      <a:extLst>
                        <a:ext uri="{FF2B5EF4-FFF2-40B4-BE49-F238E27FC236}">
                          <a16:creationId xmlns:a16="http://schemas.microsoft.com/office/drawing/2014/main" id="{FF0C2A3C-6055-0294-144D-3A8A1FF9FB4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7985" y="152753"/>
                      <a:ext cx="63817" cy="63737"/>
                      <a:chOff x="13087985" y="152753"/>
                      <a:chExt cx="63817" cy="63737"/>
                    </a:xfrm>
                  </p:grpSpPr>
                  <p:sp>
                    <p:nvSpPr>
                      <p:cNvPr id="1101" name="Freeform 682">
                        <a:extLst>
                          <a:ext uri="{FF2B5EF4-FFF2-40B4-BE49-F238E27FC236}">
                            <a16:creationId xmlns:a16="http://schemas.microsoft.com/office/drawing/2014/main" id="{80DDC2D0-704A-379A-F3B7-2C96F464CC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798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2" name="Freeform 683">
                        <a:extLst>
                          <a:ext uri="{FF2B5EF4-FFF2-40B4-BE49-F238E27FC236}">
                            <a16:creationId xmlns:a16="http://schemas.microsoft.com/office/drawing/2014/main" id="{90F573FD-53ED-883F-AEF8-AC8C380FD8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2037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5" name="Graphic 19">
                      <a:extLst>
                        <a:ext uri="{FF2B5EF4-FFF2-40B4-BE49-F238E27FC236}">
                          <a16:creationId xmlns:a16="http://schemas.microsoft.com/office/drawing/2014/main" id="{8D395032-F540-5FBF-5A4E-7FD5ECA5183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93700" y="152753"/>
                      <a:ext cx="62865" cy="63737"/>
                      <a:chOff x="13093700" y="152753"/>
                      <a:chExt cx="62865" cy="63737"/>
                    </a:xfrm>
                  </p:grpSpPr>
                  <p:sp>
                    <p:nvSpPr>
                      <p:cNvPr id="1099" name="Freeform 685">
                        <a:extLst>
                          <a:ext uri="{FF2B5EF4-FFF2-40B4-BE49-F238E27FC236}">
                            <a16:creationId xmlns:a16="http://schemas.microsoft.com/office/drawing/2014/main" id="{C5970EE7-D3B3-0540-0553-2F387EE8C9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93700" y="1850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00" name="Freeform 686">
                        <a:extLst>
                          <a:ext uri="{FF2B5EF4-FFF2-40B4-BE49-F238E27FC236}">
                            <a16:creationId xmlns:a16="http://schemas.microsoft.com/office/drawing/2014/main" id="{EA5FCF1D-1560-6EB8-740A-35887F816A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25133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6" name="Graphic 19">
                      <a:extLst>
                        <a:ext uri="{FF2B5EF4-FFF2-40B4-BE49-F238E27FC236}">
                          <a16:creationId xmlns:a16="http://schemas.microsoft.com/office/drawing/2014/main" id="{DE619FC9-2181-FE12-503D-51022E7594B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09893" y="152753"/>
                      <a:ext cx="62865" cy="63737"/>
                      <a:chOff x="13109893" y="152753"/>
                      <a:chExt cx="62865" cy="63737"/>
                    </a:xfrm>
                  </p:grpSpPr>
                  <p:sp>
                    <p:nvSpPr>
                      <p:cNvPr id="1097" name="Freeform 688">
                        <a:extLst>
                          <a:ext uri="{FF2B5EF4-FFF2-40B4-BE49-F238E27FC236}">
                            <a16:creationId xmlns:a16="http://schemas.microsoft.com/office/drawing/2014/main" id="{10279E34-8BBD-FC60-ECEE-87DFDA5E95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09893" y="1850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8" name="Freeform 689">
                        <a:extLst>
                          <a:ext uri="{FF2B5EF4-FFF2-40B4-BE49-F238E27FC236}">
                            <a16:creationId xmlns:a16="http://schemas.microsoft.com/office/drawing/2014/main" id="{2539CB62-FDBA-0E0E-6D12-9AAA6317D1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1325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7" name="Graphic 19">
                      <a:extLst>
                        <a:ext uri="{FF2B5EF4-FFF2-40B4-BE49-F238E27FC236}">
                          <a16:creationId xmlns:a16="http://schemas.microsoft.com/office/drawing/2014/main" id="{01796C26-C5D2-B611-C153-3BD3517A351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14655" y="152753"/>
                      <a:ext cx="63817" cy="63737"/>
                      <a:chOff x="13114655" y="152753"/>
                      <a:chExt cx="63817" cy="63737"/>
                    </a:xfrm>
                  </p:grpSpPr>
                  <p:sp>
                    <p:nvSpPr>
                      <p:cNvPr id="1095" name="Freeform 691">
                        <a:extLst>
                          <a:ext uri="{FF2B5EF4-FFF2-40B4-BE49-F238E27FC236}">
                            <a16:creationId xmlns:a16="http://schemas.microsoft.com/office/drawing/2014/main" id="{CADBCDA0-47EE-0334-56A9-CB29053FC0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465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6" name="Freeform 692">
                        <a:extLst>
                          <a:ext uri="{FF2B5EF4-FFF2-40B4-BE49-F238E27FC236}">
                            <a16:creationId xmlns:a16="http://schemas.microsoft.com/office/drawing/2014/main" id="{92AA83D8-3785-A8FC-AF59-F433670700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704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8" name="Graphic 19">
                      <a:extLst>
                        <a:ext uri="{FF2B5EF4-FFF2-40B4-BE49-F238E27FC236}">
                          <a16:creationId xmlns:a16="http://schemas.microsoft.com/office/drawing/2014/main" id="{F82EF33E-E0AD-5CF3-323A-CBCE7B8E293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26085" y="152753"/>
                      <a:ext cx="63817" cy="63737"/>
                      <a:chOff x="13126085" y="152753"/>
                      <a:chExt cx="63817" cy="63737"/>
                    </a:xfrm>
                  </p:grpSpPr>
                  <p:sp>
                    <p:nvSpPr>
                      <p:cNvPr id="1093" name="Freeform 694">
                        <a:extLst>
                          <a:ext uri="{FF2B5EF4-FFF2-40B4-BE49-F238E27FC236}">
                            <a16:creationId xmlns:a16="http://schemas.microsoft.com/office/drawing/2014/main" id="{04B9EDFF-42F0-61C1-0BB3-EAC50BF985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2608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4" name="Freeform 695">
                        <a:extLst>
                          <a:ext uri="{FF2B5EF4-FFF2-40B4-BE49-F238E27FC236}">
                            <a16:creationId xmlns:a16="http://schemas.microsoft.com/office/drawing/2014/main" id="{A45BE7BA-734C-A1AD-1E6C-4D4C3AE2D9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847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19" name="Graphic 19">
                      <a:extLst>
                        <a:ext uri="{FF2B5EF4-FFF2-40B4-BE49-F238E27FC236}">
                          <a16:creationId xmlns:a16="http://schemas.microsoft.com/office/drawing/2014/main" id="{767CCE94-015B-C956-C7D8-BF72382841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37515" y="152753"/>
                      <a:ext cx="62864" cy="63737"/>
                      <a:chOff x="13137515" y="152753"/>
                      <a:chExt cx="62864" cy="63737"/>
                    </a:xfrm>
                  </p:grpSpPr>
                  <p:sp>
                    <p:nvSpPr>
                      <p:cNvPr id="1091" name="Freeform 697">
                        <a:extLst>
                          <a:ext uri="{FF2B5EF4-FFF2-40B4-BE49-F238E27FC236}">
                            <a16:creationId xmlns:a16="http://schemas.microsoft.com/office/drawing/2014/main" id="{0B1D5F2F-AF9F-02CB-2C7C-FA407CC393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37515" y="18509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2" name="Freeform 698">
                        <a:extLst>
                          <a:ext uri="{FF2B5EF4-FFF2-40B4-BE49-F238E27FC236}">
                            <a16:creationId xmlns:a16="http://schemas.microsoft.com/office/drawing/2014/main" id="{B257ACC6-7CAE-2A0D-3481-8E2F9B5C1D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8948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0" name="Graphic 19">
                      <a:extLst>
                        <a:ext uri="{FF2B5EF4-FFF2-40B4-BE49-F238E27FC236}">
                          <a16:creationId xmlns:a16="http://schemas.microsoft.com/office/drawing/2014/main" id="{3980AEA5-AB41-57D8-065F-94372C53755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1325" y="152753"/>
                      <a:ext cx="63817" cy="63737"/>
                      <a:chOff x="13141325" y="152753"/>
                      <a:chExt cx="63817" cy="63737"/>
                    </a:xfrm>
                  </p:grpSpPr>
                  <p:sp>
                    <p:nvSpPr>
                      <p:cNvPr id="1089" name="Freeform 700">
                        <a:extLst>
                          <a:ext uri="{FF2B5EF4-FFF2-40B4-BE49-F238E27FC236}">
                            <a16:creationId xmlns:a16="http://schemas.microsoft.com/office/drawing/2014/main" id="{2FDC3528-B413-1D68-E36D-211DA2FE6B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132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90" name="Freeform 701">
                        <a:extLst>
                          <a:ext uri="{FF2B5EF4-FFF2-40B4-BE49-F238E27FC236}">
                            <a16:creationId xmlns:a16="http://schemas.microsoft.com/office/drawing/2014/main" id="{D3FBFA56-C35B-291D-2B48-5930495A4D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2758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1" name="Graphic 19">
                      <a:extLst>
                        <a:ext uri="{FF2B5EF4-FFF2-40B4-BE49-F238E27FC236}">
                          <a16:creationId xmlns:a16="http://schemas.microsoft.com/office/drawing/2014/main" id="{115E0928-A3BF-A22A-0816-E06D8B12D9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5135" y="152753"/>
                      <a:ext cx="63817" cy="63737"/>
                      <a:chOff x="13145135" y="152753"/>
                      <a:chExt cx="63817" cy="63737"/>
                    </a:xfrm>
                  </p:grpSpPr>
                  <p:sp>
                    <p:nvSpPr>
                      <p:cNvPr id="1087" name="Freeform 703">
                        <a:extLst>
                          <a:ext uri="{FF2B5EF4-FFF2-40B4-BE49-F238E27FC236}">
                            <a16:creationId xmlns:a16="http://schemas.microsoft.com/office/drawing/2014/main" id="{0A7AEE67-CCCB-BB50-62C8-4F08C84BB2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5135" y="1850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8" name="Freeform 704">
                        <a:extLst>
                          <a:ext uri="{FF2B5EF4-FFF2-40B4-BE49-F238E27FC236}">
                            <a16:creationId xmlns:a16="http://schemas.microsoft.com/office/drawing/2014/main" id="{F92D050F-D5E6-199E-6ADF-8311C3F783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7520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2" name="Graphic 19">
                      <a:extLst>
                        <a:ext uri="{FF2B5EF4-FFF2-40B4-BE49-F238E27FC236}">
                          <a16:creationId xmlns:a16="http://schemas.microsoft.com/office/drawing/2014/main" id="{3F96464A-5A8A-5A98-EB09-2CA2EB4719C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7993" y="152753"/>
                      <a:ext cx="62865" cy="63737"/>
                      <a:chOff x="13147993" y="152753"/>
                      <a:chExt cx="62865" cy="63737"/>
                    </a:xfrm>
                  </p:grpSpPr>
                  <p:sp>
                    <p:nvSpPr>
                      <p:cNvPr id="1085" name="Freeform 706">
                        <a:extLst>
                          <a:ext uri="{FF2B5EF4-FFF2-40B4-BE49-F238E27FC236}">
                            <a16:creationId xmlns:a16="http://schemas.microsoft.com/office/drawing/2014/main" id="{5DEBC2E3-631F-A100-5398-E095D01522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7993" y="1850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6" name="Freeform 707">
                        <a:extLst>
                          <a:ext uri="{FF2B5EF4-FFF2-40B4-BE49-F238E27FC236}">
                            <a16:creationId xmlns:a16="http://schemas.microsoft.com/office/drawing/2014/main" id="{7BB1447A-8A77-7047-ECCA-63FC372619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9425" y="15275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3" name="Graphic 19">
                      <a:extLst>
                        <a:ext uri="{FF2B5EF4-FFF2-40B4-BE49-F238E27FC236}">
                          <a16:creationId xmlns:a16="http://schemas.microsoft.com/office/drawing/2014/main" id="{18C15516-562D-48CA-5FD6-F3AE73F9EF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1803" y="167023"/>
                      <a:ext cx="62864" cy="62786"/>
                      <a:chOff x="13151803" y="167023"/>
                      <a:chExt cx="62864" cy="62786"/>
                    </a:xfrm>
                  </p:grpSpPr>
                  <p:sp>
                    <p:nvSpPr>
                      <p:cNvPr id="1083" name="Freeform 709">
                        <a:extLst>
                          <a:ext uri="{FF2B5EF4-FFF2-40B4-BE49-F238E27FC236}">
                            <a16:creationId xmlns:a16="http://schemas.microsoft.com/office/drawing/2014/main" id="{7A809330-70D3-1B7F-6843-2F5AB9DE33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1803" y="1984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4" name="Freeform 710">
                        <a:extLst>
                          <a:ext uri="{FF2B5EF4-FFF2-40B4-BE49-F238E27FC236}">
                            <a16:creationId xmlns:a16="http://schemas.microsoft.com/office/drawing/2014/main" id="{02BA0D19-C521-47C7-EC07-2A972EF678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3235" y="1670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4" name="Graphic 19">
                      <a:extLst>
                        <a:ext uri="{FF2B5EF4-FFF2-40B4-BE49-F238E27FC236}">
                          <a16:creationId xmlns:a16="http://schemas.microsoft.com/office/drawing/2014/main" id="{B241D604-D141-FA50-F1EC-55C2474BD97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4660" y="167023"/>
                      <a:ext cx="62865" cy="62786"/>
                      <a:chOff x="13154660" y="167023"/>
                      <a:chExt cx="62865" cy="62786"/>
                    </a:xfrm>
                  </p:grpSpPr>
                  <p:sp>
                    <p:nvSpPr>
                      <p:cNvPr id="1081" name="Freeform 712">
                        <a:extLst>
                          <a:ext uri="{FF2B5EF4-FFF2-40B4-BE49-F238E27FC236}">
                            <a16:creationId xmlns:a16="http://schemas.microsoft.com/office/drawing/2014/main" id="{1ED67C8E-3D58-6317-18F5-4DEDE8D177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4660" y="1984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2" name="Freeform 713">
                        <a:extLst>
                          <a:ext uri="{FF2B5EF4-FFF2-40B4-BE49-F238E27FC236}">
                            <a16:creationId xmlns:a16="http://schemas.microsoft.com/office/drawing/2014/main" id="{532C875D-9983-711F-DFC8-2D2006C6FF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6093" y="1670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5" name="Graphic 19">
                      <a:extLst>
                        <a:ext uri="{FF2B5EF4-FFF2-40B4-BE49-F238E27FC236}">
                          <a16:creationId xmlns:a16="http://schemas.microsoft.com/office/drawing/2014/main" id="{9A4199DE-A42B-1E1B-E4C7-CD6DD82DBB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5138" y="169877"/>
                      <a:ext cx="62865" cy="63737"/>
                      <a:chOff x="13165138" y="169877"/>
                      <a:chExt cx="62865" cy="63737"/>
                    </a:xfrm>
                  </p:grpSpPr>
                  <p:sp>
                    <p:nvSpPr>
                      <p:cNvPr id="1079" name="Freeform 715">
                        <a:extLst>
                          <a:ext uri="{FF2B5EF4-FFF2-40B4-BE49-F238E27FC236}">
                            <a16:creationId xmlns:a16="http://schemas.microsoft.com/office/drawing/2014/main" id="{7043DE99-5D81-CB35-DB74-0042493582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5138" y="20222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80" name="Freeform 716">
                        <a:extLst>
                          <a:ext uri="{FF2B5EF4-FFF2-40B4-BE49-F238E27FC236}">
                            <a16:creationId xmlns:a16="http://schemas.microsoft.com/office/drawing/2014/main" id="{DB931165-1346-3223-C185-6EB5487D70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6570" y="1698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6" name="Graphic 19">
                      <a:extLst>
                        <a:ext uri="{FF2B5EF4-FFF2-40B4-BE49-F238E27FC236}">
                          <a16:creationId xmlns:a16="http://schemas.microsoft.com/office/drawing/2014/main" id="{3A7B98A3-9C44-0D83-AE83-8C22D615624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7995" y="169877"/>
                      <a:ext cx="62864" cy="63737"/>
                      <a:chOff x="13167995" y="169877"/>
                      <a:chExt cx="62864" cy="63737"/>
                    </a:xfrm>
                  </p:grpSpPr>
                  <p:sp>
                    <p:nvSpPr>
                      <p:cNvPr id="1077" name="Freeform 718">
                        <a:extLst>
                          <a:ext uri="{FF2B5EF4-FFF2-40B4-BE49-F238E27FC236}">
                            <a16:creationId xmlns:a16="http://schemas.microsoft.com/office/drawing/2014/main" id="{EF57F34E-A16A-4D2F-3A69-1D4C8E677A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7995" y="20222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8" name="Freeform 719">
                        <a:extLst>
                          <a:ext uri="{FF2B5EF4-FFF2-40B4-BE49-F238E27FC236}">
                            <a16:creationId xmlns:a16="http://schemas.microsoft.com/office/drawing/2014/main" id="{CFC85855-C425-3FC3-3614-07CB8BCD2A1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9428" y="1698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7" name="Graphic 19">
                      <a:extLst>
                        <a:ext uri="{FF2B5EF4-FFF2-40B4-BE49-F238E27FC236}">
                          <a16:creationId xmlns:a16="http://schemas.microsoft.com/office/drawing/2014/main" id="{A4BB553D-9EB6-65E2-2969-200FBB4A86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70853" y="169877"/>
                      <a:ext cx="62864" cy="63737"/>
                      <a:chOff x="13170853" y="169877"/>
                      <a:chExt cx="62864" cy="63737"/>
                    </a:xfrm>
                  </p:grpSpPr>
                  <p:sp>
                    <p:nvSpPr>
                      <p:cNvPr id="1075" name="Freeform 721">
                        <a:extLst>
                          <a:ext uri="{FF2B5EF4-FFF2-40B4-BE49-F238E27FC236}">
                            <a16:creationId xmlns:a16="http://schemas.microsoft.com/office/drawing/2014/main" id="{D9D0D462-1331-B82F-F3E0-E0EDB49065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0853" y="20222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6" name="Freeform 722">
                        <a:extLst>
                          <a:ext uri="{FF2B5EF4-FFF2-40B4-BE49-F238E27FC236}">
                            <a16:creationId xmlns:a16="http://schemas.microsoft.com/office/drawing/2014/main" id="{0270C05E-15D4-D6A6-D68F-289060DA59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02285" y="1698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8" name="Graphic 19">
                      <a:extLst>
                        <a:ext uri="{FF2B5EF4-FFF2-40B4-BE49-F238E27FC236}">
                          <a16:creationId xmlns:a16="http://schemas.microsoft.com/office/drawing/2014/main" id="{D8765B5E-F67C-28EB-2322-3FA6F06638E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7525" y="180341"/>
                      <a:ext cx="63817" cy="62786"/>
                      <a:chOff x="13217525" y="180341"/>
                      <a:chExt cx="63817" cy="62786"/>
                    </a:xfrm>
                  </p:grpSpPr>
                  <p:sp>
                    <p:nvSpPr>
                      <p:cNvPr id="1073" name="Freeform 724">
                        <a:extLst>
                          <a:ext uri="{FF2B5EF4-FFF2-40B4-BE49-F238E27FC236}">
                            <a16:creationId xmlns:a16="http://schemas.microsoft.com/office/drawing/2014/main" id="{8601FD3F-A903-FEF3-5E17-13102C57656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7525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4" name="Freeform 725">
                        <a:extLst>
                          <a:ext uri="{FF2B5EF4-FFF2-40B4-BE49-F238E27FC236}">
                            <a16:creationId xmlns:a16="http://schemas.microsoft.com/office/drawing/2014/main" id="{5C126EB7-DA93-AD5E-FABE-E2CEC73541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991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29" name="Graphic 19">
                      <a:extLst>
                        <a:ext uri="{FF2B5EF4-FFF2-40B4-BE49-F238E27FC236}">
                          <a16:creationId xmlns:a16="http://schemas.microsoft.com/office/drawing/2014/main" id="{127A3BE7-F10B-E474-BF27-05080018C1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3240" y="180341"/>
                      <a:ext cx="62864" cy="62786"/>
                      <a:chOff x="13223240" y="180341"/>
                      <a:chExt cx="62864" cy="62786"/>
                    </a:xfrm>
                  </p:grpSpPr>
                  <p:sp>
                    <p:nvSpPr>
                      <p:cNvPr id="1071" name="Freeform 727">
                        <a:extLst>
                          <a:ext uri="{FF2B5EF4-FFF2-40B4-BE49-F238E27FC236}">
                            <a16:creationId xmlns:a16="http://schemas.microsoft.com/office/drawing/2014/main" id="{44A25127-6009-BD4B-144A-7494AD240D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3240" y="21173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2" name="Freeform 728">
                        <a:extLst>
                          <a:ext uri="{FF2B5EF4-FFF2-40B4-BE49-F238E27FC236}">
                            <a16:creationId xmlns:a16="http://schemas.microsoft.com/office/drawing/2014/main" id="{DDD4DC8E-EB2C-5320-E49B-443DFA5778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467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0" name="Graphic 19">
                      <a:extLst>
                        <a:ext uri="{FF2B5EF4-FFF2-40B4-BE49-F238E27FC236}">
                          <a16:creationId xmlns:a16="http://schemas.microsoft.com/office/drawing/2014/main" id="{8C63CC21-A95F-2571-7E8D-51EA8AC590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8003" y="180341"/>
                      <a:ext cx="63817" cy="62786"/>
                      <a:chOff x="13228003" y="180341"/>
                      <a:chExt cx="63817" cy="62786"/>
                    </a:xfrm>
                  </p:grpSpPr>
                  <p:sp>
                    <p:nvSpPr>
                      <p:cNvPr id="1069" name="Freeform 730">
                        <a:extLst>
                          <a:ext uri="{FF2B5EF4-FFF2-40B4-BE49-F238E27FC236}">
                            <a16:creationId xmlns:a16="http://schemas.microsoft.com/office/drawing/2014/main" id="{D9A8942D-19E5-C443-F098-3E8E4291B8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8003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70" name="Freeform 731">
                        <a:extLst>
                          <a:ext uri="{FF2B5EF4-FFF2-40B4-BE49-F238E27FC236}">
                            <a16:creationId xmlns:a16="http://schemas.microsoft.com/office/drawing/2014/main" id="{F35CAA21-C9F5-ABDE-D751-E316D6FA65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038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1" name="Graphic 19">
                      <a:extLst>
                        <a:ext uri="{FF2B5EF4-FFF2-40B4-BE49-F238E27FC236}">
                          <a16:creationId xmlns:a16="http://schemas.microsoft.com/office/drawing/2014/main" id="{08B1D754-632D-F6ED-0EF2-3715D9BE0D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0860" y="180341"/>
                      <a:ext cx="62865" cy="62786"/>
                      <a:chOff x="13230860" y="180341"/>
                      <a:chExt cx="62865" cy="62786"/>
                    </a:xfrm>
                  </p:grpSpPr>
                  <p:sp>
                    <p:nvSpPr>
                      <p:cNvPr id="1067" name="Freeform 733">
                        <a:extLst>
                          <a:ext uri="{FF2B5EF4-FFF2-40B4-BE49-F238E27FC236}">
                            <a16:creationId xmlns:a16="http://schemas.microsoft.com/office/drawing/2014/main" id="{3C81AD2E-9038-FF0C-FAB0-D7B68343B2A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0860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8" name="Freeform 734">
                        <a:extLst>
                          <a:ext uri="{FF2B5EF4-FFF2-40B4-BE49-F238E27FC236}">
                            <a16:creationId xmlns:a16="http://schemas.microsoft.com/office/drawing/2014/main" id="{2685DAED-170C-077C-8FEE-66C3360A42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229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2" name="Graphic 19">
                      <a:extLst>
                        <a:ext uri="{FF2B5EF4-FFF2-40B4-BE49-F238E27FC236}">
                          <a16:creationId xmlns:a16="http://schemas.microsoft.com/office/drawing/2014/main" id="{D7504373-6F79-65A7-7C04-585ABA43F66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42290" y="180341"/>
                      <a:ext cx="63817" cy="62786"/>
                      <a:chOff x="13242290" y="180341"/>
                      <a:chExt cx="63817" cy="62786"/>
                    </a:xfrm>
                  </p:grpSpPr>
                  <p:sp>
                    <p:nvSpPr>
                      <p:cNvPr id="1065" name="Freeform 736">
                        <a:extLst>
                          <a:ext uri="{FF2B5EF4-FFF2-40B4-BE49-F238E27FC236}">
                            <a16:creationId xmlns:a16="http://schemas.microsoft.com/office/drawing/2014/main" id="{1B7CC1B7-67D8-6AF0-E472-6915029DE4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2290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6" name="Freeform 737">
                        <a:extLst>
                          <a:ext uri="{FF2B5EF4-FFF2-40B4-BE49-F238E27FC236}">
                            <a16:creationId xmlns:a16="http://schemas.microsoft.com/office/drawing/2014/main" id="{843FFD44-045B-A85E-C8E2-6ABEF2556B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372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3" name="Graphic 19">
                      <a:extLst>
                        <a:ext uri="{FF2B5EF4-FFF2-40B4-BE49-F238E27FC236}">
                          <a16:creationId xmlns:a16="http://schemas.microsoft.com/office/drawing/2014/main" id="{C406B031-AA7E-4F83-1E75-0B75A499C8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47053" y="180341"/>
                      <a:ext cx="63817" cy="62786"/>
                      <a:chOff x="13247053" y="180341"/>
                      <a:chExt cx="63817" cy="62786"/>
                    </a:xfrm>
                  </p:grpSpPr>
                  <p:sp>
                    <p:nvSpPr>
                      <p:cNvPr id="1063" name="Freeform 739">
                        <a:extLst>
                          <a:ext uri="{FF2B5EF4-FFF2-40B4-BE49-F238E27FC236}">
                            <a16:creationId xmlns:a16="http://schemas.microsoft.com/office/drawing/2014/main" id="{B454BE4D-2ED6-3115-E93C-7B0DB9E2B2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47053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4" name="Freeform 740">
                        <a:extLst>
                          <a:ext uri="{FF2B5EF4-FFF2-40B4-BE49-F238E27FC236}">
                            <a16:creationId xmlns:a16="http://schemas.microsoft.com/office/drawing/2014/main" id="{1E873AAD-8BE2-0BFC-6ACA-3B5BFB2425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7848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4" name="Graphic 19">
                      <a:extLst>
                        <a:ext uri="{FF2B5EF4-FFF2-40B4-BE49-F238E27FC236}">
                          <a16:creationId xmlns:a16="http://schemas.microsoft.com/office/drawing/2014/main" id="{140FB0F4-1BB5-E1B6-103F-5E7D061583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88963" y="180341"/>
                      <a:ext cx="63817" cy="62786"/>
                      <a:chOff x="13288963" y="180341"/>
                      <a:chExt cx="63817" cy="62786"/>
                    </a:xfrm>
                  </p:grpSpPr>
                  <p:sp>
                    <p:nvSpPr>
                      <p:cNvPr id="1061" name="Freeform 742">
                        <a:extLst>
                          <a:ext uri="{FF2B5EF4-FFF2-40B4-BE49-F238E27FC236}">
                            <a16:creationId xmlns:a16="http://schemas.microsoft.com/office/drawing/2014/main" id="{0C489F73-A4F4-F3AF-8B43-35B2B7156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8963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2" name="Freeform 743">
                        <a:extLst>
                          <a:ext uri="{FF2B5EF4-FFF2-40B4-BE49-F238E27FC236}">
                            <a16:creationId xmlns:a16="http://schemas.microsoft.com/office/drawing/2014/main" id="{ABD767C4-7873-5500-5A1D-27AB668A22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2134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5" name="Graphic 19">
                      <a:extLst>
                        <a:ext uri="{FF2B5EF4-FFF2-40B4-BE49-F238E27FC236}">
                          <a16:creationId xmlns:a16="http://schemas.microsoft.com/office/drawing/2014/main" id="{3DACAFC6-472B-A146-1F01-2F8D579794E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35635" y="180341"/>
                      <a:ext cx="62865" cy="62786"/>
                      <a:chOff x="13335635" y="180341"/>
                      <a:chExt cx="62865" cy="62786"/>
                    </a:xfrm>
                  </p:grpSpPr>
                  <p:sp>
                    <p:nvSpPr>
                      <p:cNvPr id="1059" name="Freeform 745">
                        <a:extLst>
                          <a:ext uri="{FF2B5EF4-FFF2-40B4-BE49-F238E27FC236}">
                            <a16:creationId xmlns:a16="http://schemas.microsoft.com/office/drawing/2014/main" id="{6CB9C0B9-C985-0551-B0FA-7F74AA3D2A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3563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60" name="Freeform 746">
                        <a:extLst>
                          <a:ext uri="{FF2B5EF4-FFF2-40B4-BE49-F238E27FC236}">
                            <a16:creationId xmlns:a16="http://schemas.microsoft.com/office/drawing/2014/main" id="{84E0E061-F95A-8F98-C42E-1390EC39E9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706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6" name="Graphic 19">
                      <a:extLst>
                        <a:ext uri="{FF2B5EF4-FFF2-40B4-BE49-F238E27FC236}">
                          <a16:creationId xmlns:a16="http://schemas.microsoft.com/office/drawing/2014/main" id="{A5105F48-D971-F901-3BC2-832717A01A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51828" y="180341"/>
                      <a:ext cx="62864" cy="62786"/>
                      <a:chOff x="13351828" y="180341"/>
                      <a:chExt cx="62864" cy="62786"/>
                    </a:xfrm>
                  </p:grpSpPr>
                  <p:sp>
                    <p:nvSpPr>
                      <p:cNvPr id="1057" name="Freeform 748">
                        <a:extLst>
                          <a:ext uri="{FF2B5EF4-FFF2-40B4-BE49-F238E27FC236}">
                            <a16:creationId xmlns:a16="http://schemas.microsoft.com/office/drawing/2014/main" id="{3C18B8C1-B0B6-6D47-A7A5-ECBE405F51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51828" y="21173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8" name="Freeform 749">
                        <a:extLst>
                          <a:ext uri="{FF2B5EF4-FFF2-40B4-BE49-F238E27FC236}">
                            <a16:creationId xmlns:a16="http://schemas.microsoft.com/office/drawing/2014/main" id="{3C11CDB2-1587-FE6F-9B5B-ACAC5B0368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8326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7" name="Graphic 19">
                      <a:extLst>
                        <a:ext uri="{FF2B5EF4-FFF2-40B4-BE49-F238E27FC236}">
                          <a16:creationId xmlns:a16="http://schemas.microsoft.com/office/drawing/2014/main" id="{6F322FAA-F1A7-0898-1F1E-CBEE16B8FB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68973" y="180341"/>
                      <a:ext cx="62865" cy="62786"/>
                      <a:chOff x="13368973" y="180341"/>
                      <a:chExt cx="62865" cy="62786"/>
                    </a:xfrm>
                  </p:grpSpPr>
                  <p:sp>
                    <p:nvSpPr>
                      <p:cNvPr id="1055" name="Freeform 751">
                        <a:extLst>
                          <a:ext uri="{FF2B5EF4-FFF2-40B4-BE49-F238E27FC236}">
                            <a16:creationId xmlns:a16="http://schemas.microsoft.com/office/drawing/2014/main" id="{5FF2EB56-208E-F42C-A9AF-DED614433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8973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6" name="Freeform 752">
                        <a:extLst>
                          <a:ext uri="{FF2B5EF4-FFF2-40B4-BE49-F238E27FC236}">
                            <a16:creationId xmlns:a16="http://schemas.microsoft.com/office/drawing/2014/main" id="{CA1CB81F-2EE9-A3F9-FDDE-63B1F504A26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040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8" name="Graphic 19">
                      <a:extLst>
                        <a:ext uri="{FF2B5EF4-FFF2-40B4-BE49-F238E27FC236}">
                          <a16:creationId xmlns:a16="http://schemas.microsoft.com/office/drawing/2014/main" id="{756F84AB-67DB-BA37-25BB-46B2DAAAE2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06120" y="180341"/>
                      <a:ext cx="63817" cy="62786"/>
                      <a:chOff x="13406120" y="180341"/>
                      <a:chExt cx="63817" cy="62786"/>
                    </a:xfrm>
                  </p:grpSpPr>
                  <p:sp>
                    <p:nvSpPr>
                      <p:cNvPr id="1053" name="Freeform 754">
                        <a:extLst>
                          <a:ext uri="{FF2B5EF4-FFF2-40B4-BE49-F238E27FC236}">
                            <a16:creationId xmlns:a16="http://schemas.microsoft.com/office/drawing/2014/main" id="{FB922563-DDEB-2803-9D81-6EDE3E3EB61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6120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4" name="Freeform 755">
                        <a:extLst>
                          <a:ext uri="{FF2B5EF4-FFF2-40B4-BE49-F238E27FC236}">
                            <a16:creationId xmlns:a16="http://schemas.microsoft.com/office/drawing/2014/main" id="{93310E2A-E8A3-890E-AB52-04D2B7EE5A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850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39" name="Graphic 19">
                      <a:extLst>
                        <a:ext uri="{FF2B5EF4-FFF2-40B4-BE49-F238E27FC236}">
                          <a16:creationId xmlns:a16="http://schemas.microsoft.com/office/drawing/2014/main" id="{83420A2A-A9B9-77ED-D464-F059B14A9C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1835" y="180341"/>
                      <a:ext cx="62865" cy="62786"/>
                      <a:chOff x="13411835" y="180341"/>
                      <a:chExt cx="62865" cy="62786"/>
                    </a:xfrm>
                  </p:grpSpPr>
                  <p:sp>
                    <p:nvSpPr>
                      <p:cNvPr id="1051" name="Freeform 757">
                        <a:extLst>
                          <a:ext uri="{FF2B5EF4-FFF2-40B4-BE49-F238E27FC236}">
                            <a16:creationId xmlns:a16="http://schemas.microsoft.com/office/drawing/2014/main" id="{5AD810D4-A519-6674-57E2-A801B9DADD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183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2" name="Freeform 758">
                        <a:extLst>
                          <a:ext uri="{FF2B5EF4-FFF2-40B4-BE49-F238E27FC236}">
                            <a16:creationId xmlns:a16="http://schemas.microsoft.com/office/drawing/2014/main" id="{BC36361B-ADA5-3C08-2A53-BC7A170AA91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326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0" name="Graphic 19">
                      <a:extLst>
                        <a:ext uri="{FF2B5EF4-FFF2-40B4-BE49-F238E27FC236}">
                          <a16:creationId xmlns:a16="http://schemas.microsoft.com/office/drawing/2014/main" id="{6396044B-8E16-800F-4F7C-A1ED9543AD6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7550" y="180341"/>
                      <a:ext cx="62865" cy="62786"/>
                      <a:chOff x="13417550" y="180341"/>
                      <a:chExt cx="62865" cy="62786"/>
                    </a:xfrm>
                  </p:grpSpPr>
                  <p:sp>
                    <p:nvSpPr>
                      <p:cNvPr id="1049" name="Freeform 760">
                        <a:extLst>
                          <a:ext uri="{FF2B5EF4-FFF2-40B4-BE49-F238E27FC236}">
                            <a16:creationId xmlns:a16="http://schemas.microsoft.com/office/drawing/2014/main" id="{D2A490E4-CCE1-D957-B3B1-55E6B4A52EA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7550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50" name="Freeform 761">
                        <a:extLst>
                          <a:ext uri="{FF2B5EF4-FFF2-40B4-BE49-F238E27FC236}">
                            <a16:creationId xmlns:a16="http://schemas.microsoft.com/office/drawing/2014/main" id="{EE1B318B-4D6F-B0E6-FBB3-2A18BD8FE0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8983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1" name="Graphic 19">
                      <a:extLst>
                        <a:ext uri="{FF2B5EF4-FFF2-40B4-BE49-F238E27FC236}">
                          <a16:creationId xmlns:a16="http://schemas.microsoft.com/office/drawing/2014/main" id="{3D9D1D20-40E7-5173-D6F0-01C34E6891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2313" y="180341"/>
                      <a:ext cx="62865" cy="62786"/>
                      <a:chOff x="13422313" y="180341"/>
                      <a:chExt cx="62865" cy="62786"/>
                    </a:xfrm>
                  </p:grpSpPr>
                  <p:sp>
                    <p:nvSpPr>
                      <p:cNvPr id="1047" name="Freeform 763">
                        <a:extLst>
                          <a:ext uri="{FF2B5EF4-FFF2-40B4-BE49-F238E27FC236}">
                            <a16:creationId xmlns:a16="http://schemas.microsoft.com/office/drawing/2014/main" id="{27DBF8FA-29E9-3B67-DD7C-DDB72C909B3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2313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8" name="Freeform 764">
                        <a:extLst>
                          <a:ext uri="{FF2B5EF4-FFF2-40B4-BE49-F238E27FC236}">
                            <a16:creationId xmlns:a16="http://schemas.microsoft.com/office/drawing/2014/main" id="{817C14CE-B74D-D52A-E146-C2BCE03F99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374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2" name="Graphic 19">
                      <a:extLst>
                        <a:ext uri="{FF2B5EF4-FFF2-40B4-BE49-F238E27FC236}">
                          <a16:creationId xmlns:a16="http://schemas.microsoft.com/office/drawing/2014/main" id="{79A6D1B5-6CF0-7505-0C1F-0BCAFC1D54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4218" y="180341"/>
                      <a:ext cx="62865" cy="62786"/>
                      <a:chOff x="13424218" y="180341"/>
                      <a:chExt cx="62865" cy="62786"/>
                    </a:xfrm>
                  </p:grpSpPr>
                  <p:sp>
                    <p:nvSpPr>
                      <p:cNvPr id="1045" name="Freeform 766">
                        <a:extLst>
                          <a:ext uri="{FF2B5EF4-FFF2-40B4-BE49-F238E27FC236}">
                            <a16:creationId xmlns:a16="http://schemas.microsoft.com/office/drawing/2014/main" id="{BB61C712-5F70-E4FB-2362-C16D821E1D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4218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6" name="Freeform 767">
                        <a:extLst>
                          <a:ext uri="{FF2B5EF4-FFF2-40B4-BE49-F238E27FC236}">
                            <a16:creationId xmlns:a16="http://schemas.microsoft.com/office/drawing/2014/main" id="{8CC6CBB6-DBB3-6FEE-697B-39DA74A203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565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3" name="Graphic 19">
                      <a:extLst>
                        <a:ext uri="{FF2B5EF4-FFF2-40B4-BE49-F238E27FC236}">
                          <a16:creationId xmlns:a16="http://schemas.microsoft.com/office/drawing/2014/main" id="{E8D71EF2-99F5-37B0-687C-DFEC010DED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0410" y="180341"/>
                      <a:ext cx="63817" cy="62786"/>
                      <a:chOff x="13440410" y="180341"/>
                      <a:chExt cx="63817" cy="62786"/>
                    </a:xfrm>
                  </p:grpSpPr>
                  <p:sp>
                    <p:nvSpPr>
                      <p:cNvPr id="1043" name="Freeform 769">
                        <a:extLst>
                          <a:ext uri="{FF2B5EF4-FFF2-40B4-BE49-F238E27FC236}">
                            <a16:creationId xmlns:a16="http://schemas.microsoft.com/office/drawing/2014/main" id="{B4EFD90C-9F8D-C099-1B06-F60ABAD9A4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0410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4" name="Freeform 770">
                        <a:extLst>
                          <a:ext uri="{FF2B5EF4-FFF2-40B4-BE49-F238E27FC236}">
                            <a16:creationId xmlns:a16="http://schemas.microsoft.com/office/drawing/2014/main" id="{BDD8DB05-5645-CF80-84CA-C6574CF497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2795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4" name="Graphic 19">
                      <a:extLst>
                        <a:ext uri="{FF2B5EF4-FFF2-40B4-BE49-F238E27FC236}">
                          <a16:creationId xmlns:a16="http://schemas.microsoft.com/office/drawing/2014/main" id="{8672EA3E-5F6D-BCCE-58F3-4902FF1B3F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6125" y="180341"/>
                      <a:ext cx="62865" cy="62786"/>
                      <a:chOff x="13446125" y="180341"/>
                      <a:chExt cx="62865" cy="62786"/>
                    </a:xfrm>
                  </p:grpSpPr>
                  <p:sp>
                    <p:nvSpPr>
                      <p:cNvPr id="1041" name="Freeform 772">
                        <a:extLst>
                          <a:ext uri="{FF2B5EF4-FFF2-40B4-BE49-F238E27FC236}">
                            <a16:creationId xmlns:a16="http://schemas.microsoft.com/office/drawing/2014/main" id="{54853692-13FB-DBFF-2BEA-C0BD5FAF10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612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2" name="Freeform 773">
                        <a:extLst>
                          <a:ext uri="{FF2B5EF4-FFF2-40B4-BE49-F238E27FC236}">
                            <a16:creationId xmlns:a16="http://schemas.microsoft.com/office/drawing/2014/main" id="{2D9607DC-0E03-12D1-E9D1-BFFDB1B7EE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755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5" name="Graphic 19">
                      <a:extLst>
                        <a:ext uri="{FF2B5EF4-FFF2-40B4-BE49-F238E27FC236}">
                          <a16:creationId xmlns:a16="http://schemas.microsoft.com/office/drawing/2014/main" id="{9EACCCEA-DF07-7F20-4F1B-69E7B9198D2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50888" y="180341"/>
                      <a:ext cx="62865" cy="62786"/>
                      <a:chOff x="13450888" y="180341"/>
                      <a:chExt cx="62865" cy="62786"/>
                    </a:xfrm>
                  </p:grpSpPr>
                  <p:sp>
                    <p:nvSpPr>
                      <p:cNvPr id="1039" name="Freeform 775">
                        <a:extLst>
                          <a:ext uri="{FF2B5EF4-FFF2-40B4-BE49-F238E27FC236}">
                            <a16:creationId xmlns:a16="http://schemas.microsoft.com/office/drawing/2014/main" id="{7A5A60ED-3000-EE8D-F5E7-608C6E00497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0888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40" name="Freeform 776">
                        <a:extLst>
                          <a:ext uri="{FF2B5EF4-FFF2-40B4-BE49-F238E27FC236}">
                            <a16:creationId xmlns:a16="http://schemas.microsoft.com/office/drawing/2014/main" id="{50F6EF33-7B72-8146-05F2-42FC116A05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232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6" name="Graphic 19">
                      <a:extLst>
                        <a:ext uri="{FF2B5EF4-FFF2-40B4-BE49-F238E27FC236}">
                          <a16:creationId xmlns:a16="http://schemas.microsoft.com/office/drawing/2014/main" id="{32E4ECF9-9A3D-FC01-5CD5-8D012598AA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62318" y="180341"/>
                      <a:ext cx="62865" cy="62786"/>
                      <a:chOff x="13462318" y="180341"/>
                      <a:chExt cx="62865" cy="62786"/>
                    </a:xfrm>
                  </p:grpSpPr>
                  <p:sp>
                    <p:nvSpPr>
                      <p:cNvPr id="1037" name="Freeform 778">
                        <a:extLst>
                          <a:ext uri="{FF2B5EF4-FFF2-40B4-BE49-F238E27FC236}">
                            <a16:creationId xmlns:a16="http://schemas.microsoft.com/office/drawing/2014/main" id="{EE188814-690E-2050-5E29-FAB4A889C4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2318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8" name="Freeform 779">
                        <a:extLst>
                          <a:ext uri="{FF2B5EF4-FFF2-40B4-BE49-F238E27FC236}">
                            <a16:creationId xmlns:a16="http://schemas.microsoft.com/office/drawing/2014/main" id="{449D1E47-AA01-EAB9-403E-08671D0BD0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375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7" name="Graphic 19">
                      <a:extLst>
                        <a:ext uri="{FF2B5EF4-FFF2-40B4-BE49-F238E27FC236}">
                          <a16:creationId xmlns:a16="http://schemas.microsoft.com/office/drawing/2014/main" id="{BDDF5C3B-8AB0-3264-81BD-52A2C725896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2320" y="190806"/>
                      <a:ext cx="63817" cy="62786"/>
                      <a:chOff x="13482320" y="190806"/>
                      <a:chExt cx="63817" cy="62786"/>
                    </a:xfrm>
                  </p:grpSpPr>
                  <p:sp>
                    <p:nvSpPr>
                      <p:cNvPr id="1035" name="Freeform 781">
                        <a:extLst>
                          <a:ext uri="{FF2B5EF4-FFF2-40B4-BE49-F238E27FC236}">
                            <a16:creationId xmlns:a16="http://schemas.microsoft.com/office/drawing/2014/main" id="{7E5F6CA3-76E5-1BD9-B6ED-98B8AEEEFE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2320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6" name="Freeform 782">
                        <a:extLst>
                          <a:ext uri="{FF2B5EF4-FFF2-40B4-BE49-F238E27FC236}">
                            <a16:creationId xmlns:a16="http://schemas.microsoft.com/office/drawing/2014/main" id="{C6AA690D-1DB9-BAA2-C11E-B1BFE11CBD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470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8" name="Graphic 19">
                      <a:extLst>
                        <a:ext uri="{FF2B5EF4-FFF2-40B4-BE49-F238E27FC236}">
                          <a16:creationId xmlns:a16="http://schemas.microsoft.com/office/drawing/2014/main" id="{13C468BA-F3D2-D51E-E5A2-637EBE8C06A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7083" y="190806"/>
                      <a:ext cx="63817" cy="62786"/>
                      <a:chOff x="13487083" y="190806"/>
                      <a:chExt cx="63817" cy="62786"/>
                    </a:xfrm>
                  </p:grpSpPr>
                  <p:sp>
                    <p:nvSpPr>
                      <p:cNvPr id="1033" name="Freeform 784">
                        <a:extLst>
                          <a:ext uri="{FF2B5EF4-FFF2-40B4-BE49-F238E27FC236}">
                            <a16:creationId xmlns:a16="http://schemas.microsoft.com/office/drawing/2014/main" id="{D63C4E9B-C2F4-2CF1-AD5E-410BD29FA5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7083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4" name="Freeform 785">
                        <a:extLst>
                          <a:ext uri="{FF2B5EF4-FFF2-40B4-BE49-F238E27FC236}">
                            <a16:creationId xmlns:a16="http://schemas.microsoft.com/office/drawing/2014/main" id="{7916C636-A818-DFF9-C868-0DAC345759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9468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49" name="Graphic 19">
                      <a:extLst>
                        <a:ext uri="{FF2B5EF4-FFF2-40B4-BE49-F238E27FC236}">
                          <a16:creationId xmlns:a16="http://schemas.microsoft.com/office/drawing/2014/main" id="{E0B8292C-B1F8-7A86-8647-179CF399D41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9940" y="190806"/>
                      <a:ext cx="62864" cy="62786"/>
                      <a:chOff x="13489940" y="190806"/>
                      <a:chExt cx="62864" cy="62786"/>
                    </a:xfrm>
                  </p:grpSpPr>
                  <p:sp>
                    <p:nvSpPr>
                      <p:cNvPr id="1031" name="Freeform 787">
                        <a:extLst>
                          <a:ext uri="{FF2B5EF4-FFF2-40B4-BE49-F238E27FC236}">
                            <a16:creationId xmlns:a16="http://schemas.microsoft.com/office/drawing/2014/main" id="{41F3081A-F73C-846A-11D3-8B407DC28B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9940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2" name="Freeform 788">
                        <a:extLst>
                          <a:ext uri="{FF2B5EF4-FFF2-40B4-BE49-F238E27FC236}">
                            <a16:creationId xmlns:a16="http://schemas.microsoft.com/office/drawing/2014/main" id="{876C5070-58F1-CB59-0AAC-D6EE7F1168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137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0" name="Graphic 19">
                      <a:extLst>
                        <a:ext uri="{FF2B5EF4-FFF2-40B4-BE49-F238E27FC236}">
                          <a16:creationId xmlns:a16="http://schemas.microsoft.com/office/drawing/2014/main" id="{3185E1EC-D10C-B5C5-59A2-900CF1B53C0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17563" y="190806"/>
                      <a:ext cx="63817" cy="62786"/>
                      <a:chOff x="13517563" y="190806"/>
                      <a:chExt cx="63817" cy="62786"/>
                    </a:xfrm>
                  </p:grpSpPr>
                  <p:sp>
                    <p:nvSpPr>
                      <p:cNvPr id="1029" name="Freeform 790">
                        <a:extLst>
                          <a:ext uri="{FF2B5EF4-FFF2-40B4-BE49-F238E27FC236}">
                            <a16:creationId xmlns:a16="http://schemas.microsoft.com/office/drawing/2014/main" id="{4C13AD2F-E83A-1458-E71D-D5AEC80379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7563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30" name="Freeform 791">
                        <a:extLst>
                          <a:ext uri="{FF2B5EF4-FFF2-40B4-BE49-F238E27FC236}">
                            <a16:creationId xmlns:a16="http://schemas.microsoft.com/office/drawing/2014/main" id="{8AF5BF36-AE61-AAC6-C0F5-837B85137D0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899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1" name="Graphic 19">
                      <a:extLst>
                        <a:ext uri="{FF2B5EF4-FFF2-40B4-BE49-F238E27FC236}">
                          <a16:creationId xmlns:a16="http://schemas.microsoft.com/office/drawing/2014/main" id="{1176258D-072F-6B21-A5A3-39912614FA5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7565" y="190806"/>
                      <a:ext cx="63817" cy="62786"/>
                      <a:chOff x="13537565" y="190806"/>
                      <a:chExt cx="63817" cy="62786"/>
                    </a:xfrm>
                  </p:grpSpPr>
                  <p:sp>
                    <p:nvSpPr>
                      <p:cNvPr id="1027" name="Freeform 793">
                        <a:extLst>
                          <a:ext uri="{FF2B5EF4-FFF2-40B4-BE49-F238E27FC236}">
                            <a16:creationId xmlns:a16="http://schemas.microsoft.com/office/drawing/2014/main" id="{12AE467A-DF4E-4E59-F588-A3557BA4C6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7565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8" name="Freeform 794">
                        <a:extLst>
                          <a:ext uri="{FF2B5EF4-FFF2-40B4-BE49-F238E27FC236}">
                            <a16:creationId xmlns:a16="http://schemas.microsoft.com/office/drawing/2014/main" id="{DFE61FFE-BA18-5ECD-BB00-75308C46F7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9950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2" name="Graphic 19">
                      <a:extLst>
                        <a:ext uri="{FF2B5EF4-FFF2-40B4-BE49-F238E27FC236}">
                          <a16:creationId xmlns:a16="http://schemas.microsoft.com/office/drawing/2014/main" id="{9FCA28A9-ECA2-01E0-E7A2-4035566FE9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43280" y="190806"/>
                      <a:ext cx="62865" cy="62786"/>
                      <a:chOff x="13543280" y="190806"/>
                      <a:chExt cx="62865" cy="62786"/>
                    </a:xfrm>
                  </p:grpSpPr>
                  <p:sp>
                    <p:nvSpPr>
                      <p:cNvPr id="1025" name="Freeform 796">
                        <a:extLst>
                          <a:ext uri="{FF2B5EF4-FFF2-40B4-BE49-F238E27FC236}">
                            <a16:creationId xmlns:a16="http://schemas.microsoft.com/office/drawing/2014/main" id="{813FCF65-2A7D-F344-6AF6-E67E071B85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3280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6" name="Freeform 797">
                        <a:extLst>
                          <a:ext uri="{FF2B5EF4-FFF2-40B4-BE49-F238E27FC236}">
                            <a16:creationId xmlns:a16="http://schemas.microsoft.com/office/drawing/2014/main" id="{5E642B18-66C4-BDE9-76BD-17E8F82E65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471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3" name="Graphic 19">
                      <a:extLst>
                        <a:ext uri="{FF2B5EF4-FFF2-40B4-BE49-F238E27FC236}">
                          <a16:creationId xmlns:a16="http://schemas.microsoft.com/office/drawing/2014/main" id="{60615381-BA8E-6C79-BAE1-ECD2DFC4E7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48043" y="190806"/>
                      <a:ext cx="62865" cy="62786"/>
                      <a:chOff x="13548043" y="190806"/>
                      <a:chExt cx="62865" cy="62786"/>
                    </a:xfrm>
                  </p:grpSpPr>
                  <p:sp>
                    <p:nvSpPr>
                      <p:cNvPr id="1023" name="Freeform 799">
                        <a:extLst>
                          <a:ext uri="{FF2B5EF4-FFF2-40B4-BE49-F238E27FC236}">
                            <a16:creationId xmlns:a16="http://schemas.microsoft.com/office/drawing/2014/main" id="{012EF3CC-AD1A-CFBC-CFC6-46D55BE781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8043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4" name="Freeform 800">
                        <a:extLst>
                          <a:ext uri="{FF2B5EF4-FFF2-40B4-BE49-F238E27FC236}">
                            <a16:creationId xmlns:a16="http://schemas.microsoft.com/office/drawing/2014/main" id="{1471DAEE-3636-EC35-494B-8DD03E8598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947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4" name="Graphic 19">
                      <a:extLst>
                        <a:ext uri="{FF2B5EF4-FFF2-40B4-BE49-F238E27FC236}">
                          <a16:creationId xmlns:a16="http://schemas.microsoft.com/office/drawing/2014/main" id="{A5814DE0-FB4E-C4B7-B5EA-B9E1B75F041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50900" y="190806"/>
                      <a:ext cx="62865" cy="62786"/>
                      <a:chOff x="13550900" y="190806"/>
                      <a:chExt cx="62865" cy="62786"/>
                    </a:xfrm>
                  </p:grpSpPr>
                  <p:sp>
                    <p:nvSpPr>
                      <p:cNvPr id="1021" name="Freeform 802">
                        <a:extLst>
                          <a:ext uri="{FF2B5EF4-FFF2-40B4-BE49-F238E27FC236}">
                            <a16:creationId xmlns:a16="http://schemas.microsoft.com/office/drawing/2014/main" id="{337F8B1E-5609-AD2E-4622-1360754243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50900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2" name="Freeform 803">
                        <a:extLst>
                          <a:ext uri="{FF2B5EF4-FFF2-40B4-BE49-F238E27FC236}">
                            <a16:creationId xmlns:a16="http://schemas.microsoft.com/office/drawing/2014/main" id="{AA1F90AD-2CEF-F016-E8EC-CFC32C72AF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233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5" name="Graphic 19">
                      <a:extLst>
                        <a:ext uri="{FF2B5EF4-FFF2-40B4-BE49-F238E27FC236}">
                          <a16:creationId xmlns:a16="http://schemas.microsoft.com/office/drawing/2014/main" id="{7C311AE9-82D4-378C-995C-FD4657219C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2330" y="190806"/>
                      <a:ext cx="62865" cy="62786"/>
                      <a:chOff x="13562330" y="190806"/>
                      <a:chExt cx="62865" cy="62786"/>
                    </a:xfrm>
                  </p:grpSpPr>
                  <p:sp>
                    <p:nvSpPr>
                      <p:cNvPr id="1019" name="Freeform 805">
                        <a:extLst>
                          <a:ext uri="{FF2B5EF4-FFF2-40B4-BE49-F238E27FC236}">
                            <a16:creationId xmlns:a16="http://schemas.microsoft.com/office/drawing/2014/main" id="{FDDB75FA-D937-96E0-1CB8-4D0B49071C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2330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20" name="Freeform 806">
                        <a:extLst>
                          <a:ext uri="{FF2B5EF4-FFF2-40B4-BE49-F238E27FC236}">
                            <a16:creationId xmlns:a16="http://schemas.microsoft.com/office/drawing/2014/main" id="{4CC2763E-BA7E-0ED8-BEEA-92567B85D6D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376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6" name="Graphic 19">
                      <a:extLst>
                        <a:ext uri="{FF2B5EF4-FFF2-40B4-BE49-F238E27FC236}">
                          <a16:creationId xmlns:a16="http://schemas.microsoft.com/office/drawing/2014/main" id="{2F233E0F-386F-0A2D-1873-BB020DF8E9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6140" y="190806"/>
                      <a:ext cx="63817" cy="62786"/>
                      <a:chOff x="13566140" y="190806"/>
                      <a:chExt cx="63817" cy="62786"/>
                    </a:xfrm>
                  </p:grpSpPr>
                  <p:sp>
                    <p:nvSpPr>
                      <p:cNvPr id="1017" name="Freeform 808">
                        <a:extLst>
                          <a:ext uri="{FF2B5EF4-FFF2-40B4-BE49-F238E27FC236}">
                            <a16:creationId xmlns:a16="http://schemas.microsoft.com/office/drawing/2014/main" id="{4A8FBFD5-2BDE-6B64-EAA1-5B4268D4B1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6140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8" name="Freeform 809">
                        <a:extLst>
                          <a:ext uri="{FF2B5EF4-FFF2-40B4-BE49-F238E27FC236}">
                            <a16:creationId xmlns:a16="http://schemas.microsoft.com/office/drawing/2014/main" id="{2714B635-A9EA-ABB4-8183-C9CEA956F6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757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7" name="Graphic 19">
                      <a:extLst>
                        <a:ext uri="{FF2B5EF4-FFF2-40B4-BE49-F238E27FC236}">
                          <a16:creationId xmlns:a16="http://schemas.microsoft.com/office/drawing/2014/main" id="{25C58375-88C9-2A88-C4A1-84EAB12BD4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0903" y="190806"/>
                      <a:ext cx="62864" cy="62786"/>
                      <a:chOff x="13570903" y="190806"/>
                      <a:chExt cx="62864" cy="62786"/>
                    </a:xfrm>
                  </p:grpSpPr>
                  <p:sp>
                    <p:nvSpPr>
                      <p:cNvPr id="1015" name="Freeform 811">
                        <a:extLst>
                          <a:ext uri="{FF2B5EF4-FFF2-40B4-BE49-F238E27FC236}">
                            <a16:creationId xmlns:a16="http://schemas.microsoft.com/office/drawing/2014/main" id="{F9644BDE-4BD4-2D8C-7816-BEE4921EC4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0903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6" name="Freeform 812">
                        <a:extLst>
                          <a:ext uri="{FF2B5EF4-FFF2-40B4-BE49-F238E27FC236}">
                            <a16:creationId xmlns:a16="http://schemas.microsoft.com/office/drawing/2014/main" id="{9A960894-5115-E76D-E73A-C52C937A37B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233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8" name="Graphic 19">
                      <a:extLst>
                        <a:ext uri="{FF2B5EF4-FFF2-40B4-BE49-F238E27FC236}">
                          <a16:creationId xmlns:a16="http://schemas.microsoft.com/office/drawing/2014/main" id="{3FE5AF51-7739-FD99-08E0-48A32EC718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2808" y="190806"/>
                      <a:ext cx="62864" cy="62786"/>
                      <a:chOff x="13572808" y="190806"/>
                      <a:chExt cx="62864" cy="62786"/>
                    </a:xfrm>
                  </p:grpSpPr>
                  <p:sp>
                    <p:nvSpPr>
                      <p:cNvPr id="1013" name="Freeform 814">
                        <a:extLst>
                          <a:ext uri="{FF2B5EF4-FFF2-40B4-BE49-F238E27FC236}">
                            <a16:creationId xmlns:a16="http://schemas.microsoft.com/office/drawing/2014/main" id="{7C0778BD-1763-46A0-AD29-9B9783F9D0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2808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4" name="Freeform 815">
                        <a:extLst>
                          <a:ext uri="{FF2B5EF4-FFF2-40B4-BE49-F238E27FC236}">
                            <a16:creationId xmlns:a16="http://schemas.microsoft.com/office/drawing/2014/main" id="{748E53BE-B0EB-E8E0-A904-B0F8CDA4BC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4240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59" name="Graphic 19">
                      <a:extLst>
                        <a:ext uri="{FF2B5EF4-FFF2-40B4-BE49-F238E27FC236}">
                          <a16:creationId xmlns:a16="http://schemas.microsoft.com/office/drawing/2014/main" id="{09A38BD7-9CC1-D820-D544-881FA8D1D0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84238" y="190806"/>
                      <a:ext cx="63817" cy="62786"/>
                      <a:chOff x="13584238" y="190806"/>
                      <a:chExt cx="63817" cy="62786"/>
                    </a:xfrm>
                  </p:grpSpPr>
                  <p:sp>
                    <p:nvSpPr>
                      <p:cNvPr id="1011" name="Freeform 817">
                        <a:extLst>
                          <a:ext uri="{FF2B5EF4-FFF2-40B4-BE49-F238E27FC236}">
                            <a16:creationId xmlns:a16="http://schemas.microsoft.com/office/drawing/2014/main" id="{C2C44FE2-2D6C-D4AA-4351-E1B2C7C7D0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84238" y="22219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2" name="Freeform 818">
                        <a:extLst>
                          <a:ext uri="{FF2B5EF4-FFF2-40B4-BE49-F238E27FC236}">
                            <a16:creationId xmlns:a16="http://schemas.microsoft.com/office/drawing/2014/main" id="{72218954-D342-6A79-98B7-735076EA41D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6623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0" name="Graphic 19">
                      <a:extLst>
                        <a:ext uri="{FF2B5EF4-FFF2-40B4-BE49-F238E27FC236}">
                          <a16:creationId xmlns:a16="http://schemas.microsoft.com/office/drawing/2014/main" id="{6820DE85-E3F9-1EEF-EACB-7AA10233807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07098" y="190806"/>
                      <a:ext cx="62865" cy="62786"/>
                      <a:chOff x="13607098" y="190806"/>
                      <a:chExt cx="62865" cy="62786"/>
                    </a:xfrm>
                  </p:grpSpPr>
                  <p:sp>
                    <p:nvSpPr>
                      <p:cNvPr id="1009" name="Freeform 820">
                        <a:extLst>
                          <a:ext uri="{FF2B5EF4-FFF2-40B4-BE49-F238E27FC236}">
                            <a16:creationId xmlns:a16="http://schemas.microsoft.com/office/drawing/2014/main" id="{6B0078A9-18BD-3F76-3F43-311E62BECB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7098" y="22219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10" name="Freeform 821">
                        <a:extLst>
                          <a:ext uri="{FF2B5EF4-FFF2-40B4-BE49-F238E27FC236}">
                            <a16:creationId xmlns:a16="http://schemas.microsoft.com/office/drawing/2014/main" id="{861F6884-1A95-45FF-F283-FB6AB8DC30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8530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1" name="Graphic 19">
                      <a:extLst>
                        <a:ext uri="{FF2B5EF4-FFF2-40B4-BE49-F238E27FC236}">
                          <a16:creationId xmlns:a16="http://schemas.microsoft.com/office/drawing/2014/main" id="{8518043F-FF3E-3563-3E99-A6530AE956D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9483" y="190806"/>
                      <a:ext cx="62864" cy="62786"/>
                      <a:chOff x="13639483" y="190806"/>
                      <a:chExt cx="62864" cy="62786"/>
                    </a:xfrm>
                  </p:grpSpPr>
                  <p:sp>
                    <p:nvSpPr>
                      <p:cNvPr id="1007" name="Freeform 823">
                        <a:extLst>
                          <a:ext uri="{FF2B5EF4-FFF2-40B4-BE49-F238E27FC236}">
                            <a16:creationId xmlns:a16="http://schemas.microsoft.com/office/drawing/2014/main" id="{D069F52B-7299-662C-CB4C-0EBDB19175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9483" y="22219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8" name="Freeform 824">
                        <a:extLst>
                          <a:ext uri="{FF2B5EF4-FFF2-40B4-BE49-F238E27FC236}">
                            <a16:creationId xmlns:a16="http://schemas.microsoft.com/office/drawing/2014/main" id="{3E2A0E52-ED63-AE70-5E93-85663C42CA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0915" y="190806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2" name="Graphic 19">
                      <a:extLst>
                        <a:ext uri="{FF2B5EF4-FFF2-40B4-BE49-F238E27FC236}">
                          <a16:creationId xmlns:a16="http://schemas.microsoft.com/office/drawing/2014/main" id="{378B24E3-C8CA-50B7-2FC3-C06B617065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50913" y="203173"/>
                      <a:ext cx="62865" cy="62786"/>
                      <a:chOff x="13650913" y="203173"/>
                      <a:chExt cx="62865" cy="62786"/>
                    </a:xfrm>
                  </p:grpSpPr>
                  <p:sp>
                    <p:nvSpPr>
                      <p:cNvPr id="1005" name="Freeform 826">
                        <a:extLst>
                          <a:ext uri="{FF2B5EF4-FFF2-40B4-BE49-F238E27FC236}">
                            <a16:creationId xmlns:a16="http://schemas.microsoft.com/office/drawing/2014/main" id="{3A9FB498-CB5C-C5C7-6DFE-E0B9DC6567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50913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6" name="Freeform 827">
                        <a:extLst>
                          <a:ext uri="{FF2B5EF4-FFF2-40B4-BE49-F238E27FC236}">
                            <a16:creationId xmlns:a16="http://schemas.microsoft.com/office/drawing/2014/main" id="{0DEF5E12-2EB0-3CDE-AAF0-3946568874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8234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3" name="Graphic 19">
                      <a:extLst>
                        <a:ext uri="{FF2B5EF4-FFF2-40B4-BE49-F238E27FC236}">
                          <a16:creationId xmlns:a16="http://schemas.microsoft.com/office/drawing/2014/main" id="{20D99269-0252-6ED8-9DA8-60E3E85CFF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8535" y="203173"/>
                      <a:ext cx="62865" cy="62786"/>
                      <a:chOff x="13678535" y="203173"/>
                      <a:chExt cx="62865" cy="62786"/>
                    </a:xfrm>
                  </p:grpSpPr>
                  <p:sp>
                    <p:nvSpPr>
                      <p:cNvPr id="1003" name="Freeform 829">
                        <a:extLst>
                          <a:ext uri="{FF2B5EF4-FFF2-40B4-BE49-F238E27FC236}">
                            <a16:creationId xmlns:a16="http://schemas.microsoft.com/office/drawing/2014/main" id="{7117FF03-744E-2CFA-D8DA-1405C1BCF1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8535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4" name="Freeform 830">
                        <a:extLst>
                          <a:ext uri="{FF2B5EF4-FFF2-40B4-BE49-F238E27FC236}">
                            <a16:creationId xmlns:a16="http://schemas.microsoft.com/office/drawing/2014/main" id="{0F45280E-A10D-43E4-8F09-B7814AECEC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996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4" name="Graphic 19">
                      <a:extLst>
                        <a:ext uri="{FF2B5EF4-FFF2-40B4-BE49-F238E27FC236}">
                          <a16:creationId xmlns:a16="http://schemas.microsoft.com/office/drawing/2014/main" id="{A466005D-CAA7-CA82-A2D8-87DAC9D305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94728" y="203173"/>
                      <a:ext cx="63817" cy="62786"/>
                      <a:chOff x="13694728" y="203173"/>
                      <a:chExt cx="63817" cy="62786"/>
                    </a:xfrm>
                  </p:grpSpPr>
                  <p:sp>
                    <p:nvSpPr>
                      <p:cNvPr id="1001" name="Freeform 832">
                        <a:extLst>
                          <a:ext uri="{FF2B5EF4-FFF2-40B4-BE49-F238E27FC236}">
                            <a16:creationId xmlns:a16="http://schemas.microsoft.com/office/drawing/2014/main" id="{6941E4E5-3450-DCA3-ED06-23EA380BC1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4728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2" name="Freeform 833">
                        <a:extLst>
                          <a:ext uri="{FF2B5EF4-FFF2-40B4-BE49-F238E27FC236}">
                            <a16:creationId xmlns:a16="http://schemas.microsoft.com/office/drawing/2014/main" id="{F9EA949F-5E46-37FF-5154-87259E48C9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6160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5" name="Graphic 19">
                      <a:extLst>
                        <a:ext uri="{FF2B5EF4-FFF2-40B4-BE49-F238E27FC236}">
                          <a16:creationId xmlns:a16="http://schemas.microsoft.com/office/drawing/2014/main" id="{A01DFB0A-3D1F-C42B-C5CD-342D092481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99490" y="203173"/>
                      <a:ext cx="62864" cy="62786"/>
                      <a:chOff x="13699490" y="203173"/>
                      <a:chExt cx="62864" cy="62786"/>
                    </a:xfrm>
                  </p:grpSpPr>
                  <p:sp>
                    <p:nvSpPr>
                      <p:cNvPr id="999" name="Freeform 835">
                        <a:extLst>
                          <a:ext uri="{FF2B5EF4-FFF2-40B4-BE49-F238E27FC236}">
                            <a16:creationId xmlns:a16="http://schemas.microsoft.com/office/drawing/2014/main" id="{478CC4B3-EAF2-EE1A-B30C-23A21CC47C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99490" y="2345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000" name="Freeform 836">
                        <a:extLst>
                          <a:ext uri="{FF2B5EF4-FFF2-40B4-BE49-F238E27FC236}">
                            <a16:creationId xmlns:a16="http://schemas.microsoft.com/office/drawing/2014/main" id="{D9A0DC95-063F-86D2-66CF-27586B08FD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092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6" name="Graphic 19">
                      <a:extLst>
                        <a:ext uri="{FF2B5EF4-FFF2-40B4-BE49-F238E27FC236}">
                          <a16:creationId xmlns:a16="http://schemas.microsoft.com/office/drawing/2014/main" id="{28B32DA7-6465-0C0B-D805-F2C715C3F02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2350" y="203173"/>
                      <a:ext cx="63817" cy="62786"/>
                      <a:chOff x="13722350" y="203173"/>
                      <a:chExt cx="63817" cy="62786"/>
                    </a:xfrm>
                  </p:grpSpPr>
                  <p:sp>
                    <p:nvSpPr>
                      <p:cNvPr id="997" name="Freeform 838">
                        <a:extLst>
                          <a:ext uri="{FF2B5EF4-FFF2-40B4-BE49-F238E27FC236}">
                            <a16:creationId xmlns:a16="http://schemas.microsoft.com/office/drawing/2014/main" id="{E18DC90F-6CB9-3AE8-3A8F-F1E8ABDE00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2350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8" name="Freeform 839">
                        <a:extLst>
                          <a:ext uri="{FF2B5EF4-FFF2-40B4-BE49-F238E27FC236}">
                            <a16:creationId xmlns:a16="http://schemas.microsoft.com/office/drawing/2014/main" id="{88F3A4FF-4C56-68BD-91D1-14DCF5310E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378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7" name="Graphic 19">
                      <a:extLst>
                        <a:ext uri="{FF2B5EF4-FFF2-40B4-BE49-F238E27FC236}">
                          <a16:creationId xmlns:a16="http://schemas.microsoft.com/office/drawing/2014/main" id="{82AA44AB-594B-7808-0F28-AD17B25376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7113" y="203173"/>
                      <a:ext cx="63817" cy="62786"/>
                      <a:chOff x="13727113" y="203173"/>
                      <a:chExt cx="63817" cy="62786"/>
                    </a:xfrm>
                  </p:grpSpPr>
                  <p:sp>
                    <p:nvSpPr>
                      <p:cNvPr id="995" name="Freeform 841">
                        <a:extLst>
                          <a:ext uri="{FF2B5EF4-FFF2-40B4-BE49-F238E27FC236}">
                            <a16:creationId xmlns:a16="http://schemas.microsoft.com/office/drawing/2014/main" id="{F33C4265-A694-65BF-F355-FA511A3849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711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6" name="Freeform 842">
                        <a:extLst>
                          <a:ext uri="{FF2B5EF4-FFF2-40B4-BE49-F238E27FC236}">
                            <a16:creationId xmlns:a16="http://schemas.microsoft.com/office/drawing/2014/main" id="{F920A741-0599-9E47-BB94-42860E2345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949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8" name="Graphic 19">
                      <a:extLst>
                        <a:ext uri="{FF2B5EF4-FFF2-40B4-BE49-F238E27FC236}">
                          <a16:creationId xmlns:a16="http://schemas.microsoft.com/office/drawing/2014/main" id="{5D89EECF-977C-812A-896F-9C460A9064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38543" y="203173"/>
                      <a:ext cx="63817" cy="62786"/>
                      <a:chOff x="13738543" y="203173"/>
                      <a:chExt cx="63817" cy="62786"/>
                    </a:xfrm>
                  </p:grpSpPr>
                  <p:sp>
                    <p:nvSpPr>
                      <p:cNvPr id="993" name="Freeform 844">
                        <a:extLst>
                          <a:ext uri="{FF2B5EF4-FFF2-40B4-BE49-F238E27FC236}">
                            <a16:creationId xmlns:a16="http://schemas.microsoft.com/office/drawing/2014/main" id="{30BB4DD9-175A-A175-98B9-6A0354C114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854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4" name="Freeform 845">
                        <a:extLst>
                          <a:ext uri="{FF2B5EF4-FFF2-40B4-BE49-F238E27FC236}">
                            <a16:creationId xmlns:a16="http://schemas.microsoft.com/office/drawing/2014/main" id="{DE25EE4A-F2FE-A605-1736-C53EEA2CD3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092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69" name="Graphic 19">
                      <a:extLst>
                        <a:ext uri="{FF2B5EF4-FFF2-40B4-BE49-F238E27FC236}">
                          <a16:creationId xmlns:a16="http://schemas.microsoft.com/office/drawing/2014/main" id="{D7A6B7DE-8E93-7F39-F827-9B2661D134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49973" y="203173"/>
                      <a:ext cx="62865" cy="62786"/>
                      <a:chOff x="13749973" y="203173"/>
                      <a:chExt cx="62865" cy="62786"/>
                    </a:xfrm>
                  </p:grpSpPr>
                  <p:sp>
                    <p:nvSpPr>
                      <p:cNvPr id="991" name="Freeform 847">
                        <a:extLst>
                          <a:ext uri="{FF2B5EF4-FFF2-40B4-BE49-F238E27FC236}">
                            <a16:creationId xmlns:a16="http://schemas.microsoft.com/office/drawing/2014/main" id="{30C978F0-30A9-B7B1-0A27-CECAD4803E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49973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2" name="Freeform 848">
                        <a:extLst>
                          <a:ext uri="{FF2B5EF4-FFF2-40B4-BE49-F238E27FC236}">
                            <a16:creationId xmlns:a16="http://schemas.microsoft.com/office/drawing/2014/main" id="{E1569DBE-1B79-70A9-6ABA-831E43923D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140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0" name="Graphic 19">
                      <a:extLst>
                        <a:ext uri="{FF2B5EF4-FFF2-40B4-BE49-F238E27FC236}">
                          <a16:creationId xmlns:a16="http://schemas.microsoft.com/office/drawing/2014/main" id="{B74C4CED-2F93-8999-CF5F-DB1B28D377F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4735" y="203173"/>
                      <a:ext cx="62865" cy="62786"/>
                      <a:chOff x="13754735" y="203173"/>
                      <a:chExt cx="62865" cy="62786"/>
                    </a:xfrm>
                  </p:grpSpPr>
                  <p:sp>
                    <p:nvSpPr>
                      <p:cNvPr id="989" name="Freeform 850">
                        <a:extLst>
                          <a:ext uri="{FF2B5EF4-FFF2-40B4-BE49-F238E27FC236}">
                            <a16:creationId xmlns:a16="http://schemas.microsoft.com/office/drawing/2014/main" id="{36CADE69-0943-2623-B26A-FA6F726B50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4735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90" name="Freeform 851">
                        <a:extLst>
                          <a:ext uri="{FF2B5EF4-FFF2-40B4-BE49-F238E27FC236}">
                            <a16:creationId xmlns:a16="http://schemas.microsoft.com/office/drawing/2014/main" id="{7F9CE76B-81E9-6B3C-1197-DBF1D20309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6168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1" name="Graphic 19">
                      <a:extLst>
                        <a:ext uri="{FF2B5EF4-FFF2-40B4-BE49-F238E27FC236}">
                          <a16:creationId xmlns:a16="http://schemas.microsoft.com/office/drawing/2014/main" id="{A0ADF88C-34D3-9C65-ACE0-A6B6D7BD713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71880" y="203173"/>
                      <a:ext cx="63817" cy="62786"/>
                      <a:chOff x="13771880" y="203173"/>
                      <a:chExt cx="63817" cy="62786"/>
                    </a:xfrm>
                  </p:grpSpPr>
                  <p:sp>
                    <p:nvSpPr>
                      <p:cNvPr id="987" name="Freeform 853">
                        <a:extLst>
                          <a:ext uri="{FF2B5EF4-FFF2-40B4-BE49-F238E27FC236}">
                            <a16:creationId xmlns:a16="http://schemas.microsoft.com/office/drawing/2014/main" id="{8FAB9A1A-CD2B-70BA-1997-F7BE2CAE2F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1880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8" name="Freeform 854">
                        <a:extLst>
                          <a:ext uri="{FF2B5EF4-FFF2-40B4-BE49-F238E27FC236}">
                            <a16:creationId xmlns:a16="http://schemas.microsoft.com/office/drawing/2014/main" id="{35F6F16F-B632-AF6D-94E6-9E910B94A6E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0331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2" name="Graphic 19">
                      <a:extLst>
                        <a:ext uri="{FF2B5EF4-FFF2-40B4-BE49-F238E27FC236}">
                          <a16:creationId xmlns:a16="http://schemas.microsoft.com/office/drawing/2014/main" id="{8064D8D4-DFFA-18F3-06C3-9C93E7380B1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76643" y="203173"/>
                      <a:ext cx="63817" cy="62786"/>
                      <a:chOff x="13776643" y="203173"/>
                      <a:chExt cx="63817" cy="62786"/>
                    </a:xfrm>
                  </p:grpSpPr>
                  <p:sp>
                    <p:nvSpPr>
                      <p:cNvPr id="985" name="Freeform 856">
                        <a:extLst>
                          <a:ext uri="{FF2B5EF4-FFF2-40B4-BE49-F238E27FC236}">
                            <a16:creationId xmlns:a16="http://schemas.microsoft.com/office/drawing/2014/main" id="{E42DB656-9473-9AFD-DCC9-F19B6435F1A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7664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6" name="Freeform 857">
                        <a:extLst>
                          <a:ext uri="{FF2B5EF4-FFF2-40B4-BE49-F238E27FC236}">
                            <a16:creationId xmlns:a16="http://schemas.microsoft.com/office/drawing/2014/main" id="{E19ADBAA-8A9E-E65B-542C-211BF14BE4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0807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3" name="Graphic 19">
                      <a:extLst>
                        <a:ext uri="{FF2B5EF4-FFF2-40B4-BE49-F238E27FC236}">
                          <a16:creationId xmlns:a16="http://schemas.microsoft.com/office/drawing/2014/main" id="{B7774E69-041F-A278-F343-4B9CBC0B4C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88073" y="203173"/>
                      <a:ext cx="63817" cy="62786"/>
                      <a:chOff x="13788073" y="203173"/>
                      <a:chExt cx="63817" cy="62786"/>
                    </a:xfrm>
                  </p:grpSpPr>
                  <p:sp>
                    <p:nvSpPr>
                      <p:cNvPr id="983" name="Freeform 859">
                        <a:extLst>
                          <a:ext uri="{FF2B5EF4-FFF2-40B4-BE49-F238E27FC236}">
                            <a16:creationId xmlns:a16="http://schemas.microsoft.com/office/drawing/2014/main" id="{D6631467-A93F-A25E-75BD-D0296BBC80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8073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4" name="Freeform 860">
                        <a:extLst>
                          <a:ext uri="{FF2B5EF4-FFF2-40B4-BE49-F238E27FC236}">
                            <a16:creationId xmlns:a16="http://schemas.microsoft.com/office/drawing/2014/main" id="{600C3259-252E-CF43-6B76-0C6B4BE07E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19505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4" name="Graphic 19">
                      <a:extLst>
                        <a:ext uri="{FF2B5EF4-FFF2-40B4-BE49-F238E27FC236}">
                          <a16:creationId xmlns:a16="http://schemas.microsoft.com/office/drawing/2014/main" id="{02F7346B-D03C-93AB-B2BB-7AB8D00EA2F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93788" y="203173"/>
                      <a:ext cx="62865" cy="62786"/>
                      <a:chOff x="13793788" y="203173"/>
                      <a:chExt cx="62865" cy="62786"/>
                    </a:xfrm>
                  </p:grpSpPr>
                  <p:sp>
                    <p:nvSpPr>
                      <p:cNvPr id="981" name="Freeform 862">
                        <a:extLst>
                          <a:ext uri="{FF2B5EF4-FFF2-40B4-BE49-F238E27FC236}">
                            <a16:creationId xmlns:a16="http://schemas.microsoft.com/office/drawing/2014/main" id="{8BAE7528-CB2B-3A85-9E15-839D426CB0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3788" y="23456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2" name="Freeform 863">
                        <a:extLst>
                          <a:ext uri="{FF2B5EF4-FFF2-40B4-BE49-F238E27FC236}">
                            <a16:creationId xmlns:a16="http://schemas.microsoft.com/office/drawing/2014/main" id="{06A17FB9-981C-7689-E69D-399A8C3720A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5220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5" name="Graphic 19">
                      <a:extLst>
                        <a:ext uri="{FF2B5EF4-FFF2-40B4-BE49-F238E27FC236}">
                          <a16:creationId xmlns:a16="http://schemas.microsoft.com/office/drawing/2014/main" id="{EFCEAEC4-C49C-7E74-B565-5CDA59C98EE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98550" y="203173"/>
                      <a:ext cx="63817" cy="62786"/>
                      <a:chOff x="13798550" y="203173"/>
                      <a:chExt cx="63817" cy="62786"/>
                    </a:xfrm>
                  </p:grpSpPr>
                  <p:sp>
                    <p:nvSpPr>
                      <p:cNvPr id="979" name="Freeform 865">
                        <a:extLst>
                          <a:ext uri="{FF2B5EF4-FFF2-40B4-BE49-F238E27FC236}">
                            <a16:creationId xmlns:a16="http://schemas.microsoft.com/office/drawing/2014/main" id="{9704D306-22C5-B03D-FB57-A126AB2831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8550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80" name="Freeform 866">
                        <a:extLst>
                          <a:ext uri="{FF2B5EF4-FFF2-40B4-BE49-F238E27FC236}">
                            <a16:creationId xmlns:a16="http://schemas.microsoft.com/office/drawing/2014/main" id="{A1DCEC83-938B-0CF6-50F1-F8F5E54B1B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998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6" name="Graphic 19">
                      <a:extLst>
                        <a:ext uri="{FF2B5EF4-FFF2-40B4-BE49-F238E27FC236}">
                          <a16:creationId xmlns:a16="http://schemas.microsoft.com/office/drawing/2014/main" id="{D9298640-2D98-DF69-814F-1D4B823CC1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20458" y="203173"/>
                      <a:ext cx="63817" cy="62786"/>
                      <a:chOff x="13820458" y="203173"/>
                      <a:chExt cx="63817" cy="62786"/>
                    </a:xfrm>
                  </p:grpSpPr>
                  <p:sp>
                    <p:nvSpPr>
                      <p:cNvPr id="977" name="Freeform 868">
                        <a:extLst>
                          <a:ext uri="{FF2B5EF4-FFF2-40B4-BE49-F238E27FC236}">
                            <a16:creationId xmlns:a16="http://schemas.microsoft.com/office/drawing/2014/main" id="{03696A9A-498F-7160-C3D5-095DB4BD6B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0458" y="23456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8" name="Freeform 869">
                        <a:extLst>
                          <a:ext uri="{FF2B5EF4-FFF2-40B4-BE49-F238E27FC236}">
                            <a16:creationId xmlns:a16="http://schemas.microsoft.com/office/drawing/2014/main" id="{47668A5A-3925-25E5-748B-7081D72C9B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52843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7" name="Graphic 19">
                      <a:extLst>
                        <a:ext uri="{FF2B5EF4-FFF2-40B4-BE49-F238E27FC236}">
                          <a16:creationId xmlns:a16="http://schemas.microsoft.com/office/drawing/2014/main" id="{C7D2BACB-F216-607E-2D3F-9D8463232C1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43318" y="203173"/>
                      <a:ext cx="62864" cy="62786"/>
                      <a:chOff x="13843318" y="203173"/>
                      <a:chExt cx="62864" cy="62786"/>
                    </a:xfrm>
                  </p:grpSpPr>
                  <p:sp>
                    <p:nvSpPr>
                      <p:cNvPr id="975" name="Freeform 871">
                        <a:extLst>
                          <a:ext uri="{FF2B5EF4-FFF2-40B4-BE49-F238E27FC236}">
                            <a16:creationId xmlns:a16="http://schemas.microsoft.com/office/drawing/2014/main" id="{36DAE917-4BAF-5F0D-2348-44E1A56C2C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43318" y="2345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6" name="Freeform 872">
                        <a:extLst>
                          <a:ext uri="{FF2B5EF4-FFF2-40B4-BE49-F238E27FC236}">
                            <a16:creationId xmlns:a16="http://schemas.microsoft.com/office/drawing/2014/main" id="{DBDB7DFC-78C5-0956-2EB0-FC77DEFD86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74750" y="20317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8" name="Graphic 19">
                      <a:extLst>
                        <a:ext uri="{FF2B5EF4-FFF2-40B4-BE49-F238E27FC236}">
                          <a16:creationId xmlns:a16="http://schemas.microsoft.com/office/drawing/2014/main" id="{8556E162-EA87-5986-68CF-8A8ED09C8DF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60463" y="215540"/>
                      <a:ext cx="62865" cy="63737"/>
                      <a:chOff x="13860463" y="215540"/>
                      <a:chExt cx="62865" cy="63737"/>
                    </a:xfrm>
                  </p:grpSpPr>
                  <p:sp>
                    <p:nvSpPr>
                      <p:cNvPr id="973" name="Freeform 874">
                        <a:extLst>
                          <a:ext uri="{FF2B5EF4-FFF2-40B4-BE49-F238E27FC236}">
                            <a16:creationId xmlns:a16="http://schemas.microsoft.com/office/drawing/2014/main" id="{49ED5620-0E68-F03B-6631-B1B217C97B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60463" y="24788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4" name="Freeform 875">
                        <a:extLst>
                          <a:ext uri="{FF2B5EF4-FFF2-40B4-BE49-F238E27FC236}">
                            <a16:creationId xmlns:a16="http://schemas.microsoft.com/office/drawing/2014/main" id="{C6F3653A-8F47-BFF1-8E42-326DCF383E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1895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79" name="Graphic 19">
                      <a:extLst>
                        <a:ext uri="{FF2B5EF4-FFF2-40B4-BE49-F238E27FC236}">
                          <a16:creationId xmlns:a16="http://schemas.microsoft.com/office/drawing/2014/main" id="{BD246E83-9946-F490-509E-EED56475CB9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65225" y="215540"/>
                      <a:ext cx="63817" cy="63737"/>
                      <a:chOff x="13865225" y="215540"/>
                      <a:chExt cx="63817" cy="63737"/>
                    </a:xfrm>
                  </p:grpSpPr>
                  <p:sp>
                    <p:nvSpPr>
                      <p:cNvPr id="971" name="Freeform 877">
                        <a:extLst>
                          <a:ext uri="{FF2B5EF4-FFF2-40B4-BE49-F238E27FC236}">
                            <a16:creationId xmlns:a16="http://schemas.microsoft.com/office/drawing/2014/main" id="{434371EF-2A1C-27E9-A766-0EDA9C3156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65225" y="24788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2" name="Freeform 878">
                        <a:extLst>
                          <a:ext uri="{FF2B5EF4-FFF2-40B4-BE49-F238E27FC236}">
                            <a16:creationId xmlns:a16="http://schemas.microsoft.com/office/drawing/2014/main" id="{DCCA18B0-FDA8-D1E2-8633-0CEF002A4C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7610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0" name="Graphic 19">
                      <a:extLst>
                        <a:ext uri="{FF2B5EF4-FFF2-40B4-BE49-F238E27FC236}">
                          <a16:creationId xmlns:a16="http://schemas.microsoft.com/office/drawing/2014/main" id="{638DAEC5-6D6E-DA29-40E3-EC692B9484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70940" y="215540"/>
                      <a:ext cx="62865" cy="63737"/>
                      <a:chOff x="13870940" y="215540"/>
                      <a:chExt cx="62865" cy="63737"/>
                    </a:xfrm>
                  </p:grpSpPr>
                  <p:sp>
                    <p:nvSpPr>
                      <p:cNvPr id="969" name="Freeform 880">
                        <a:extLst>
                          <a:ext uri="{FF2B5EF4-FFF2-40B4-BE49-F238E27FC236}">
                            <a16:creationId xmlns:a16="http://schemas.microsoft.com/office/drawing/2014/main" id="{7772760C-7277-7B33-EFE3-C633D6FF20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70940" y="24788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70" name="Freeform 881">
                        <a:extLst>
                          <a:ext uri="{FF2B5EF4-FFF2-40B4-BE49-F238E27FC236}">
                            <a16:creationId xmlns:a16="http://schemas.microsoft.com/office/drawing/2014/main" id="{32D4CCC2-029B-E30C-6A12-F615C02FB4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2373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1" name="Graphic 19">
                      <a:extLst>
                        <a:ext uri="{FF2B5EF4-FFF2-40B4-BE49-F238E27FC236}">
                          <a16:creationId xmlns:a16="http://schemas.microsoft.com/office/drawing/2014/main" id="{CE77CB2F-F268-3642-1B1C-B5BD9BD5BC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76655" y="215540"/>
                      <a:ext cx="62864" cy="63737"/>
                      <a:chOff x="13876655" y="215540"/>
                      <a:chExt cx="62864" cy="63737"/>
                    </a:xfrm>
                  </p:grpSpPr>
                  <p:sp>
                    <p:nvSpPr>
                      <p:cNvPr id="967" name="Freeform 883">
                        <a:extLst>
                          <a:ext uri="{FF2B5EF4-FFF2-40B4-BE49-F238E27FC236}">
                            <a16:creationId xmlns:a16="http://schemas.microsoft.com/office/drawing/2014/main" id="{C6EBBF57-1909-0DD8-1F43-8A4D44DA3C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76655" y="24788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8" name="Freeform 884">
                        <a:extLst>
                          <a:ext uri="{FF2B5EF4-FFF2-40B4-BE49-F238E27FC236}">
                            <a16:creationId xmlns:a16="http://schemas.microsoft.com/office/drawing/2014/main" id="{EEB24B94-9CD6-320B-1E93-A2449515BA0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8088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2" name="Graphic 19">
                      <a:extLst>
                        <a:ext uri="{FF2B5EF4-FFF2-40B4-BE49-F238E27FC236}">
                          <a16:creationId xmlns:a16="http://schemas.microsoft.com/office/drawing/2014/main" id="{179E0EBD-4732-946D-5E02-94562EB452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05230" y="215540"/>
                      <a:ext cx="62864" cy="63737"/>
                      <a:chOff x="13905230" y="215540"/>
                      <a:chExt cx="62864" cy="63737"/>
                    </a:xfrm>
                  </p:grpSpPr>
                  <p:sp>
                    <p:nvSpPr>
                      <p:cNvPr id="965" name="Freeform 886">
                        <a:extLst>
                          <a:ext uri="{FF2B5EF4-FFF2-40B4-BE49-F238E27FC236}">
                            <a16:creationId xmlns:a16="http://schemas.microsoft.com/office/drawing/2014/main" id="{8E489798-25AE-5191-39B0-864AD83CAB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5230" y="24788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6" name="Freeform 887">
                        <a:extLst>
                          <a:ext uri="{FF2B5EF4-FFF2-40B4-BE49-F238E27FC236}">
                            <a16:creationId xmlns:a16="http://schemas.microsoft.com/office/drawing/2014/main" id="{107CA19F-019A-12A7-BC6D-AAEC0AA918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36663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3" name="Graphic 19">
                      <a:extLst>
                        <a:ext uri="{FF2B5EF4-FFF2-40B4-BE49-F238E27FC236}">
                          <a16:creationId xmlns:a16="http://schemas.microsoft.com/office/drawing/2014/main" id="{C5231000-5657-E087-A7A6-DFF7F73E796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09040" y="215540"/>
                      <a:ext cx="63817" cy="63737"/>
                      <a:chOff x="13909040" y="215540"/>
                      <a:chExt cx="63817" cy="63737"/>
                    </a:xfrm>
                  </p:grpSpPr>
                  <p:sp>
                    <p:nvSpPr>
                      <p:cNvPr id="963" name="Freeform 889">
                        <a:extLst>
                          <a:ext uri="{FF2B5EF4-FFF2-40B4-BE49-F238E27FC236}">
                            <a16:creationId xmlns:a16="http://schemas.microsoft.com/office/drawing/2014/main" id="{14BD43ED-3CFF-5DE2-9FCC-212F17CD01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09040" y="24788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4" name="Freeform 890">
                        <a:extLst>
                          <a:ext uri="{FF2B5EF4-FFF2-40B4-BE49-F238E27FC236}">
                            <a16:creationId xmlns:a16="http://schemas.microsoft.com/office/drawing/2014/main" id="{B9A15748-ABED-ED7A-9863-39D693D399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40473" y="21554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4" name="Graphic 19">
                      <a:extLst>
                        <a:ext uri="{FF2B5EF4-FFF2-40B4-BE49-F238E27FC236}">
                          <a16:creationId xmlns:a16="http://schemas.microsoft.com/office/drawing/2014/main" id="{079A89BE-037D-0520-CFFB-A591D8E273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7145" y="230761"/>
                      <a:ext cx="62865" cy="62786"/>
                      <a:chOff x="13987145" y="230761"/>
                      <a:chExt cx="62865" cy="62786"/>
                    </a:xfrm>
                  </p:grpSpPr>
                  <p:sp>
                    <p:nvSpPr>
                      <p:cNvPr id="961" name="Freeform 892">
                        <a:extLst>
                          <a:ext uri="{FF2B5EF4-FFF2-40B4-BE49-F238E27FC236}">
                            <a16:creationId xmlns:a16="http://schemas.microsoft.com/office/drawing/2014/main" id="{D2B867CE-9F24-4018-726D-D125E32ACC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7145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2" name="Freeform 893">
                        <a:extLst>
                          <a:ext uri="{FF2B5EF4-FFF2-40B4-BE49-F238E27FC236}">
                            <a16:creationId xmlns:a16="http://schemas.microsoft.com/office/drawing/2014/main" id="{953A6ADF-3A32-3634-77FE-FB08FD83F0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857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5" name="Graphic 19">
                      <a:extLst>
                        <a:ext uri="{FF2B5EF4-FFF2-40B4-BE49-F238E27FC236}">
                          <a16:creationId xmlns:a16="http://schemas.microsoft.com/office/drawing/2014/main" id="{1571244C-2608-7095-D37F-09540985AD9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91908" y="230761"/>
                      <a:ext cx="63817" cy="62786"/>
                      <a:chOff x="13991908" y="230761"/>
                      <a:chExt cx="63817" cy="62786"/>
                    </a:xfrm>
                  </p:grpSpPr>
                  <p:sp>
                    <p:nvSpPr>
                      <p:cNvPr id="959" name="Freeform 895">
                        <a:extLst>
                          <a:ext uri="{FF2B5EF4-FFF2-40B4-BE49-F238E27FC236}">
                            <a16:creationId xmlns:a16="http://schemas.microsoft.com/office/drawing/2014/main" id="{6AB3E4AD-F49B-560E-4F3C-665091F1E9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1908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60" name="Freeform 896">
                        <a:extLst>
                          <a:ext uri="{FF2B5EF4-FFF2-40B4-BE49-F238E27FC236}">
                            <a16:creationId xmlns:a16="http://schemas.microsoft.com/office/drawing/2014/main" id="{7DC9D903-2663-3DF1-133F-2A23F75CA0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429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6" name="Graphic 19">
                      <a:extLst>
                        <a:ext uri="{FF2B5EF4-FFF2-40B4-BE49-F238E27FC236}">
                          <a16:creationId xmlns:a16="http://schemas.microsoft.com/office/drawing/2014/main" id="{3815DCD9-F7EC-F282-D418-AE5D07A465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98575" y="230761"/>
                      <a:ext cx="62865" cy="62786"/>
                      <a:chOff x="13998575" y="230761"/>
                      <a:chExt cx="62865" cy="62786"/>
                    </a:xfrm>
                  </p:grpSpPr>
                  <p:sp>
                    <p:nvSpPr>
                      <p:cNvPr id="957" name="Freeform 898">
                        <a:extLst>
                          <a:ext uri="{FF2B5EF4-FFF2-40B4-BE49-F238E27FC236}">
                            <a16:creationId xmlns:a16="http://schemas.microsoft.com/office/drawing/2014/main" id="{750A4538-B2AC-BD7C-FD2B-E4FE851257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98575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8" name="Freeform 899">
                        <a:extLst>
                          <a:ext uri="{FF2B5EF4-FFF2-40B4-BE49-F238E27FC236}">
                            <a16:creationId xmlns:a16="http://schemas.microsoft.com/office/drawing/2014/main" id="{9F995B1B-7015-FEF8-74F6-A1B7A30508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00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7" name="Graphic 19">
                      <a:extLst>
                        <a:ext uri="{FF2B5EF4-FFF2-40B4-BE49-F238E27FC236}">
                          <a16:creationId xmlns:a16="http://schemas.microsoft.com/office/drawing/2014/main" id="{BFAF324C-FCAA-0BC4-D7D7-0FCA55A637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4290" y="230761"/>
                      <a:ext cx="62865" cy="62786"/>
                      <a:chOff x="14004290" y="230761"/>
                      <a:chExt cx="62865" cy="62786"/>
                    </a:xfrm>
                  </p:grpSpPr>
                  <p:sp>
                    <p:nvSpPr>
                      <p:cNvPr id="955" name="Freeform 901">
                        <a:extLst>
                          <a:ext uri="{FF2B5EF4-FFF2-40B4-BE49-F238E27FC236}">
                            <a16:creationId xmlns:a16="http://schemas.microsoft.com/office/drawing/2014/main" id="{C4BFD7AC-4F7C-CEFB-6841-4633C1BD60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429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6" name="Freeform 902">
                        <a:extLst>
                          <a:ext uri="{FF2B5EF4-FFF2-40B4-BE49-F238E27FC236}">
                            <a16:creationId xmlns:a16="http://schemas.microsoft.com/office/drawing/2014/main" id="{CB373883-B398-C6C3-65FA-28725CB804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572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8" name="Graphic 19">
                      <a:extLst>
                        <a:ext uri="{FF2B5EF4-FFF2-40B4-BE49-F238E27FC236}">
                          <a16:creationId xmlns:a16="http://schemas.microsoft.com/office/drawing/2014/main" id="{E75CE250-79EB-D8EA-C93A-131E25C7789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10005" y="230761"/>
                      <a:ext cx="62864" cy="62786"/>
                      <a:chOff x="14010005" y="230761"/>
                      <a:chExt cx="62864" cy="62786"/>
                    </a:xfrm>
                  </p:grpSpPr>
                  <p:sp>
                    <p:nvSpPr>
                      <p:cNvPr id="953" name="Freeform 904">
                        <a:extLst>
                          <a:ext uri="{FF2B5EF4-FFF2-40B4-BE49-F238E27FC236}">
                            <a16:creationId xmlns:a16="http://schemas.microsoft.com/office/drawing/2014/main" id="{2FA014C6-88F9-AB43-C26F-2C5D1A526B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0005" y="26215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4" name="Freeform 905">
                        <a:extLst>
                          <a:ext uri="{FF2B5EF4-FFF2-40B4-BE49-F238E27FC236}">
                            <a16:creationId xmlns:a16="http://schemas.microsoft.com/office/drawing/2014/main" id="{87EA912A-FAC8-A18F-A10E-7B183EF8BB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143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89" name="Graphic 19">
                      <a:extLst>
                        <a:ext uri="{FF2B5EF4-FFF2-40B4-BE49-F238E27FC236}">
                          <a16:creationId xmlns:a16="http://schemas.microsoft.com/office/drawing/2014/main" id="{6F1C31B7-5741-598B-7ACE-0BD8A52AA3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15720" y="230761"/>
                      <a:ext cx="62865" cy="62786"/>
                      <a:chOff x="14015720" y="230761"/>
                      <a:chExt cx="62865" cy="62786"/>
                    </a:xfrm>
                  </p:grpSpPr>
                  <p:sp>
                    <p:nvSpPr>
                      <p:cNvPr id="951" name="Freeform 907">
                        <a:extLst>
                          <a:ext uri="{FF2B5EF4-FFF2-40B4-BE49-F238E27FC236}">
                            <a16:creationId xmlns:a16="http://schemas.microsoft.com/office/drawing/2014/main" id="{043CC349-F3AE-9ED4-BC9A-274F8BF04B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572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2" name="Freeform 908">
                        <a:extLst>
                          <a:ext uri="{FF2B5EF4-FFF2-40B4-BE49-F238E27FC236}">
                            <a16:creationId xmlns:a16="http://schemas.microsoft.com/office/drawing/2014/main" id="{9C68DA97-D030-68E1-E413-63071337FC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715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0" name="Graphic 19">
                      <a:extLst>
                        <a:ext uri="{FF2B5EF4-FFF2-40B4-BE49-F238E27FC236}">
                          <a16:creationId xmlns:a16="http://schemas.microsoft.com/office/drawing/2014/main" id="{5A7617FD-0161-7E07-DAA4-550460F808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1435" y="230761"/>
                      <a:ext cx="63817" cy="62786"/>
                      <a:chOff x="14021435" y="230761"/>
                      <a:chExt cx="63817" cy="62786"/>
                    </a:xfrm>
                  </p:grpSpPr>
                  <p:sp>
                    <p:nvSpPr>
                      <p:cNvPr id="949" name="Freeform 910">
                        <a:extLst>
                          <a:ext uri="{FF2B5EF4-FFF2-40B4-BE49-F238E27FC236}">
                            <a16:creationId xmlns:a16="http://schemas.microsoft.com/office/drawing/2014/main" id="{115A3121-A00C-443B-877C-56BC7AA044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1435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50" name="Freeform 911">
                        <a:extLst>
                          <a:ext uri="{FF2B5EF4-FFF2-40B4-BE49-F238E27FC236}">
                            <a16:creationId xmlns:a16="http://schemas.microsoft.com/office/drawing/2014/main" id="{DE2BEB8E-11C7-2884-00DC-50A5F84291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2868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1" name="Graphic 19">
                      <a:extLst>
                        <a:ext uri="{FF2B5EF4-FFF2-40B4-BE49-F238E27FC236}">
                          <a16:creationId xmlns:a16="http://schemas.microsoft.com/office/drawing/2014/main" id="{642AF8CE-984E-F0E1-97E6-1B17185BA0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7150" y="230761"/>
                      <a:ext cx="63817" cy="62786"/>
                      <a:chOff x="14027150" y="230761"/>
                      <a:chExt cx="63817" cy="62786"/>
                    </a:xfrm>
                  </p:grpSpPr>
                  <p:sp>
                    <p:nvSpPr>
                      <p:cNvPr id="947" name="Freeform 913">
                        <a:extLst>
                          <a:ext uri="{FF2B5EF4-FFF2-40B4-BE49-F238E27FC236}">
                            <a16:creationId xmlns:a16="http://schemas.microsoft.com/office/drawing/2014/main" id="{E50B0715-2661-839D-F9CB-7AB098661B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7150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8" name="Freeform 914">
                        <a:extLst>
                          <a:ext uri="{FF2B5EF4-FFF2-40B4-BE49-F238E27FC236}">
                            <a16:creationId xmlns:a16="http://schemas.microsoft.com/office/drawing/2014/main" id="{F9C5A85D-5C7C-79DD-2C1D-A89C3BBBA7B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9535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2" name="Graphic 19">
                      <a:extLst>
                        <a:ext uri="{FF2B5EF4-FFF2-40B4-BE49-F238E27FC236}">
                          <a16:creationId xmlns:a16="http://schemas.microsoft.com/office/drawing/2014/main" id="{9686101D-8EA4-F751-ADCC-22663FFB599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6675" y="230761"/>
                      <a:ext cx="63817" cy="62786"/>
                      <a:chOff x="14036675" y="230761"/>
                      <a:chExt cx="63817" cy="62786"/>
                    </a:xfrm>
                  </p:grpSpPr>
                  <p:sp>
                    <p:nvSpPr>
                      <p:cNvPr id="945" name="Freeform 916">
                        <a:extLst>
                          <a:ext uri="{FF2B5EF4-FFF2-40B4-BE49-F238E27FC236}">
                            <a16:creationId xmlns:a16="http://schemas.microsoft.com/office/drawing/2014/main" id="{63CA1B01-2ED0-7C05-6949-A15E5472819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6675" y="26215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6" name="Freeform 917">
                        <a:extLst>
                          <a:ext uri="{FF2B5EF4-FFF2-40B4-BE49-F238E27FC236}">
                            <a16:creationId xmlns:a16="http://schemas.microsoft.com/office/drawing/2014/main" id="{3D12B43C-7964-46BD-02C1-E35FCABC52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9060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3" name="Graphic 19">
                      <a:extLst>
                        <a:ext uri="{FF2B5EF4-FFF2-40B4-BE49-F238E27FC236}">
                          <a16:creationId xmlns:a16="http://schemas.microsoft.com/office/drawing/2014/main" id="{10AB60DD-0FF3-C094-35B7-7196C2717E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2390" y="230761"/>
                      <a:ext cx="62865" cy="62786"/>
                      <a:chOff x="14042390" y="230761"/>
                      <a:chExt cx="62865" cy="62786"/>
                    </a:xfrm>
                  </p:grpSpPr>
                  <p:sp>
                    <p:nvSpPr>
                      <p:cNvPr id="943" name="Freeform 919">
                        <a:extLst>
                          <a:ext uri="{FF2B5EF4-FFF2-40B4-BE49-F238E27FC236}">
                            <a16:creationId xmlns:a16="http://schemas.microsoft.com/office/drawing/2014/main" id="{3C690B86-C26B-93A5-78E2-0426F0FB26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239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4" name="Freeform 920">
                        <a:extLst>
                          <a:ext uri="{FF2B5EF4-FFF2-40B4-BE49-F238E27FC236}">
                            <a16:creationId xmlns:a16="http://schemas.microsoft.com/office/drawing/2014/main" id="{CD77CE88-A148-26A3-0777-1F9E587597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382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4" name="Graphic 19">
                      <a:extLst>
                        <a:ext uri="{FF2B5EF4-FFF2-40B4-BE49-F238E27FC236}">
                          <a16:creationId xmlns:a16="http://schemas.microsoft.com/office/drawing/2014/main" id="{EB15A69C-4387-BF77-2B81-13DB4B7B46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69060" y="230761"/>
                      <a:ext cx="62865" cy="62786"/>
                      <a:chOff x="14069060" y="230761"/>
                      <a:chExt cx="62865" cy="62786"/>
                    </a:xfrm>
                  </p:grpSpPr>
                  <p:sp>
                    <p:nvSpPr>
                      <p:cNvPr id="941" name="Freeform 922">
                        <a:extLst>
                          <a:ext uri="{FF2B5EF4-FFF2-40B4-BE49-F238E27FC236}">
                            <a16:creationId xmlns:a16="http://schemas.microsoft.com/office/drawing/2014/main" id="{516B4C2D-D10B-D8C8-04E5-D4FF4F8475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9060" y="26215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2" name="Freeform 923">
                        <a:extLst>
                          <a:ext uri="{FF2B5EF4-FFF2-40B4-BE49-F238E27FC236}">
                            <a16:creationId xmlns:a16="http://schemas.microsoft.com/office/drawing/2014/main" id="{8B764CBB-11FC-1765-1182-CBBBBE0F0A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0493" y="2307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5" name="Graphic 19">
                      <a:extLst>
                        <a:ext uri="{FF2B5EF4-FFF2-40B4-BE49-F238E27FC236}">
                          <a16:creationId xmlns:a16="http://schemas.microsoft.com/office/drawing/2014/main" id="{72FE0432-828D-270E-92AE-CCDC6EF2F2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75728" y="251689"/>
                      <a:ext cx="62865" cy="62786"/>
                      <a:chOff x="14075728" y="251689"/>
                      <a:chExt cx="62865" cy="62786"/>
                    </a:xfrm>
                  </p:grpSpPr>
                  <p:sp>
                    <p:nvSpPr>
                      <p:cNvPr id="939" name="Freeform 925">
                        <a:extLst>
                          <a:ext uri="{FF2B5EF4-FFF2-40B4-BE49-F238E27FC236}">
                            <a16:creationId xmlns:a16="http://schemas.microsoft.com/office/drawing/2014/main" id="{9076757B-B591-0337-A344-D9B12535F4A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5728" y="2830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40" name="Freeform 926">
                        <a:extLst>
                          <a:ext uri="{FF2B5EF4-FFF2-40B4-BE49-F238E27FC236}">
                            <a16:creationId xmlns:a16="http://schemas.microsoft.com/office/drawing/2014/main" id="{6C3517BF-3BF2-E8B9-E6A7-EAEE255A266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7160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6" name="Graphic 19">
                      <a:extLst>
                        <a:ext uri="{FF2B5EF4-FFF2-40B4-BE49-F238E27FC236}">
                          <a16:creationId xmlns:a16="http://schemas.microsoft.com/office/drawing/2014/main" id="{8A101D63-4064-C522-D9EB-04329E2AEE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80490" y="251689"/>
                      <a:ext cx="62865" cy="62786"/>
                      <a:chOff x="14080490" y="251689"/>
                      <a:chExt cx="62865" cy="62786"/>
                    </a:xfrm>
                  </p:grpSpPr>
                  <p:sp>
                    <p:nvSpPr>
                      <p:cNvPr id="937" name="Freeform 928">
                        <a:extLst>
                          <a:ext uri="{FF2B5EF4-FFF2-40B4-BE49-F238E27FC236}">
                            <a16:creationId xmlns:a16="http://schemas.microsoft.com/office/drawing/2014/main" id="{946E5BC6-954F-F64B-1987-0D3D41F0B2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80490" y="2830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8" name="Freeform 929">
                        <a:extLst>
                          <a:ext uri="{FF2B5EF4-FFF2-40B4-BE49-F238E27FC236}">
                            <a16:creationId xmlns:a16="http://schemas.microsoft.com/office/drawing/2014/main" id="{EA0DD94B-4BD2-CE4D-C85E-BEF6B13E59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1192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7" name="Graphic 19">
                      <a:extLst>
                        <a:ext uri="{FF2B5EF4-FFF2-40B4-BE49-F238E27FC236}">
                          <a16:creationId xmlns:a16="http://schemas.microsoft.com/office/drawing/2014/main" id="{AC06B1A5-508D-B76D-78C2-35FAE9A1DDB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13828" y="251689"/>
                      <a:ext cx="63817" cy="62786"/>
                      <a:chOff x="14113828" y="251689"/>
                      <a:chExt cx="63817" cy="62786"/>
                    </a:xfrm>
                  </p:grpSpPr>
                  <p:sp>
                    <p:nvSpPr>
                      <p:cNvPr id="935" name="Freeform 931">
                        <a:extLst>
                          <a:ext uri="{FF2B5EF4-FFF2-40B4-BE49-F238E27FC236}">
                            <a16:creationId xmlns:a16="http://schemas.microsoft.com/office/drawing/2014/main" id="{51D5FC6C-B935-2E93-AB19-F7D8346D7B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13828" y="2830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6" name="Freeform 932">
                        <a:extLst>
                          <a:ext uri="{FF2B5EF4-FFF2-40B4-BE49-F238E27FC236}">
                            <a16:creationId xmlns:a16="http://schemas.microsoft.com/office/drawing/2014/main" id="{9036EC8E-3312-77F4-01D0-7BC65EF89F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4621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8" name="Graphic 19">
                      <a:extLst>
                        <a:ext uri="{FF2B5EF4-FFF2-40B4-BE49-F238E27FC236}">
                          <a16:creationId xmlns:a16="http://schemas.microsoft.com/office/drawing/2014/main" id="{A24186D7-5CDE-BF02-806D-6DF606D1D9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19543" y="251689"/>
                      <a:ext cx="62864" cy="62786"/>
                      <a:chOff x="14119543" y="251689"/>
                      <a:chExt cx="62864" cy="62786"/>
                    </a:xfrm>
                  </p:grpSpPr>
                  <p:sp>
                    <p:nvSpPr>
                      <p:cNvPr id="933" name="Freeform 934">
                        <a:extLst>
                          <a:ext uri="{FF2B5EF4-FFF2-40B4-BE49-F238E27FC236}">
                            <a16:creationId xmlns:a16="http://schemas.microsoft.com/office/drawing/2014/main" id="{F0074AAF-AC9B-7993-E7AB-127D8B370D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19543" y="28308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4" name="Freeform 935">
                        <a:extLst>
                          <a:ext uri="{FF2B5EF4-FFF2-40B4-BE49-F238E27FC236}">
                            <a16:creationId xmlns:a16="http://schemas.microsoft.com/office/drawing/2014/main" id="{C084C5F5-D4DD-5FCA-895F-B1CAB21106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50975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699" name="Graphic 19">
                      <a:extLst>
                        <a:ext uri="{FF2B5EF4-FFF2-40B4-BE49-F238E27FC236}">
                          <a16:creationId xmlns:a16="http://schemas.microsoft.com/office/drawing/2014/main" id="{45629200-D753-A88E-7BDE-2B71A6348B7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41450" y="251689"/>
                      <a:ext cx="62865" cy="62786"/>
                      <a:chOff x="14141450" y="251689"/>
                      <a:chExt cx="62865" cy="62786"/>
                    </a:xfrm>
                  </p:grpSpPr>
                  <p:sp>
                    <p:nvSpPr>
                      <p:cNvPr id="931" name="Freeform 937">
                        <a:extLst>
                          <a:ext uri="{FF2B5EF4-FFF2-40B4-BE49-F238E27FC236}">
                            <a16:creationId xmlns:a16="http://schemas.microsoft.com/office/drawing/2014/main" id="{EC140D66-53A0-A285-46A7-915CCD4592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41450" y="2830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2" name="Freeform 938">
                        <a:extLst>
                          <a:ext uri="{FF2B5EF4-FFF2-40B4-BE49-F238E27FC236}">
                            <a16:creationId xmlns:a16="http://schemas.microsoft.com/office/drawing/2014/main" id="{D5A6219B-F41A-B67C-1F86-59F0C54B13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7288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0" name="Graphic 19">
                      <a:extLst>
                        <a:ext uri="{FF2B5EF4-FFF2-40B4-BE49-F238E27FC236}">
                          <a16:creationId xmlns:a16="http://schemas.microsoft.com/office/drawing/2014/main" id="{33E98BC8-0ACA-04DC-C31E-7F7321E5EB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63358" y="251689"/>
                      <a:ext cx="63817" cy="62786"/>
                      <a:chOff x="14163358" y="251689"/>
                      <a:chExt cx="63817" cy="62786"/>
                    </a:xfrm>
                  </p:grpSpPr>
                  <p:sp>
                    <p:nvSpPr>
                      <p:cNvPr id="929" name="Freeform 940">
                        <a:extLst>
                          <a:ext uri="{FF2B5EF4-FFF2-40B4-BE49-F238E27FC236}">
                            <a16:creationId xmlns:a16="http://schemas.microsoft.com/office/drawing/2014/main" id="{F15092C4-00FA-63CF-8C20-C0D4CC15D26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63358" y="2830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30" name="Freeform 941">
                        <a:extLst>
                          <a:ext uri="{FF2B5EF4-FFF2-40B4-BE49-F238E27FC236}">
                            <a16:creationId xmlns:a16="http://schemas.microsoft.com/office/drawing/2014/main" id="{0880661C-23D7-B082-19BB-6D51D0DC0C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9574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1" name="Graphic 19">
                      <a:extLst>
                        <a:ext uri="{FF2B5EF4-FFF2-40B4-BE49-F238E27FC236}">
                          <a16:creationId xmlns:a16="http://schemas.microsoft.com/office/drawing/2014/main" id="{59DA898F-7B8E-130A-99CD-E73341CB9C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74788" y="251689"/>
                      <a:ext cx="63817" cy="62786"/>
                      <a:chOff x="14174788" y="251689"/>
                      <a:chExt cx="63817" cy="62786"/>
                    </a:xfrm>
                  </p:grpSpPr>
                  <p:sp>
                    <p:nvSpPr>
                      <p:cNvPr id="927" name="Freeform 943">
                        <a:extLst>
                          <a:ext uri="{FF2B5EF4-FFF2-40B4-BE49-F238E27FC236}">
                            <a16:creationId xmlns:a16="http://schemas.microsoft.com/office/drawing/2014/main" id="{F4F20FE9-CFEF-6407-2C03-E4A57549F6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74788" y="2830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8" name="Freeform 944">
                        <a:extLst>
                          <a:ext uri="{FF2B5EF4-FFF2-40B4-BE49-F238E27FC236}">
                            <a16:creationId xmlns:a16="http://schemas.microsoft.com/office/drawing/2014/main" id="{B485AEA4-A95A-AECA-4508-90589A17411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07173" y="25168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2" name="Graphic 19">
                      <a:extLst>
                        <a:ext uri="{FF2B5EF4-FFF2-40B4-BE49-F238E27FC236}">
                          <a16:creationId xmlns:a16="http://schemas.microsoft.com/office/drawing/2014/main" id="{B1279BEC-C379-76C5-97D2-49CEC5D4558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90028" y="269764"/>
                      <a:ext cx="62865" cy="63737"/>
                      <a:chOff x="14190028" y="269764"/>
                      <a:chExt cx="62865" cy="63737"/>
                    </a:xfrm>
                  </p:grpSpPr>
                  <p:sp>
                    <p:nvSpPr>
                      <p:cNvPr id="925" name="Freeform 946">
                        <a:extLst>
                          <a:ext uri="{FF2B5EF4-FFF2-40B4-BE49-F238E27FC236}">
                            <a16:creationId xmlns:a16="http://schemas.microsoft.com/office/drawing/2014/main" id="{C0DA7005-B94A-7867-8741-0EF17DEF964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90028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6" name="Freeform 947">
                        <a:extLst>
                          <a:ext uri="{FF2B5EF4-FFF2-40B4-BE49-F238E27FC236}">
                            <a16:creationId xmlns:a16="http://schemas.microsoft.com/office/drawing/2014/main" id="{824E78CE-60F2-36F4-B55B-5030001E14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2146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3" name="Graphic 19">
                      <a:extLst>
                        <a:ext uri="{FF2B5EF4-FFF2-40B4-BE49-F238E27FC236}">
                          <a16:creationId xmlns:a16="http://schemas.microsoft.com/office/drawing/2014/main" id="{0EADF7DC-6497-0E6D-6096-7A572AD28F3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94790" y="269764"/>
                      <a:ext cx="62865" cy="63737"/>
                      <a:chOff x="14194790" y="269764"/>
                      <a:chExt cx="62865" cy="63737"/>
                    </a:xfrm>
                  </p:grpSpPr>
                  <p:sp>
                    <p:nvSpPr>
                      <p:cNvPr id="923" name="Freeform 949">
                        <a:extLst>
                          <a:ext uri="{FF2B5EF4-FFF2-40B4-BE49-F238E27FC236}">
                            <a16:creationId xmlns:a16="http://schemas.microsoft.com/office/drawing/2014/main" id="{0F298546-31A4-A4A3-7E54-734B7EEA99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9479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4" name="Freeform 950">
                        <a:extLst>
                          <a:ext uri="{FF2B5EF4-FFF2-40B4-BE49-F238E27FC236}">
                            <a16:creationId xmlns:a16="http://schemas.microsoft.com/office/drawing/2014/main" id="{51F2F0E2-B609-24CD-AC0C-E0939D9C96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2622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4" name="Graphic 19">
                      <a:extLst>
                        <a:ext uri="{FF2B5EF4-FFF2-40B4-BE49-F238E27FC236}">
                          <a16:creationId xmlns:a16="http://schemas.microsoft.com/office/drawing/2014/main" id="{44107D0E-9B8D-527F-E5BF-449A1E3E2A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0985" y="269764"/>
                      <a:ext cx="62865" cy="63737"/>
                      <a:chOff x="14230985" y="269764"/>
                      <a:chExt cx="62865" cy="63737"/>
                    </a:xfrm>
                  </p:grpSpPr>
                  <p:sp>
                    <p:nvSpPr>
                      <p:cNvPr id="921" name="Freeform 952">
                        <a:extLst>
                          <a:ext uri="{FF2B5EF4-FFF2-40B4-BE49-F238E27FC236}">
                            <a16:creationId xmlns:a16="http://schemas.microsoft.com/office/drawing/2014/main" id="{A375B060-CC6B-E26A-2D94-730ACA8AAE0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098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2" name="Freeform 953">
                        <a:extLst>
                          <a:ext uri="{FF2B5EF4-FFF2-40B4-BE49-F238E27FC236}">
                            <a16:creationId xmlns:a16="http://schemas.microsoft.com/office/drawing/2014/main" id="{430391BA-FC10-4C66-4D27-8E6A05EB41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241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5" name="Graphic 19">
                      <a:extLst>
                        <a:ext uri="{FF2B5EF4-FFF2-40B4-BE49-F238E27FC236}">
                          <a16:creationId xmlns:a16="http://schemas.microsoft.com/office/drawing/2014/main" id="{286CEA84-20A1-0CF5-3455-5877E66296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4795" y="269764"/>
                      <a:ext cx="62865" cy="63737"/>
                      <a:chOff x="14234795" y="269764"/>
                      <a:chExt cx="62865" cy="63737"/>
                    </a:xfrm>
                  </p:grpSpPr>
                  <p:sp>
                    <p:nvSpPr>
                      <p:cNvPr id="919" name="Freeform 955">
                        <a:extLst>
                          <a:ext uri="{FF2B5EF4-FFF2-40B4-BE49-F238E27FC236}">
                            <a16:creationId xmlns:a16="http://schemas.microsoft.com/office/drawing/2014/main" id="{BF375D7C-7116-CB69-22C9-33F96B5B9F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479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20" name="Freeform 956">
                        <a:extLst>
                          <a:ext uri="{FF2B5EF4-FFF2-40B4-BE49-F238E27FC236}">
                            <a16:creationId xmlns:a16="http://schemas.microsoft.com/office/drawing/2014/main" id="{77339052-C4D1-BD94-875E-5D4C02F3F8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622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6" name="Graphic 19">
                      <a:extLst>
                        <a:ext uri="{FF2B5EF4-FFF2-40B4-BE49-F238E27FC236}">
                          <a16:creationId xmlns:a16="http://schemas.microsoft.com/office/drawing/2014/main" id="{A54726A0-E8B6-7BEB-61B3-63ACCF19D2C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47178" y="269764"/>
                      <a:ext cx="62865" cy="63737"/>
                      <a:chOff x="14247178" y="269764"/>
                      <a:chExt cx="62865" cy="63737"/>
                    </a:xfrm>
                  </p:grpSpPr>
                  <p:sp>
                    <p:nvSpPr>
                      <p:cNvPr id="917" name="Freeform 958">
                        <a:extLst>
                          <a:ext uri="{FF2B5EF4-FFF2-40B4-BE49-F238E27FC236}">
                            <a16:creationId xmlns:a16="http://schemas.microsoft.com/office/drawing/2014/main" id="{BA04E4B8-0608-2A59-5D8A-BF2DF5D352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47178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8" name="Freeform 959">
                        <a:extLst>
                          <a:ext uri="{FF2B5EF4-FFF2-40B4-BE49-F238E27FC236}">
                            <a16:creationId xmlns:a16="http://schemas.microsoft.com/office/drawing/2014/main" id="{0DB8FE5F-4A48-95A6-1FC1-05E6C93FAE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7861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7" name="Graphic 19">
                      <a:extLst>
                        <a:ext uri="{FF2B5EF4-FFF2-40B4-BE49-F238E27FC236}">
                          <a16:creationId xmlns:a16="http://schemas.microsoft.com/office/drawing/2014/main" id="{497DD61A-40E9-F8E2-62AC-1F652070DD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51940" y="269764"/>
                      <a:ext cx="63817" cy="63737"/>
                      <a:chOff x="14251940" y="269764"/>
                      <a:chExt cx="63817" cy="63737"/>
                    </a:xfrm>
                  </p:grpSpPr>
                  <p:sp>
                    <p:nvSpPr>
                      <p:cNvPr id="915" name="Freeform 961">
                        <a:extLst>
                          <a:ext uri="{FF2B5EF4-FFF2-40B4-BE49-F238E27FC236}">
                            <a16:creationId xmlns:a16="http://schemas.microsoft.com/office/drawing/2014/main" id="{7FA1DB5E-C8CC-8E7A-98F0-15E7B7C54A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1940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6" name="Freeform 962">
                        <a:extLst>
                          <a:ext uri="{FF2B5EF4-FFF2-40B4-BE49-F238E27FC236}">
                            <a16:creationId xmlns:a16="http://schemas.microsoft.com/office/drawing/2014/main" id="{98C3494D-5CC4-9397-EF56-F1F3C2862D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432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8" name="Graphic 19">
                      <a:extLst>
                        <a:ext uri="{FF2B5EF4-FFF2-40B4-BE49-F238E27FC236}">
                          <a16:creationId xmlns:a16="http://schemas.microsoft.com/office/drawing/2014/main" id="{7C8E580D-CFD7-5A37-F94C-EA536E96AF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57655" y="269764"/>
                      <a:ext cx="62864" cy="63737"/>
                      <a:chOff x="14257655" y="269764"/>
                      <a:chExt cx="62864" cy="63737"/>
                    </a:xfrm>
                  </p:grpSpPr>
                  <p:sp>
                    <p:nvSpPr>
                      <p:cNvPr id="913" name="Freeform 964">
                        <a:extLst>
                          <a:ext uri="{FF2B5EF4-FFF2-40B4-BE49-F238E27FC236}">
                            <a16:creationId xmlns:a16="http://schemas.microsoft.com/office/drawing/2014/main" id="{E3D0B5F1-346A-DF0C-F4A2-FE11A80D3B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57655" y="3021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4" name="Freeform 965">
                        <a:extLst>
                          <a:ext uri="{FF2B5EF4-FFF2-40B4-BE49-F238E27FC236}">
                            <a16:creationId xmlns:a16="http://schemas.microsoft.com/office/drawing/2014/main" id="{8C0676AA-C337-21B7-1069-DCD9E0713B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908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09" name="Graphic 19">
                      <a:extLst>
                        <a:ext uri="{FF2B5EF4-FFF2-40B4-BE49-F238E27FC236}">
                          <a16:creationId xmlns:a16="http://schemas.microsoft.com/office/drawing/2014/main" id="{25D57743-1F1A-D86B-D1E7-3329911EAD2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3370" y="269764"/>
                      <a:ext cx="62865" cy="63737"/>
                      <a:chOff x="14263370" y="269764"/>
                      <a:chExt cx="62865" cy="63737"/>
                    </a:xfrm>
                  </p:grpSpPr>
                  <p:sp>
                    <p:nvSpPr>
                      <p:cNvPr id="911" name="Freeform 967">
                        <a:extLst>
                          <a:ext uri="{FF2B5EF4-FFF2-40B4-BE49-F238E27FC236}">
                            <a16:creationId xmlns:a16="http://schemas.microsoft.com/office/drawing/2014/main" id="{102619D6-EDC7-BC51-1CC4-C33EC5612ED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337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2" name="Freeform 968">
                        <a:extLst>
                          <a:ext uri="{FF2B5EF4-FFF2-40B4-BE49-F238E27FC236}">
                            <a16:creationId xmlns:a16="http://schemas.microsoft.com/office/drawing/2014/main" id="{F95F4FC0-DE3C-3A2C-44AB-29698E7411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480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0" name="Graphic 19">
                      <a:extLst>
                        <a:ext uri="{FF2B5EF4-FFF2-40B4-BE49-F238E27FC236}">
                          <a16:creationId xmlns:a16="http://schemas.microsoft.com/office/drawing/2014/main" id="{CC877ED9-FDC6-BD06-FF37-B4EDEC91DA8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69085" y="269764"/>
                      <a:ext cx="62865" cy="63737"/>
                      <a:chOff x="14269085" y="269764"/>
                      <a:chExt cx="62865" cy="63737"/>
                    </a:xfrm>
                  </p:grpSpPr>
                  <p:sp>
                    <p:nvSpPr>
                      <p:cNvPr id="909" name="Freeform 970">
                        <a:extLst>
                          <a:ext uri="{FF2B5EF4-FFF2-40B4-BE49-F238E27FC236}">
                            <a16:creationId xmlns:a16="http://schemas.microsoft.com/office/drawing/2014/main" id="{D42CAF81-8F68-2F98-4F79-E790E44243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908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10" name="Freeform 971">
                        <a:extLst>
                          <a:ext uri="{FF2B5EF4-FFF2-40B4-BE49-F238E27FC236}">
                            <a16:creationId xmlns:a16="http://schemas.microsoft.com/office/drawing/2014/main" id="{0A13767A-4882-5B51-12ED-6E63612B0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051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1" name="Graphic 19">
                      <a:extLst>
                        <a:ext uri="{FF2B5EF4-FFF2-40B4-BE49-F238E27FC236}">
                          <a16:creationId xmlns:a16="http://schemas.microsoft.com/office/drawing/2014/main" id="{D65C1686-32D8-7F9F-4370-593A1A1B3A7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80515" y="269764"/>
                      <a:ext cx="62865" cy="63737"/>
                      <a:chOff x="14280515" y="269764"/>
                      <a:chExt cx="62865" cy="63737"/>
                    </a:xfrm>
                  </p:grpSpPr>
                  <p:sp>
                    <p:nvSpPr>
                      <p:cNvPr id="907" name="Freeform 973">
                        <a:extLst>
                          <a:ext uri="{FF2B5EF4-FFF2-40B4-BE49-F238E27FC236}">
                            <a16:creationId xmlns:a16="http://schemas.microsoft.com/office/drawing/2014/main" id="{120A5F7B-AFEC-18ED-83A6-0AD0B28899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051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8" name="Freeform 974">
                        <a:extLst>
                          <a:ext uri="{FF2B5EF4-FFF2-40B4-BE49-F238E27FC236}">
                            <a16:creationId xmlns:a16="http://schemas.microsoft.com/office/drawing/2014/main" id="{9DAEA4C4-66BE-C09F-B385-987AE78737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194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2" name="Graphic 19">
                      <a:extLst>
                        <a:ext uri="{FF2B5EF4-FFF2-40B4-BE49-F238E27FC236}">
                          <a16:creationId xmlns:a16="http://schemas.microsoft.com/office/drawing/2014/main" id="{94E8E7B8-CC91-D0FC-0B16-2AE5807426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84325" y="269764"/>
                      <a:ext cx="63817" cy="63737"/>
                      <a:chOff x="14284325" y="269764"/>
                      <a:chExt cx="63817" cy="63737"/>
                    </a:xfrm>
                  </p:grpSpPr>
                  <p:sp>
                    <p:nvSpPr>
                      <p:cNvPr id="905" name="Freeform 976">
                        <a:extLst>
                          <a:ext uri="{FF2B5EF4-FFF2-40B4-BE49-F238E27FC236}">
                            <a16:creationId xmlns:a16="http://schemas.microsoft.com/office/drawing/2014/main" id="{78CA6069-6C96-76AB-20AD-693A889927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84325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6" name="Freeform 977">
                        <a:extLst>
                          <a:ext uri="{FF2B5EF4-FFF2-40B4-BE49-F238E27FC236}">
                            <a16:creationId xmlns:a16="http://schemas.microsoft.com/office/drawing/2014/main" id="{B7CDBB66-1F45-2D89-6C8C-36EED5DED1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671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3" name="Graphic 19">
                      <a:extLst>
                        <a:ext uri="{FF2B5EF4-FFF2-40B4-BE49-F238E27FC236}">
                          <a16:creationId xmlns:a16="http://schemas.microsoft.com/office/drawing/2014/main" id="{B5D1073A-7F77-8566-9C38-1FEBC4F18A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90040" y="269764"/>
                      <a:ext cx="62865" cy="63737"/>
                      <a:chOff x="14290040" y="269764"/>
                      <a:chExt cx="62865" cy="63737"/>
                    </a:xfrm>
                  </p:grpSpPr>
                  <p:sp>
                    <p:nvSpPr>
                      <p:cNvPr id="903" name="Freeform 979">
                        <a:extLst>
                          <a:ext uri="{FF2B5EF4-FFF2-40B4-BE49-F238E27FC236}">
                            <a16:creationId xmlns:a16="http://schemas.microsoft.com/office/drawing/2014/main" id="{F57673A9-612D-7156-5DF2-A087B5E5E3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9004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4" name="Freeform 980">
                        <a:extLst>
                          <a:ext uri="{FF2B5EF4-FFF2-40B4-BE49-F238E27FC236}">
                            <a16:creationId xmlns:a16="http://schemas.microsoft.com/office/drawing/2014/main" id="{C3FE6BE4-30F2-5CC3-3676-361D4BC8B2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2147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4" name="Graphic 19">
                      <a:extLst>
                        <a:ext uri="{FF2B5EF4-FFF2-40B4-BE49-F238E27FC236}">
                          <a16:creationId xmlns:a16="http://schemas.microsoft.com/office/drawing/2014/main" id="{DC9DEFB8-BAA4-FE09-2C0F-D00EA83F9F8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01470" y="269764"/>
                      <a:ext cx="63817" cy="63737"/>
                      <a:chOff x="14301470" y="269764"/>
                      <a:chExt cx="63817" cy="63737"/>
                    </a:xfrm>
                  </p:grpSpPr>
                  <p:sp>
                    <p:nvSpPr>
                      <p:cNvPr id="901" name="Freeform 982">
                        <a:extLst>
                          <a:ext uri="{FF2B5EF4-FFF2-40B4-BE49-F238E27FC236}">
                            <a16:creationId xmlns:a16="http://schemas.microsoft.com/office/drawing/2014/main" id="{65A16CB5-FBDA-911B-1913-54E5733E7B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1470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2" name="Freeform 983">
                        <a:extLst>
                          <a:ext uri="{FF2B5EF4-FFF2-40B4-BE49-F238E27FC236}">
                            <a16:creationId xmlns:a16="http://schemas.microsoft.com/office/drawing/2014/main" id="{753A83CC-F69F-D8D7-1D7A-0EB05DCA00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385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5" name="Graphic 19">
                      <a:extLst>
                        <a:ext uri="{FF2B5EF4-FFF2-40B4-BE49-F238E27FC236}">
                          <a16:creationId xmlns:a16="http://schemas.microsoft.com/office/drawing/2014/main" id="{736508EA-1592-22EB-ED6F-3BE40C5553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06233" y="269764"/>
                      <a:ext cx="63817" cy="63737"/>
                      <a:chOff x="14306233" y="269764"/>
                      <a:chExt cx="63817" cy="63737"/>
                    </a:xfrm>
                  </p:grpSpPr>
                  <p:sp>
                    <p:nvSpPr>
                      <p:cNvPr id="899" name="Freeform 985">
                        <a:extLst>
                          <a:ext uri="{FF2B5EF4-FFF2-40B4-BE49-F238E27FC236}">
                            <a16:creationId xmlns:a16="http://schemas.microsoft.com/office/drawing/2014/main" id="{C173FC49-DC88-4E16-ADC8-ABEE215CDA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0623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900" name="Freeform 986">
                        <a:extLst>
                          <a:ext uri="{FF2B5EF4-FFF2-40B4-BE49-F238E27FC236}">
                            <a16:creationId xmlns:a16="http://schemas.microsoft.com/office/drawing/2014/main" id="{39FF554E-B595-B8C9-C268-6CA3DBF18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861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6" name="Graphic 19">
                      <a:extLst>
                        <a:ext uri="{FF2B5EF4-FFF2-40B4-BE49-F238E27FC236}">
                          <a16:creationId xmlns:a16="http://schemas.microsoft.com/office/drawing/2014/main" id="{AB7C9B25-3C5F-99A4-AA8E-B0BFA23539F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17663" y="269764"/>
                      <a:ext cx="63817" cy="63737"/>
                      <a:chOff x="14317663" y="269764"/>
                      <a:chExt cx="63817" cy="63737"/>
                    </a:xfrm>
                  </p:grpSpPr>
                  <p:sp>
                    <p:nvSpPr>
                      <p:cNvPr id="897" name="Freeform 988">
                        <a:extLst>
                          <a:ext uri="{FF2B5EF4-FFF2-40B4-BE49-F238E27FC236}">
                            <a16:creationId xmlns:a16="http://schemas.microsoft.com/office/drawing/2014/main" id="{626C0C4F-E135-D624-9091-F57AA6D44A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766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8" name="Freeform 989">
                        <a:extLst>
                          <a:ext uri="{FF2B5EF4-FFF2-40B4-BE49-F238E27FC236}">
                            <a16:creationId xmlns:a16="http://schemas.microsoft.com/office/drawing/2014/main" id="{3F80788C-DD04-D9BA-50A7-2312C315E4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004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7" name="Graphic 19">
                      <a:extLst>
                        <a:ext uri="{FF2B5EF4-FFF2-40B4-BE49-F238E27FC236}">
                          <a16:creationId xmlns:a16="http://schemas.microsoft.com/office/drawing/2014/main" id="{6C1EDAEF-E815-25C8-374E-88C1AB87E8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4808" y="269764"/>
                      <a:ext cx="63817" cy="63737"/>
                      <a:chOff x="14334808" y="269764"/>
                      <a:chExt cx="63817" cy="63737"/>
                    </a:xfrm>
                  </p:grpSpPr>
                  <p:sp>
                    <p:nvSpPr>
                      <p:cNvPr id="895" name="Freeform 991">
                        <a:extLst>
                          <a:ext uri="{FF2B5EF4-FFF2-40B4-BE49-F238E27FC236}">
                            <a16:creationId xmlns:a16="http://schemas.microsoft.com/office/drawing/2014/main" id="{5B0949C3-D64C-0A8B-8B92-17B78CA87A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4808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6" name="Freeform 992">
                        <a:extLst>
                          <a:ext uri="{FF2B5EF4-FFF2-40B4-BE49-F238E27FC236}">
                            <a16:creationId xmlns:a16="http://schemas.microsoft.com/office/drawing/2014/main" id="{D80FA81D-A575-78DF-E155-51FAC6AB1E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624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8" name="Graphic 19">
                      <a:extLst>
                        <a:ext uri="{FF2B5EF4-FFF2-40B4-BE49-F238E27FC236}">
                          <a16:creationId xmlns:a16="http://schemas.microsoft.com/office/drawing/2014/main" id="{E373D754-F954-7AA1-E7FF-60D20448BAD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40523" y="269764"/>
                      <a:ext cx="63817" cy="63737"/>
                      <a:chOff x="14340523" y="269764"/>
                      <a:chExt cx="63817" cy="63737"/>
                    </a:xfrm>
                  </p:grpSpPr>
                  <p:sp>
                    <p:nvSpPr>
                      <p:cNvPr id="893" name="Freeform 994">
                        <a:extLst>
                          <a:ext uri="{FF2B5EF4-FFF2-40B4-BE49-F238E27FC236}">
                            <a16:creationId xmlns:a16="http://schemas.microsoft.com/office/drawing/2014/main" id="{EEA701FF-542F-B919-EABA-F7B94D5C79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052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4" name="Freeform 995">
                        <a:extLst>
                          <a:ext uri="{FF2B5EF4-FFF2-40B4-BE49-F238E27FC236}">
                            <a16:creationId xmlns:a16="http://schemas.microsoft.com/office/drawing/2014/main" id="{49823BBA-C4A6-4AD6-E723-265439656C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7195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19" name="Graphic 19">
                      <a:extLst>
                        <a:ext uri="{FF2B5EF4-FFF2-40B4-BE49-F238E27FC236}">
                          <a16:creationId xmlns:a16="http://schemas.microsoft.com/office/drawing/2014/main" id="{B23992EB-48E6-702E-DA70-39F57E3F765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46238" y="269764"/>
                      <a:ext cx="62865" cy="63737"/>
                      <a:chOff x="14346238" y="269764"/>
                      <a:chExt cx="62865" cy="63737"/>
                    </a:xfrm>
                  </p:grpSpPr>
                  <p:sp>
                    <p:nvSpPr>
                      <p:cNvPr id="891" name="Freeform 997">
                        <a:extLst>
                          <a:ext uri="{FF2B5EF4-FFF2-40B4-BE49-F238E27FC236}">
                            <a16:creationId xmlns:a16="http://schemas.microsoft.com/office/drawing/2014/main" id="{E661E082-C0DD-ED6C-5C1F-DA2EC30C21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6238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2" name="Freeform 998">
                        <a:extLst>
                          <a:ext uri="{FF2B5EF4-FFF2-40B4-BE49-F238E27FC236}">
                            <a16:creationId xmlns:a16="http://schemas.microsoft.com/office/drawing/2014/main" id="{6B07F842-B1E0-4E36-4461-DB6FABC7729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7767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0" name="Graphic 19">
                      <a:extLst>
                        <a:ext uri="{FF2B5EF4-FFF2-40B4-BE49-F238E27FC236}">
                          <a16:creationId xmlns:a16="http://schemas.microsoft.com/office/drawing/2014/main" id="{A900DA84-BBE8-A1E3-B49F-8C882EC99DE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1953" y="269764"/>
                      <a:ext cx="62865" cy="63737"/>
                      <a:chOff x="14351953" y="269764"/>
                      <a:chExt cx="62865" cy="63737"/>
                    </a:xfrm>
                  </p:grpSpPr>
                  <p:sp>
                    <p:nvSpPr>
                      <p:cNvPr id="889" name="Freeform 1000">
                        <a:extLst>
                          <a:ext uri="{FF2B5EF4-FFF2-40B4-BE49-F238E27FC236}">
                            <a16:creationId xmlns:a16="http://schemas.microsoft.com/office/drawing/2014/main" id="{62774F62-FE17-A169-DD9E-131F545442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1953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90" name="Freeform 1001">
                        <a:extLst>
                          <a:ext uri="{FF2B5EF4-FFF2-40B4-BE49-F238E27FC236}">
                            <a16:creationId xmlns:a16="http://schemas.microsoft.com/office/drawing/2014/main" id="{1E14670B-37F8-A1A7-829B-D368548D5C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338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1" name="Graphic 19">
                      <a:extLst>
                        <a:ext uri="{FF2B5EF4-FFF2-40B4-BE49-F238E27FC236}">
                          <a16:creationId xmlns:a16="http://schemas.microsoft.com/office/drawing/2014/main" id="{3AEB7779-C241-A0F4-4F9A-BB6975CB8DE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7668" y="269764"/>
                      <a:ext cx="62864" cy="63737"/>
                      <a:chOff x="14357668" y="269764"/>
                      <a:chExt cx="62864" cy="63737"/>
                    </a:xfrm>
                  </p:grpSpPr>
                  <p:sp>
                    <p:nvSpPr>
                      <p:cNvPr id="887" name="Freeform 1003">
                        <a:extLst>
                          <a:ext uri="{FF2B5EF4-FFF2-40B4-BE49-F238E27FC236}">
                            <a16:creationId xmlns:a16="http://schemas.microsoft.com/office/drawing/2014/main" id="{47D3F772-0841-B4C5-2C4E-13C2B5DD32B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7668" y="3021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8" name="Freeform 1004">
                        <a:extLst>
                          <a:ext uri="{FF2B5EF4-FFF2-40B4-BE49-F238E27FC236}">
                            <a16:creationId xmlns:a16="http://schemas.microsoft.com/office/drawing/2014/main" id="{3A89BA8E-29E6-8F90-9F99-6BA30C4E35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9100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2" name="Graphic 19">
                      <a:extLst>
                        <a:ext uri="{FF2B5EF4-FFF2-40B4-BE49-F238E27FC236}">
                          <a16:creationId xmlns:a16="http://schemas.microsoft.com/office/drawing/2014/main" id="{60521A42-03DE-5148-6C8B-23EF8CE437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63383" y="269764"/>
                      <a:ext cx="62865" cy="63737"/>
                      <a:chOff x="14363383" y="269764"/>
                      <a:chExt cx="62865" cy="63737"/>
                    </a:xfrm>
                  </p:grpSpPr>
                  <p:sp>
                    <p:nvSpPr>
                      <p:cNvPr id="885" name="Freeform 1006">
                        <a:extLst>
                          <a:ext uri="{FF2B5EF4-FFF2-40B4-BE49-F238E27FC236}">
                            <a16:creationId xmlns:a16="http://schemas.microsoft.com/office/drawing/2014/main" id="{101CC6DE-D10D-B058-9B72-F0AA0134AD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3383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6" name="Freeform 1007">
                        <a:extLst>
                          <a:ext uri="{FF2B5EF4-FFF2-40B4-BE49-F238E27FC236}">
                            <a16:creationId xmlns:a16="http://schemas.microsoft.com/office/drawing/2014/main" id="{AE6563AA-EC27-77B7-A529-0A3249C042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481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3" name="Graphic 19">
                      <a:extLst>
                        <a:ext uri="{FF2B5EF4-FFF2-40B4-BE49-F238E27FC236}">
                          <a16:creationId xmlns:a16="http://schemas.microsoft.com/office/drawing/2014/main" id="{44F78C1F-2659-D4C6-4318-45925605666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90053" y="269764"/>
                      <a:ext cx="63817" cy="63737"/>
                      <a:chOff x="14390053" y="269764"/>
                      <a:chExt cx="63817" cy="63737"/>
                    </a:xfrm>
                  </p:grpSpPr>
                  <p:sp>
                    <p:nvSpPr>
                      <p:cNvPr id="883" name="Freeform 1009">
                        <a:extLst>
                          <a:ext uri="{FF2B5EF4-FFF2-40B4-BE49-F238E27FC236}">
                            <a16:creationId xmlns:a16="http://schemas.microsoft.com/office/drawing/2014/main" id="{61675FFB-9139-109D-C830-A0049EF7B1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0053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4" name="Freeform 1010">
                        <a:extLst>
                          <a:ext uri="{FF2B5EF4-FFF2-40B4-BE49-F238E27FC236}">
                            <a16:creationId xmlns:a16="http://schemas.microsoft.com/office/drawing/2014/main" id="{DCB368DD-21BB-D3BE-C913-1A2E12334B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2148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4" name="Graphic 19">
                      <a:extLst>
                        <a:ext uri="{FF2B5EF4-FFF2-40B4-BE49-F238E27FC236}">
                          <a16:creationId xmlns:a16="http://schemas.microsoft.com/office/drawing/2014/main" id="{57F52DC0-BFEC-AEDF-4DC0-67D3F908F4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94815" y="269764"/>
                      <a:ext cx="62865" cy="63737"/>
                      <a:chOff x="14394815" y="269764"/>
                      <a:chExt cx="62865" cy="63737"/>
                    </a:xfrm>
                  </p:grpSpPr>
                  <p:sp>
                    <p:nvSpPr>
                      <p:cNvPr id="881" name="Freeform 1012">
                        <a:extLst>
                          <a:ext uri="{FF2B5EF4-FFF2-40B4-BE49-F238E27FC236}">
                            <a16:creationId xmlns:a16="http://schemas.microsoft.com/office/drawing/2014/main" id="{19FFA2DB-4C9F-1561-C851-4CF11B439E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4815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2" name="Freeform 1013">
                        <a:extLst>
                          <a:ext uri="{FF2B5EF4-FFF2-40B4-BE49-F238E27FC236}">
                            <a16:creationId xmlns:a16="http://schemas.microsoft.com/office/drawing/2014/main" id="{49C9B699-64BA-A91B-63A0-9656D1DDC82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2624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5" name="Graphic 19">
                      <a:extLst>
                        <a:ext uri="{FF2B5EF4-FFF2-40B4-BE49-F238E27FC236}">
                          <a16:creationId xmlns:a16="http://schemas.microsoft.com/office/drawing/2014/main" id="{6538CE66-8A4E-26CE-E18A-2C5B695A37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50060" y="269764"/>
                      <a:ext cx="63817" cy="63737"/>
                      <a:chOff x="14450060" y="269764"/>
                      <a:chExt cx="63817" cy="63737"/>
                    </a:xfrm>
                  </p:grpSpPr>
                  <p:sp>
                    <p:nvSpPr>
                      <p:cNvPr id="879" name="Freeform 1015">
                        <a:extLst>
                          <a:ext uri="{FF2B5EF4-FFF2-40B4-BE49-F238E27FC236}">
                            <a16:creationId xmlns:a16="http://schemas.microsoft.com/office/drawing/2014/main" id="{C14FBCA0-C21B-F447-61F9-B0A1E6455A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50060" y="3021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80" name="Freeform 1016">
                        <a:extLst>
                          <a:ext uri="{FF2B5EF4-FFF2-40B4-BE49-F238E27FC236}">
                            <a16:creationId xmlns:a16="http://schemas.microsoft.com/office/drawing/2014/main" id="{29DA50DD-39A0-02CA-FDFE-39C8C6B492E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8149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6" name="Graphic 19">
                      <a:extLst>
                        <a:ext uri="{FF2B5EF4-FFF2-40B4-BE49-F238E27FC236}">
                          <a16:creationId xmlns:a16="http://schemas.microsoft.com/office/drawing/2014/main" id="{6D163B59-4C9E-9237-8A8D-BE80D1BC74A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67205" y="269764"/>
                      <a:ext cx="62864" cy="63737"/>
                      <a:chOff x="14467205" y="269764"/>
                      <a:chExt cx="62864" cy="63737"/>
                    </a:xfrm>
                  </p:grpSpPr>
                  <p:sp>
                    <p:nvSpPr>
                      <p:cNvPr id="877" name="Freeform 1018">
                        <a:extLst>
                          <a:ext uri="{FF2B5EF4-FFF2-40B4-BE49-F238E27FC236}">
                            <a16:creationId xmlns:a16="http://schemas.microsoft.com/office/drawing/2014/main" id="{C62CA1D7-6727-69CA-3A09-1C401FF88D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67205" y="3021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8" name="Freeform 1019">
                        <a:extLst>
                          <a:ext uri="{FF2B5EF4-FFF2-40B4-BE49-F238E27FC236}">
                            <a16:creationId xmlns:a16="http://schemas.microsoft.com/office/drawing/2014/main" id="{FB425426-27DB-C683-D635-861BD37CF3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98638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7" name="Graphic 19">
                      <a:extLst>
                        <a:ext uri="{FF2B5EF4-FFF2-40B4-BE49-F238E27FC236}">
                          <a16:creationId xmlns:a16="http://schemas.microsoft.com/office/drawing/2014/main" id="{71998941-12C1-6E1A-221C-D2E2C4DCB1C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72920" y="269764"/>
                      <a:ext cx="62865" cy="63737"/>
                      <a:chOff x="14472920" y="269764"/>
                      <a:chExt cx="62865" cy="63737"/>
                    </a:xfrm>
                  </p:grpSpPr>
                  <p:sp>
                    <p:nvSpPr>
                      <p:cNvPr id="875" name="Freeform 1021">
                        <a:extLst>
                          <a:ext uri="{FF2B5EF4-FFF2-40B4-BE49-F238E27FC236}">
                            <a16:creationId xmlns:a16="http://schemas.microsoft.com/office/drawing/2014/main" id="{2275F145-C722-6989-2818-8C44643144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72920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6" name="Freeform 1022">
                        <a:extLst>
                          <a:ext uri="{FF2B5EF4-FFF2-40B4-BE49-F238E27FC236}">
                            <a16:creationId xmlns:a16="http://schemas.microsoft.com/office/drawing/2014/main" id="{19BCF8A6-77E6-D007-8CCB-84009583B3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4353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8" name="Graphic 19">
                      <a:extLst>
                        <a:ext uri="{FF2B5EF4-FFF2-40B4-BE49-F238E27FC236}">
                          <a16:creationId xmlns:a16="http://schemas.microsoft.com/office/drawing/2014/main" id="{3E6F0B41-16D3-2C62-B7E4-E63299D99C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89113" y="269764"/>
                      <a:ext cx="62865" cy="63737"/>
                      <a:chOff x="14489113" y="269764"/>
                      <a:chExt cx="62865" cy="63737"/>
                    </a:xfrm>
                  </p:grpSpPr>
                  <p:sp>
                    <p:nvSpPr>
                      <p:cNvPr id="873" name="Freeform 1024">
                        <a:extLst>
                          <a:ext uri="{FF2B5EF4-FFF2-40B4-BE49-F238E27FC236}">
                            <a16:creationId xmlns:a16="http://schemas.microsoft.com/office/drawing/2014/main" id="{99737A00-37BA-5558-551B-332D44D5EB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89113" y="3021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4" name="Freeform 1025">
                        <a:extLst>
                          <a:ext uri="{FF2B5EF4-FFF2-40B4-BE49-F238E27FC236}">
                            <a16:creationId xmlns:a16="http://schemas.microsoft.com/office/drawing/2014/main" id="{22AAD20A-C2CA-6C0F-F73B-81D168611F6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20545" y="26976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29" name="Graphic 19">
                      <a:extLst>
                        <a:ext uri="{FF2B5EF4-FFF2-40B4-BE49-F238E27FC236}">
                          <a16:creationId xmlns:a16="http://schemas.microsoft.com/office/drawing/2014/main" id="{ED90CC72-6638-2A02-A586-06326AF92A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89125" y="306865"/>
                      <a:ext cx="62865" cy="62786"/>
                      <a:chOff x="14589125" y="306865"/>
                      <a:chExt cx="62865" cy="62786"/>
                    </a:xfrm>
                  </p:grpSpPr>
                  <p:sp>
                    <p:nvSpPr>
                      <p:cNvPr id="871" name="Freeform 1027">
                        <a:extLst>
                          <a:ext uri="{FF2B5EF4-FFF2-40B4-BE49-F238E27FC236}">
                            <a16:creationId xmlns:a16="http://schemas.microsoft.com/office/drawing/2014/main" id="{3102CB08-4D39-2991-5F52-FC57CE98FAB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9125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2" name="Freeform 1028">
                        <a:extLst>
                          <a:ext uri="{FF2B5EF4-FFF2-40B4-BE49-F238E27FC236}">
                            <a16:creationId xmlns:a16="http://schemas.microsoft.com/office/drawing/2014/main" id="{E75100EF-0E2B-5E4E-0E77-70F9EC5EAE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0558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0" name="Graphic 19">
                      <a:extLst>
                        <a:ext uri="{FF2B5EF4-FFF2-40B4-BE49-F238E27FC236}">
                          <a16:creationId xmlns:a16="http://schemas.microsoft.com/office/drawing/2014/main" id="{856ED807-6CEB-D1E5-17B3-9B2DCFD086D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93888" y="306865"/>
                      <a:ext cx="62865" cy="62786"/>
                      <a:chOff x="14593888" y="306865"/>
                      <a:chExt cx="62865" cy="62786"/>
                    </a:xfrm>
                  </p:grpSpPr>
                  <p:sp>
                    <p:nvSpPr>
                      <p:cNvPr id="869" name="Freeform 1030">
                        <a:extLst>
                          <a:ext uri="{FF2B5EF4-FFF2-40B4-BE49-F238E27FC236}">
                            <a16:creationId xmlns:a16="http://schemas.microsoft.com/office/drawing/2014/main" id="{B5BE86A3-BE32-DFF8-F3BE-2DAF3FC8E8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3888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70" name="Freeform 1031">
                        <a:extLst>
                          <a:ext uri="{FF2B5EF4-FFF2-40B4-BE49-F238E27FC236}">
                            <a16:creationId xmlns:a16="http://schemas.microsoft.com/office/drawing/2014/main" id="{4F3969F9-A518-CE74-BFF1-66903ECB8DD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532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1" name="Graphic 19">
                      <a:extLst>
                        <a:ext uri="{FF2B5EF4-FFF2-40B4-BE49-F238E27FC236}">
                          <a16:creationId xmlns:a16="http://schemas.microsoft.com/office/drawing/2014/main" id="{14DEC6C6-C824-5389-29EA-34A86F13CD5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98650" y="306865"/>
                      <a:ext cx="63817" cy="62786"/>
                      <a:chOff x="14598650" y="306865"/>
                      <a:chExt cx="63817" cy="62786"/>
                    </a:xfrm>
                  </p:grpSpPr>
                  <p:sp>
                    <p:nvSpPr>
                      <p:cNvPr id="867" name="Freeform 1033">
                        <a:extLst>
                          <a:ext uri="{FF2B5EF4-FFF2-40B4-BE49-F238E27FC236}">
                            <a16:creationId xmlns:a16="http://schemas.microsoft.com/office/drawing/2014/main" id="{EE0D6C92-661B-B65A-859F-7F907977DB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8650" y="33825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8" name="Freeform 1034">
                        <a:extLst>
                          <a:ext uri="{FF2B5EF4-FFF2-40B4-BE49-F238E27FC236}">
                            <a16:creationId xmlns:a16="http://schemas.microsoft.com/office/drawing/2014/main" id="{B860E416-6394-913D-3402-383F8750F1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30083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2" name="Graphic 19">
                      <a:extLst>
                        <a:ext uri="{FF2B5EF4-FFF2-40B4-BE49-F238E27FC236}">
                          <a16:creationId xmlns:a16="http://schemas.microsoft.com/office/drawing/2014/main" id="{CDDA79B9-3EB9-76CA-DD9B-64DD35A9B7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15795" y="306865"/>
                      <a:ext cx="63817" cy="62786"/>
                      <a:chOff x="14615795" y="306865"/>
                      <a:chExt cx="63817" cy="62786"/>
                    </a:xfrm>
                  </p:grpSpPr>
                  <p:sp>
                    <p:nvSpPr>
                      <p:cNvPr id="865" name="Freeform 1036">
                        <a:extLst>
                          <a:ext uri="{FF2B5EF4-FFF2-40B4-BE49-F238E27FC236}">
                            <a16:creationId xmlns:a16="http://schemas.microsoft.com/office/drawing/2014/main" id="{3C24E435-6635-403D-61C2-A8B8DD62DE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15795" y="33825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6" name="Freeform 1037">
                        <a:extLst>
                          <a:ext uri="{FF2B5EF4-FFF2-40B4-BE49-F238E27FC236}">
                            <a16:creationId xmlns:a16="http://schemas.microsoft.com/office/drawing/2014/main" id="{C4F71207-FB05-515A-3011-F73633AD2F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7228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3" name="Graphic 19">
                      <a:extLst>
                        <a:ext uri="{FF2B5EF4-FFF2-40B4-BE49-F238E27FC236}">
                          <a16:creationId xmlns:a16="http://schemas.microsoft.com/office/drawing/2014/main" id="{0CCC7751-B27A-3C96-237B-0F235B78E1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21510" y="306865"/>
                      <a:ext cx="63817" cy="62786"/>
                      <a:chOff x="14621510" y="306865"/>
                      <a:chExt cx="63817" cy="62786"/>
                    </a:xfrm>
                  </p:grpSpPr>
                  <p:sp>
                    <p:nvSpPr>
                      <p:cNvPr id="863" name="Freeform 1039">
                        <a:extLst>
                          <a:ext uri="{FF2B5EF4-FFF2-40B4-BE49-F238E27FC236}">
                            <a16:creationId xmlns:a16="http://schemas.microsoft.com/office/drawing/2014/main" id="{7BB0AA90-360F-466E-D24A-FCCFDE7BD5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1510" y="33825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4" name="Freeform 1040">
                        <a:extLst>
                          <a:ext uri="{FF2B5EF4-FFF2-40B4-BE49-F238E27FC236}">
                            <a16:creationId xmlns:a16="http://schemas.microsoft.com/office/drawing/2014/main" id="{5BA6873C-9C96-DF84-979D-D47C7374DB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3895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4" name="Graphic 19">
                      <a:extLst>
                        <a:ext uri="{FF2B5EF4-FFF2-40B4-BE49-F238E27FC236}">
                          <a16:creationId xmlns:a16="http://schemas.microsoft.com/office/drawing/2014/main" id="{49B5B694-4D13-8D32-DE11-81904DAECC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31988" y="306865"/>
                      <a:ext cx="62865" cy="62786"/>
                      <a:chOff x="14631988" y="306865"/>
                      <a:chExt cx="62865" cy="62786"/>
                    </a:xfrm>
                  </p:grpSpPr>
                  <p:sp>
                    <p:nvSpPr>
                      <p:cNvPr id="861" name="Freeform 1042">
                        <a:extLst>
                          <a:ext uri="{FF2B5EF4-FFF2-40B4-BE49-F238E27FC236}">
                            <a16:creationId xmlns:a16="http://schemas.microsoft.com/office/drawing/2014/main" id="{B69BE121-CAC0-B333-51C9-88D0636981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31988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2" name="Freeform 1043">
                        <a:extLst>
                          <a:ext uri="{FF2B5EF4-FFF2-40B4-BE49-F238E27FC236}">
                            <a16:creationId xmlns:a16="http://schemas.microsoft.com/office/drawing/2014/main" id="{528E36DE-1E1F-72CA-8F4B-3EAD2D5CAC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63420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5" name="Graphic 19">
                      <a:extLst>
                        <a:ext uri="{FF2B5EF4-FFF2-40B4-BE49-F238E27FC236}">
                          <a16:creationId xmlns:a16="http://schemas.microsoft.com/office/drawing/2014/main" id="{57A5A433-8868-B7A5-39B5-2C82287C9C8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82470" y="306865"/>
                      <a:ext cx="62865" cy="62786"/>
                      <a:chOff x="14682470" y="306865"/>
                      <a:chExt cx="62865" cy="62786"/>
                    </a:xfrm>
                  </p:grpSpPr>
                  <p:sp>
                    <p:nvSpPr>
                      <p:cNvPr id="859" name="Freeform 1045">
                        <a:extLst>
                          <a:ext uri="{FF2B5EF4-FFF2-40B4-BE49-F238E27FC236}">
                            <a16:creationId xmlns:a16="http://schemas.microsoft.com/office/drawing/2014/main" id="{6C6FC726-F2C6-390A-1DF3-E5A06F9579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82470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60" name="Freeform 1046">
                        <a:extLst>
                          <a:ext uri="{FF2B5EF4-FFF2-40B4-BE49-F238E27FC236}">
                            <a16:creationId xmlns:a16="http://schemas.microsoft.com/office/drawing/2014/main" id="{FB3D764E-662E-84CB-9E9C-00C6E58835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3903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6" name="Graphic 19">
                      <a:extLst>
                        <a:ext uri="{FF2B5EF4-FFF2-40B4-BE49-F238E27FC236}">
                          <a16:creationId xmlns:a16="http://schemas.microsoft.com/office/drawing/2014/main" id="{DB7795E9-6F32-A444-8F18-612B12DC9DE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87233" y="306865"/>
                      <a:ext cx="62865" cy="62786"/>
                      <a:chOff x="14687233" y="306865"/>
                      <a:chExt cx="62865" cy="62786"/>
                    </a:xfrm>
                  </p:grpSpPr>
                  <p:sp>
                    <p:nvSpPr>
                      <p:cNvPr id="857" name="Freeform 1048">
                        <a:extLst>
                          <a:ext uri="{FF2B5EF4-FFF2-40B4-BE49-F238E27FC236}">
                            <a16:creationId xmlns:a16="http://schemas.microsoft.com/office/drawing/2014/main" id="{AE372C32-5884-F2BF-FACB-AF2AD1A585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87233" y="33825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8" name="Freeform 1049">
                        <a:extLst>
                          <a:ext uri="{FF2B5EF4-FFF2-40B4-BE49-F238E27FC236}">
                            <a16:creationId xmlns:a16="http://schemas.microsoft.com/office/drawing/2014/main" id="{661B9399-1415-6E0A-EFFA-6E0047B303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18665" y="30686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7" name="Graphic 19">
                      <a:extLst>
                        <a:ext uri="{FF2B5EF4-FFF2-40B4-BE49-F238E27FC236}">
                          <a16:creationId xmlns:a16="http://schemas.microsoft.com/office/drawing/2014/main" id="{20EB323C-8608-79F2-16F0-7983C09B580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94865" y="343967"/>
                      <a:ext cx="63817" cy="63737"/>
                      <a:chOff x="14794865" y="343967"/>
                      <a:chExt cx="63817" cy="63737"/>
                    </a:xfrm>
                  </p:grpSpPr>
                  <p:sp>
                    <p:nvSpPr>
                      <p:cNvPr id="855" name="Freeform 1051">
                        <a:extLst>
                          <a:ext uri="{FF2B5EF4-FFF2-40B4-BE49-F238E27FC236}">
                            <a16:creationId xmlns:a16="http://schemas.microsoft.com/office/drawing/2014/main" id="{E213D39F-78C2-B35B-2712-68749913C4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94865" y="37536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6" name="Freeform 1052">
                        <a:extLst>
                          <a:ext uri="{FF2B5EF4-FFF2-40B4-BE49-F238E27FC236}">
                            <a16:creationId xmlns:a16="http://schemas.microsoft.com/office/drawing/2014/main" id="{CD836F57-25F4-C55C-17EC-9C49003E55C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27250" y="34396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8" name="Graphic 19">
                      <a:extLst>
                        <a:ext uri="{FF2B5EF4-FFF2-40B4-BE49-F238E27FC236}">
                          <a16:creationId xmlns:a16="http://schemas.microsoft.com/office/drawing/2014/main" id="{BEE1E4B2-5D2B-13E5-F32E-806CB34E0F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00580" y="343967"/>
                      <a:ext cx="62864" cy="63737"/>
                      <a:chOff x="14800580" y="343967"/>
                      <a:chExt cx="62864" cy="63737"/>
                    </a:xfrm>
                  </p:grpSpPr>
                  <p:sp>
                    <p:nvSpPr>
                      <p:cNvPr id="853" name="Freeform 1054">
                        <a:extLst>
                          <a:ext uri="{FF2B5EF4-FFF2-40B4-BE49-F238E27FC236}">
                            <a16:creationId xmlns:a16="http://schemas.microsoft.com/office/drawing/2014/main" id="{4D1E15E2-EB1A-3375-E8DF-6960C8F47A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00580" y="37536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4" name="Freeform 1055">
                        <a:extLst>
                          <a:ext uri="{FF2B5EF4-FFF2-40B4-BE49-F238E27FC236}">
                            <a16:creationId xmlns:a16="http://schemas.microsoft.com/office/drawing/2014/main" id="{37F7AB72-4747-C108-CFEF-423F58E5DF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32013" y="34396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39" name="Graphic 19">
                      <a:extLst>
                        <a:ext uri="{FF2B5EF4-FFF2-40B4-BE49-F238E27FC236}">
                          <a16:creationId xmlns:a16="http://schemas.microsoft.com/office/drawing/2014/main" id="{6F68B2E3-1E2E-EA42-DA55-33B3A20905D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05343" y="343967"/>
                      <a:ext cx="62864" cy="63737"/>
                      <a:chOff x="14805343" y="343967"/>
                      <a:chExt cx="62864" cy="63737"/>
                    </a:xfrm>
                  </p:grpSpPr>
                  <p:sp>
                    <p:nvSpPr>
                      <p:cNvPr id="851" name="Freeform 1057">
                        <a:extLst>
                          <a:ext uri="{FF2B5EF4-FFF2-40B4-BE49-F238E27FC236}">
                            <a16:creationId xmlns:a16="http://schemas.microsoft.com/office/drawing/2014/main" id="{0C161DDA-F0BC-3846-F8E1-4DD3E8514D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05343" y="37536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2" name="Freeform 1058">
                        <a:extLst>
                          <a:ext uri="{FF2B5EF4-FFF2-40B4-BE49-F238E27FC236}">
                            <a16:creationId xmlns:a16="http://schemas.microsoft.com/office/drawing/2014/main" id="{EEF29D36-1316-8663-6945-2DF341A186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36775" y="34396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0" name="Graphic 19">
                      <a:extLst>
                        <a:ext uri="{FF2B5EF4-FFF2-40B4-BE49-F238E27FC236}">
                          <a16:creationId xmlns:a16="http://schemas.microsoft.com/office/drawing/2014/main" id="{EEF6BF63-9DE4-6EAF-1F7F-D3936794DC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4868" y="391532"/>
                      <a:ext cx="63817" cy="62786"/>
                      <a:chOff x="14814868" y="391532"/>
                      <a:chExt cx="63817" cy="62786"/>
                    </a:xfrm>
                  </p:grpSpPr>
                  <p:sp>
                    <p:nvSpPr>
                      <p:cNvPr id="849" name="Freeform 1060">
                        <a:extLst>
                          <a:ext uri="{FF2B5EF4-FFF2-40B4-BE49-F238E27FC236}">
                            <a16:creationId xmlns:a16="http://schemas.microsoft.com/office/drawing/2014/main" id="{BC9E26B6-A962-892A-F73D-190689DA9A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4868" y="42292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50" name="Freeform 1061">
                        <a:extLst>
                          <a:ext uri="{FF2B5EF4-FFF2-40B4-BE49-F238E27FC236}">
                            <a16:creationId xmlns:a16="http://schemas.microsoft.com/office/drawing/2014/main" id="{0398BC67-777F-14B8-7372-36BB62BB54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6300" y="3915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1" name="Graphic 19">
                      <a:extLst>
                        <a:ext uri="{FF2B5EF4-FFF2-40B4-BE49-F238E27FC236}">
                          <a16:creationId xmlns:a16="http://schemas.microsoft.com/office/drawing/2014/main" id="{49AEC971-2875-C435-8AE7-23DF561418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19630" y="391532"/>
                      <a:ext cx="63817" cy="62786"/>
                      <a:chOff x="14819630" y="391532"/>
                      <a:chExt cx="63817" cy="62786"/>
                    </a:xfrm>
                  </p:grpSpPr>
                  <p:sp>
                    <p:nvSpPr>
                      <p:cNvPr id="847" name="Freeform 1063">
                        <a:extLst>
                          <a:ext uri="{FF2B5EF4-FFF2-40B4-BE49-F238E27FC236}">
                            <a16:creationId xmlns:a16="http://schemas.microsoft.com/office/drawing/2014/main" id="{29DB33E6-A83B-7A86-4000-83202936FDD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19630" y="42292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8" name="Freeform 1064">
                        <a:extLst>
                          <a:ext uri="{FF2B5EF4-FFF2-40B4-BE49-F238E27FC236}">
                            <a16:creationId xmlns:a16="http://schemas.microsoft.com/office/drawing/2014/main" id="{1D181C10-FF62-CD8C-39AA-49A5E1A05E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52015" y="3915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2" name="Graphic 19">
                      <a:extLst>
                        <a:ext uri="{FF2B5EF4-FFF2-40B4-BE49-F238E27FC236}">
                          <a16:creationId xmlns:a16="http://schemas.microsoft.com/office/drawing/2014/main" id="{8ADC1397-2C7B-40DF-3305-C5057F4C672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31060" y="391532"/>
                      <a:ext cx="62865" cy="62786"/>
                      <a:chOff x="14831060" y="391532"/>
                      <a:chExt cx="62865" cy="62786"/>
                    </a:xfrm>
                  </p:grpSpPr>
                  <p:sp>
                    <p:nvSpPr>
                      <p:cNvPr id="845" name="Freeform 1066">
                        <a:extLst>
                          <a:ext uri="{FF2B5EF4-FFF2-40B4-BE49-F238E27FC236}">
                            <a16:creationId xmlns:a16="http://schemas.microsoft.com/office/drawing/2014/main" id="{A6EE1CCC-2E09-6180-0E71-DE093AEFA3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31060" y="42292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6" name="Freeform 1067">
                        <a:extLst>
                          <a:ext uri="{FF2B5EF4-FFF2-40B4-BE49-F238E27FC236}">
                            <a16:creationId xmlns:a16="http://schemas.microsoft.com/office/drawing/2014/main" id="{2DF1C47E-8070-E501-E1B5-16E65C1017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2493" y="39153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3" name="Graphic 19">
                      <a:extLst>
                        <a:ext uri="{FF2B5EF4-FFF2-40B4-BE49-F238E27FC236}">
                          <a16:creationId xmlns:a16="http://schemas.microsoft.com/office/drawing/2014/main" id="{71BCA6E2-FCFE-2C96-6682-D18ACF1E828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43443" y="443854"/>
                      <a:ext cx="62864" cy="63737"/>
                      <a:chOff x="14843443" y="443854"/>
                      <a:chExt cx="62864" cy="63737"/>
                    </a:xfrm>
                  </p:grpSpPr>
                  <p:sp>
                    <p:nvSpPr>
                      <p:cNvPr id="843" name="Freeform 1069">
                        <a:extLst>
                          <a:ext uri="{FF2B5EF4-FFF2-40B4-BE49-F238E27FC236}">
                            <a16:creationId xmlns:a16="http://schemas.microsoft.com/office/drawing/2014/main" id="{21B425F9-C030-ABE5-1F10-5E95EF2175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3443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4" name="Freeform 1070">
                        <a:extLst>
                          <a:ext uri="{FF2B5EF4-FFF2-40B4-BE49-F238E27FC236}">
                            <a16:creationId xmlns:a16="http://schemas.microsoft.com/office/drawing/2014/main" id="{EB417914-755E-7A04-81F1-B4ADFAB0308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487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4" name="Graphic 19">
                      <a:extLst>
                        <a:ext uri="{FF2B5EF4-FFF2-40B4-BE49-F238E27FC236}">
                          <a16:creationId xmlns:a16="http://schemas.microsoft.com/office/drawing/2014/main" id="{66296C6A-E5BE-4C81-6E86-437D3A77B7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47253" y="443854"/>
                      <a:ext cx="62865" cy="63737"/>
                      <a:chOff x="14847253" y="443854"/>
                      <a:chExt cx="62865" cy="63737"/>
                    </a:xfrm>
                  </p:grpSpPr>
                  <p:sp>
                    <p:nvSpPr>
                      <p:cNvPr id="841" name="Freeform 1072">
                        <a:extLst>
                          <a:ext uri="{FF2B5EF4-FFF2-40B4-BE49-F238E27FC236}">
                            <a16:creationId xmlns:a16="http://schemas.microsoft.com/office/drawing/2014/main" id="{B208B6D7-D687-E8AD-4D5C-DBE2364DDC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4725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2" name="Freeform 1073">
                        <a:extLst>
                          <a:ext uri="{FF2B5EF4-FFF2-40B4-BE49-F238E27FC236}">
                            <a16:creationId xmlns:a16="http://schemas.microsoft.com/office/drawing/2014/main" id="{FE37FEC9-D75A-65FE-456C-3E5B0CE372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868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5" name="Graphic 19">
                      <a:extLst>
                        <a:ext uri="{FF2B5EF4-FFF2-40B4-BE49-F238E27FC236}">
                          <a16:creationId xmlns:a16="http://schemas.microsoft.com/office/drawing/2014/main" id="{F6B37CF9-F317-3C6F-4027-E8A460519E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57730" y="443854"/>
                      <a:ext cx="63817" cy="63737"/>
                      <a:chOff x="14857730" y="443854"/>
                      <a:chExt cx="63817" cy="63737"/>
                    </a:xfrm>
                  </p:grpSpPr>
                  <p:sp>
                    <p:nvSpPr>
                      <p:cNvPr id="839" name="Freeform 1075">
                        <a:extLst>
                          <a:ext uri="{FF2B5EF4-FFF2-40B4-BE49-F238E27FC236}">
                            <a16:creationId xmlns:a16="http://schemas.microsoft.com/office/drawing/2014/main" id="{9D48105B-50DC-B38D-2CBD-6EBAE5972D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5773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40" name="Freeform 1076">
                        <a:extLst>
                          <a:ext uri="{FF2B5EF4-FFF2-40B4-BE49-F238E27FC236}">
                            <a16:creationId xmlns:a16="http://schemas.microsoft.com/office/drawing/2014/main" id="{F0DABDC1-42F0-4A65-E82C-F1F8C56827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8916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6" name="Graphic 19">
                      <a:extLst>
                        <a:ext uri="{FF2B5EF4-FFF2-40B4-BE49-F238E27FC236}">
                          <a16:creationId xmlns:a16="http://schemas.microsoft.com/office/drawing/2014/main" id="{D847545A-0437-BD30-6ED9-7CDCAECA17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69160" y="443854"/>
                      <a:ext cx="63817" cy="63737"/>
                      <a:chOff x="14869160" y="443854"/>
                      <a:chExt cx="63817" cy="63737"/>
                    </a:xfrm>
                  </p:grpSpPr>
                  <p:sp>
                    <p:nvSpPr>
                      <p:cNvPr id="837" name="Freeform 1078">
                        <a:extLst>
                          <a:ext uri="{FF2B5EF4-FFF2-40B4-BE49-F238E27FC236}">
                            <a16:creationId xmlns:a16="http://schemas.microsoft.com/office/drawing/2014/main" id="{51ACA8CE-CF4F-BEDF-A40D-DFF9A09567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6916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8" name="Freeform 1079">
                        <a:extLst>
                          <a:ext uri="{FF2B5EF4-FFF2-40B4-BE49-F238E27FC236}">
                            <a16:creationId xmlns:a16="http://schemas.microsoft.com/office/drawing/2014/main" id="{45AA6881-0C0C-F117-3910-E16A70E04D7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154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7" name="Graphic 19">
                      <a:extLst>
                        <a:ext uri="{FF2B5EF4-FFF2-40B4-BE49-F238E27FC236}">
                          <a16:creationId xmlns:a16="http://schemas.microsoft.com/office/drawing/2014/main" id="{B7B2BDFE-3225-FAE6-D37E-DB5D3EC320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73923" y="443854"/>
                      <a:ext cx="62865" cy="63737"/>
                      <a:chOff x="14873923" y="443854"/>
                      <a:chExt cx="62865" cy="63737"/>
                    </a:xfrm>
                  </p:grpSpPr>
                  <p:sp>
                    <p:nvSpPr>
                      <p:cNvPr id="835" name="Freeform 1081">
                        <a:extLst>
                          <a:ext uri="{FF2B5EF4-FFF2-40B4-BE49-F238E27FC236}">
                            <a16:creationId xmlns:a16="http://schemas.microsoft.com/office/drawing/2014/main" id="{890D8D4C-9FF0-3329-8EDE-33B074BBDF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392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6" name="Freeform 1082">
                        <a:extLst>
                          <a:ext uri="{FF2B5EF4-FFF2-40B4-BE49-F238E27FC236}">
                            <a16:creationId xmlns:a16="http://schemas.microsoft.com/office/drawing/2014/main" id="{C7B12DAB-B39F-F1C6-422F-1840814B87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535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8" name="Graphic 19">
                      <a:extLst>
                        <a:ext uri="{FF2B5EF4-FFF2-40B4-BE49-F238E27FC236}">
                          <a16:creationId xmlns:a16="http://schemas.microsoft.com/office/drawing/2014/main" id="{E27D0270-9B3F-24B7-C521-42791B6A8DC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78685" y="443854"/>
                      <a:ext cx="62865" cy="63737"/>
                      <a:chOff x="14878685" y="443854"/>
                      <a:chExt cx="62865" cy="63737"/>
                    </a:xfrm>
                  </p:grpSpPr>
                  <p:sp>
                    <p:nvSpPr>
                      <p:cNvPr id="833" name="Freeform 1084">
                        <a:extLst>
                          <a:ext uri="{FF2B5EF4-FFF2-40B4-BE49-F238E27FC236}">
                            <a16:creationId xmlns:a16="http://schemas.microsoft.com/office/drawing/2014/main" id="{CF6935F9-607A-3E90-DA23-E1BDED2063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7868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4" name="Freeform 1085">
                        <a:extLst>
                          <a:ext uri="{FF2B5EF4-FFF2-40B4-BE49-F238E27FC236}">
                            <a16:creationId xmlns:a16="http://schemas.microsoft.com/office/drawing/2014/main" id="{752DC4B3-8D61-A21D-4918-7865CA01AA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011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49" name="Graphic 19">
                      <a:extLst>
                        <a:ext uri="{FF2B5EF4-FFF2-40B4-BE49-F238E27FC236}">
                          <a16:creationId xmlns:a16="http://schemas.microsoft.com/office/drawing/2014/main" id="{E939062D-66B0-8C19-0C8C-5B499D2596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882495" y="443854"/>
                      <a:ext cx="63817" cy="63737"/>
                      <a:chOff x="14882495" y="443854"/>
                      <a:chExt cx="63817" cy="63737"/>
                    </a:xfrm>
                  </p:grpSpPr>
                  <p:sp>
                    <p:nvSpPr>
                      <p:cNvPr id="831" name="Freeform 1087">
                        <a:extLst>
                          <a:ext uri="{FF2B5EF4-FFF2-40B4-BE49-F238E27FC236}">
                            <a16:creationId xmlns:a16="http://schemas.microsoft.com/office/drawing/2014/main" id="{67438567-6C8A-8400-50FC-F76410382A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882495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2" name="Freeform 1088">
                        <a:extLst>
                          <a:ext uri="{FF2B5EF4-FFF2-40B4-BE49-F238E27FC236}">
                            <a16:creationId xmlns:a16="http://schemas.microsoft.com/office/drawing/2014/main" id="{B5D4EF18-FDA0-39DD-9442-467A422E40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488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0" name="Graphic 19">
                      <a:extLst>
                        <a:ext uri="{FF2B5EF4-FFF2-40B4-BE49-F238E27FC236}">
                          <a16:creationId xmlns:a16="http://schemas.microsoft.com/office/drawing/2014/main" id="{E23AB076-FDD2-06E4-0A74-BE334751530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09165" y="443854"/>
                      <a:ext cx="62865" cy="63737"/>
                      <a:chOff x="14909165" y="443854"/>
                      <a:chExt cx="62865" cy="63737"/>
                    </a:xfrm>
                  </p:grpSpPr>
                  <p:sp>
                    <p:nvSpPr>
                      <p:cNvPr id="829" name="Freeform 1090">
                        <a:extLst>
                          <a:ext uri="{FF2B5EF4-FFF2-40B4-BE49-F238E27FC236}">
                            <a16:creationId xmlns:a16="http://schemas.microsoft.com/office/drawing/2014/main" id="{0EBB2871-9EEE-1BAC-4E6D-B971179A6B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0916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30" name="Freeform 1091">
                        <a:extLst>
                          <a:ext uri="{FF2B5EF4-FFF2-40B4-BE49-F238E27FC236}">
                            <a16:creationId xmlns:a16="http://schemas.microsoft.com/office/drawing/2014/main" id="{7F2579E4-CA69-E370-1EAF-594C068D16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4059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1" name="Graphic 19">
                      <a:extLst>
                        <a:ext uri="{FF2B5EF4-FFF2-40B4-BE49-F238E27FC236}">
                          <a16:creationId xmlns:a16="http://schemas.microsoft.com/office/drawing/2014/main" id="{A5DF0B65-63E9-8F40-A234-A9DBBC39D2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13928" y="443854"/>
                      <a:ext cx="62865" cy="63737"/>
                      <a:chOff x="14913928" y="443854"/>
                      <a:chExt cx="62865" cy="63737"/>
                    </a:xfrm>
                  </p:grpSpPr>
                  <p:sp>
                    <p:nvSpPr>
                      <p:cNvPr id="827" name="Freeform 1093">
                        <a:extLst>
                          <a:ext uri="{FF2B5EF4-FFF2-40B4-BE49-F238E27FC236}">
                            <a16:creationId xmlns:a16="http://schemas.microsoft.com/office/drawing/2014/main" id="{6B3CFE9D-02E7-BB34-EE0A-A8DB30F03E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1392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8" name="Freeform 1094">
                        <a:extLst>
                          <a:ext uri="{FF2B5EF4-FFF2-40B4-BE49-F238E27FC236}">
                            <a16:creationId xmlns:a16="http://schemas.microsoft.com/office/drawing/2014/main" id="{3606860B-CDCA-6A93-5FCF-BD77D4D535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4536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2" name="Graphic 19">
                      <a:extLst>
                        <a:ext uri="{FF2B5EF4-FFF2-40B4-BE49-F238E27FC236}">
                          <a16:creationId xmlns:a16="http://schemas.microsoft.com/office/drawing/2014/main" id="{E9754A0C-5AFF-3516-1845-CB9E421AB3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0120" y="443854"/>
                      <a:ext cx="62865" cy="63737"/>
                      <a:chOff x="14930120" y="443854"/>
                      <a:chExt cx="62865" cy="63737"/>
                    </a:xfrm>
                  </p:grpSpPr>
                  <p:sp>
                    <p:nvSpPr>
                      <p:cNvPr id="825" name="Freeform 1096">
                        <a:extLst>
                          <a:ext uri="{FF2B5EF4-FFF2-40B4-BE49-F238E27FC236}">
                            <a16:creationId xmlns:a16="http://schemas.microsoft.com/office/drawing/2014/main" id="{7CFAEEBF-75BB-00DA-81FF-DE56E4ADE9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0120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6" name="Freeform 1097">
                        <a:extLst>
                          <a:ext uri="{FF2B5EF4-FFF2-40B4-BE49-F238E27FC236}">
                            <a16:creationId xmlns:a16="http://schemas.microsoft.com/office/drawing/2014/main" id="{1501E5FB-B023-CA4C-69F3-E46C493E9F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155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3" name="Graphic 19">
                      <a:extLst>
                        <a:ext uri="{FF2B5EF4-FFF2-40B4-BE49-F238E27FC236}">
                          <a16:creationId xmlns:a16="http://schemas.microsoft.com/office/drawing/2014/main" id="{55CF20B0-4F8A-8B75-B72D-CF916D9FE0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37740" y="443854"/>
                      <a:ext cx="63817" cy="63737"/>
                      <a:chOff x="14937740" y="443854"/>
                      <a:chExt cx="63817" cy="63737"/>
                    </a:xfrm>
                  </p:grpSpPr>
                  <p:sp>
                    <p:nvSpPr>
                      <p:cNvPr id="823" name="Freeform 1099">
                        <a:extLst>
                          <a:ext uri="{FF2B5EF4-FFF2-40B4-BE49-F238E27FC236}">
                            <a16:creationId xmlns:a16="http://schemas.microsoft.com/office/drawing/2014/main" id="{99C5DCD6-9B3F-AC4B-DB63-564DB99AB5C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3774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4" name="Freeform 1100">
                        <a:extLst>
                          <a:ext uri="{FF2B5EF4-FFF2-40B4-BE49-F238E27FC236}">
                            <a16:creationId xmlns:a16="http://schemas.microsoft.com/office/drawing/2014/main" id="{9F51BB72-D6C8-B831-8D4A-78B5D670FC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012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4" name="Graphic 19">
                      <a:extLst>
                        <a:ext uri="{FF2B5EF4-FFF2-40B4-BE49-F238E27FC236}">
                          <a16:creationId xmlns:a16="http://schemas.microsoft.com/office/drawing/2014/main" id="{A00C8062-ADA7-14DD-2205-1810BCE1987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52980" y="443854"/>
                      <a:ext cx="62864" cy="63737"/>
                      <a:chOff x="14952980" y="443854"/>
                      <a:chExt cx="62864" cy="63737"/>
                    </a:xfrm>
                  </p:grpSpPr>
                  <p:sp>
                    <p:nvSpPr>
                      <p:cNvPr id="821" name="Freeform 1102">
                        <a:extLst>
                          <a:ext uri="{FF2B5EF4-FFF2-40B4-BE49-F238E27FC236}">
                            <a16:creationId xmlns:a16="http://schemas.microsoft.com/office/drawing/2014/main" id="{0AC023EE-0153-5C7C-D0EE-71FD95DB7F5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2980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2" name="Freeform 1103">
                        <a:extLst>
                          <a:ext uri="{FF2B5EF4-FFF2-40B4-BE49-F238E27FC236}">
                            <a16:creationId xmlns:a16="http://schemas.microsoft.com/office/drawing/2014/main" id="{E0DA1817-E0A7-E078-2227-4F2D858520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441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5" name="Graphic 19">
                      <a:extLst>
                        <a:ext uri="{FF2B5EF4-FFF2-40B4-BE49-F238E27FC236}">
                          <a16:creationId xmlns:a16="http://schemas.microsoft.com/office/drawing/2014/main" id="{53B5E1C9-0183-05E8-1661-1628DDCD410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57743" y="443854"/>
                      <a:ext cx="62864" cy="63737"/>
                      <a:chOff x="14957743" y="443854"/>
                      <a:chExt cx="62864" cy="63737"/>
                    </a:xfrm>
                  </p:grpSpPr>
                  <p:sp>
                    <p:nvSpPr>
                      <p:cNvPr id="819" name="Freeform 1105">
                        <a:extLst>
                          <a:ext uri="{FF2B5EF4-FFF2-40B4-BE49-F238E27FC236}">
                            <a16:creationId xmlns:a16="http://schemas.microsoft.com/office/drawing/2014/main" id="{895F6CE9-8D7A-139F-B99A-D61432D1D2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7743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20" name="Freeform 1106">
                        <a:extLst>
                          <a:ext uri="{FF2B5EF4-FFF2-40B4-BE49-F238E27FC236}">
                            <a16:creationId xmlns:a16="http://schemas.microsoft.com/office/drawing/2014/main" id="{13E72C2B-4DF8-2190-0C78-F62F691645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917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6" name="Graphic 19">
                      <a:extLst>
                        <a:ext uri="{FF2B5EF4-FFF2-40B4-BE49-F238E27FC236}">
                          <a16:creationId xmlns:a16="http://schemas.microsoft.com/office/drawing/2014/main" id="{A4F7A743-766E-5BCF-51FC-6A4871007CF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65363" y="443854"/>
                      <a:ext cx="62865" cy="63737"/>
                      <a:chOff x="14965363" y="443854"/>
                      <a:chExt cx="62865" cy="63737"/>
                    </a:xfrm>
                  </p:grpSpPr>
                  <p:sp>
                    <p:nvSpPr>
                      <p:cNvPr id="817" name="Freeform 1108">
                        <a:extLst>
                          <a:ext uri="{FF2B5EF4-FFF2-40B4-BE49-F238E27FC236}">
                            <a16:creationId xmlns:a16="http://schemas.microsoft.com/office/drawing/2014/main" id="{82869705-3FA3-CDE7-FA75-D49C56DE3F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6536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8" name="Freeform 1109">
                        <a:extLst>
                          <a:ext uri="{FF2B5EF4-FFF2-40B4-BE49-F238E27FC236}">
                            <a16:creationId xmlns:a16="http://schemas.microsoft.com/office/drawing/2014/main" id="{DAB76D85-4D5E-BADD-0C1B-876A0336AD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9679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7" name="Graphic 19">
                      <a:extLst>
                        <a:ext uri="{FF2B5EF4-FFF2-40B4-BE49-F238E27FC236}">
                          <a16:creationId xmlns:a16="http://schemas.microsoft.com/office/drawing/2014/main" id="{3D9B7F01-ECF0-0B19-8122-B77010FBAD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77745" y="443854"/>
                      <a:ext cx="62865" cy="63737"/>
                      <a:chOff x="14977745" y="443854"/>
                      <a:chExt cx="62865" cy="63737"/>
                    </a:xfrm>
                  </p:grpSpPr>
                  <p:sp>
                    <p:nvSpPr>
                      <p:cNvPr id="815" name="Freeform 1111">
                        <a:extLst>
                          <a:ext uri="{FF2B5EF4-FFF2-40B4-BE49-F238E27FC236}">
                            <a16:creationId xmlns:a16="http://schemas.microsoft.com/office/drawing/2014/main" id="{49BC7C06-C7F3-10CD-6287-93E34245BA0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7774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6" name="Freeform 1112">
                        <a:extLst>
                          <a:ext uri="{FF2B5EF4-FFF2-40B4-BE49-F238E27FC236}">
                            <a16:creationId xmlns:a16="http://schemas.microsoft.com/office/drawing/2014/main" id="{9877EA4A-E6E0-914D-6F5C-5C22F5DD14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0917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8" name="Graphic 19">
                      <a:extLst>
                        <a:ext uri="{FF2B5EF4-FFF2-40B4-BE49-F238E27FC236}">
                          <a16:creationId xmlns:a16="http://schemas.microsoft.com/office/drawing/2014/main" id="{66225557-BC2A-D109-1F31-046D07A9457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80603" y="443854"/>
                      <a:ext cx="62865" cy="63737"/>
                      <a:chOff x="14980603" y="443854"/>
                      <a:chExt cx="62865" cy="63737"/>
                    </a:xfrm>
                  </p:grpSpPr>
                  <p:sp>
                    <p:nvSpPr>
                      <p:cNvPr id="813" name="Freeform 1114">
                        <a:extLst>
                          <a:ext uri="{FF2B5EF4-FFF2-40B4-BE49-F238E27FC236}">
                            <a16:creationId xmlns:a16="http://schemas.microsoft.com/office/drawing/2014/main" id="{C26F08AC-3800-F25D-FC75-442BD78F94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8060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4" name="Freeform 1115">
                        <a:extLst>
                          <a:ext uri="{FF2B5EF4-FFF2-40B4-BE49-F238E27FC236}">
                            <a16:creationId xmlns:a16="http://schemas.microsoft.com/office/drawing/2014/main" id="{7062D3E8-F9CB-C601-4662-33E0EECA32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1203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59" name="Graphic 19">
                      <a:extLst>
                        <a:ext uri="{FF2B5EF4-FFF2-40B4-BE49-F238E27FC236}">
                          <a16:creationId xmlns:a16="http://schemas.microsoft.com/office/drawing/2014/main" id="{61396210-559D-E972-F6BA-96A294C5DF3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01558" y="443854"/>
                      <a:ext cx="62865" cy="63737"/>
                      <a:chOff x="15001558" y="443854"/>
                      <a:chExt cx="62865" cy="63737"/>
                    </a:xfrm>
                  </p:grpSpPr>
                  <p:sp>
                    <p:nvSpPr>
                      <p:cNvPr id="811" name="Freeform 1117">
                        <a:extLst>
                          <a:ext uri="{FF2B5EF4-FFF2-40B4-BE49-F238E27FC236}">
                            <a16:creationId xmlns:a16="http://schemas.microsoft.com/office/drawing/2014/main" id="{E6BA3244-C98C-9F47-3FCB-C7A75767D83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0155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2" name="Freeform 1118">
                        <a:extLst>
                          <a:ext uri="{FF2B5EF4-FFF2-40B4-BE49-F238E27FC236}">
                            <a16:creationId xmlns:a16="http://schemas.microsoft.com/office/drawing/2014/main" id="{5E1B1F5C-96E4-7693-7BA4-144CB636F4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3299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0" name="Graphic 19">
                      <a:extLst>
                        <a:ext uri="{FF2B5EF4-FFF2-40B4-BE49-F238E27FC236}">
                          <a16:creationId xmlns:a16="http://schemas.microsoft.com/office/drawing/2014/main" id="{A11BD8DF-B12F-F488-4B85-BE906B4A9F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12988" y="443854"/>
                      <a:ext cx="63817" cy="63737"/>
                      <a:chOff x="15012988" y="443854"/>
                      <a:chExt cx="63817" cy="63737"/>
                    </a:xfrm>
                  </p:grpSpPr>
                  <p:sp>
                    <p:nvSpPr>
                      <p:cNvPr id="809" name="Freeform 1120">
                        <a:extLst>
                          <a:ext uri="{FF2B5EF4-FFF2-40B4-BE49-F238E27FC236}">
                            <a16:creationId xmlns:a16="http://schemas.microsoft.com/office/drawing/2014/main" id="{257AF404-B0B8-0334-4B69-99CE88AC25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12988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10" name="Freeform 1121">
                        <a:extLst>
                          <a:ext uri="{FF2B5EF4-FFF2-40B4-BE49-F238E27FC236}">
                            <a16:creationId xmlns:a16="http://schemas.microsoft.com/office/drawing/2014/main" id="{70E73635-241D-279B-2738-6E42F95BC0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4537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1" name="Graphic 19">
                      <a:extLst>
                        <a:ext uri="{FF2B5EF4-FFF2-40B4-BE49-F238E27FC236}">
                          <a16:creationId xmlns:a16="http://schemas.microsoft.com/office/drawing/2014/main" id="{88C3D6E4-AB9F-0833-DC1B-6B1B60207FB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3465" y="443854"/>
                      <a:ext cx="62865" cy="63737"/>
                      <a:chOff x="15023465" y="443854"/>
                      <a:chExt cx="62865" cy="63737"/>
                    </a:xfrm>
                  </p:grpSpPr>
                  <p:sp>
                    <p:nvSpPr>
                      <p:cNvPr id="807" name="Freeform 1123">
                        <a:extLst>
                          <a:ext uri="{FF2B5EF4-FFF2-40B4-BE49-F238E27FC236}">
                            <a16:creationId xmlns:a16="http://schemas.microsoft.com/office/drawing/2014/main" id="{CE1F8C57-DAC6-0F74-0FE8-4D8B7346E4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346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8" name="Freeform 1124">
                        <a:extLst>
                          <a:ext uri="{FF2B5EF4-FFF2-40B4-BE49-F238E27FC236}">
                            <a16:creationId xmlns:a16="http://schemas.microsoft.com/office/drawing/2014/main" id="{F04183AB-18DC-15D2-C77A-34702AD2B4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489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2" name="Graphic 19">
                      <a:extLst>
                        <a:ext uri="{FF2B5EF4-FFF2-40B4-BE49-F238E27FC236}">
                          <a16:creationId xmlns:a16="http://schemas.microsoft.com/office/drawing/2014/main" id="{867A108B-1536-6D6B-C2A4-B9874192AF5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7275" y="443854"/>
                      <a:ext cx="62865" cy="63737"/>
                      <a:chOff x="15027275" y="443854"/>
                      <a:chExt cx="62865" cy="63737"/>
                    </a:xfrm>
                  </p:grpSpPr>
                  <p:sp>
                    <p:nvSpPr>
                      <p:cNvPr id="805" name="Freeform 1126">
                        <a:extLst>
                          <a:ext uri="{FF2B5EF4-FFF2-40B4-BE49-F238E27FC236}">
                            <a16:creationId xmlns:a16="http://schemas.microsoft.com/office/drawing/2014/main" id="{0B393C0A-2AED-7159-EAEB-E8D99FE077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727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6" name="Freeform 1127">
                        <a:extLst>
                          <a:ext uri="{FF2B5EF4-FFF2-40B4-BE49-F238E27FC236}">
                            <a16:creationId xmlns:a16="http://schemas.microsoft.com/office/drawing/2014/main" id="{544E3403-BEB3-C11C-3977-7885F65D74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870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3" name="Graphic 19">
                      <a:extLst>
                        <a:ext uri="{FF2B5EF4-FFF2-40B4-BE49-F238E27FC236}">
                          <a16:creationId xmlns:a16="http://schemas.microsoft.com/office/drawing/2014/main" id="{8F5A5790-77B1-DAEA-4E40-7EEB0F6DA3F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9180" y="443854"/>
                      <a:ext cx="63817" cy="63737"/>
                      <a:chOff x="15029180" y="443854"/>
                      <a:chExt cx="63817" cy="63737"/>
                    </a:xfrm>
                  </p:grpSpPr>
                  <p:sp>
                    <p:nvSpPr>
                      <p:cNvPr id="803" name="Freeform 1129">
                        <a:extLst>
                          <a:ext uri="{FF2B5EF4-FFF2-40B4-BE49-F238E27FC236}">
                            <a16:creationId xmlns:a16="http://schemas.microsoft.com/office/drawing/2014/main" id="{9B0A0D5E-AAF1-EEE3-E8BA-FEC90354A7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9180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4" name="Freeform 1130">
                        <a:extLst>
                          <a:ext uri="{FF2B5EF4-FFF2-40B4-BE49-F238E27FC236}">
                            <a16:creationId xmlns:a16="http://schemas.microsoft.com/office/drawing/2014/main" id="{EAD03135-5787-EF71-07AA-9FBA2BB8D2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6156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4" name="Graphic 19">
                      <a:extLst>
                        <a:ext uri="{FF2B5EF4-FFF2-40B4-BE49-F238E27FC236}">
                          <a16:creationId xmlns:a16="http://schemas.microsoft.com/office/drawing/2014/main" id="{FC7D5855-A40E-3F60-9D28-91CF42AEAC7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71090" y="443854"/>
                      <a:ext cx="62865" cy="63737"/>
                      <a:chOff x="15071090" y="443854"/>
                      <a:chExt cx="62865" cy="63737"/>
                    </a:xfrm>
                  </p:grpSpPr>
                  <p:sp>
                    <p:nvSpPr>
                      <p:cNvPr id="801" name="Freeform 1132">
                        <a:extLst>
                          <a:ext uri="{FF2B5EF4-FFF2-40B4-BE49-F238E27FC236}">
                            <a16:creationId xmlns:a16="http://schemas.microsoft.com/office/drawing/2014/main" id="{966F38FF-186A-E802-4D13-C07F77E3F1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1090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2" name="Freeform 1133">
                        <a:extLst>
                          <a:ext uri="{FF2B5EF4-FFF2-40B4-BE49-F238E27FC236}">
                            <a16:creationId xmlns:a16="http://schemas.microsoft.com/office/drawing/2014/main" id="{C040293F-A73B-8D20-6F8B-DA27233D1E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0252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5" name="Graphic 19">
                      <a:extLst>
                        <a:ext uri="{FF2B5EF4-FFF2-40B4-BE49-F238E27FC236}">
                          <a16:creationId xmlns:a16="http://schemas.microsoft.com/office/drawing/2014/main" id="{233BE5E5-09FD-F15B-42E6-074164B2B95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73948" y="443854"/>
                      <a:ext cx="62865" cy="63737"/>
                      <a:chOff x="15073948" y="443854"/>
                      <a:chExt cx="62865" cy="63737"/>
                    </a:xfrm>
                  </p:grpSpPr>
                  <p:sp>
                    <p:nvSpPr>
                      <p:cNvPr id="799" name="Freeform 1135">
                        <a:extLst>
                          <a:ext uri="{FF2B5EF4-FFF2-40B4-BE49-F238E27FC236}">
                            <a16:creationId xmlns:a16="http://schemas.microsoft.com/office/drawing/2014/main" id="{F0533A74-5BD6-9712-D24E-5E64B82C8F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7394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800" name="Freeform 1136">
                        <a:extLst>
                          <a:ext uri="{FF2B5EF4-FFF2-40B4-BE49-F238E27FC236}">
                            <a16:creationId xmlns:a16="http://schemas.microsoft.com/office/drawing/2014/main" id="{D8FA34D1-BB45-3318-E47D-427EBE6B184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0538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6" name="Graphic 19">
                      <a:extLst>
                        <a:ext uri="{FF2B5EF4-FFF2-40B4-BE49-F238E27FC236}">
                          <a16:creationId xmlns:a16="http://schemas.microsoft.com/office/drawing/2014/main" id="{8ECA04AA-9936-B37F-0C4F-C9BC0E7D847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56815" y="443854"/>
                      <a:ext cx="62865" cy="63737"/>
                      <a:chOff x="15156815" y="443854"/>
                      <a:chExt cx="62865" cy="63737"/>
                    </a:xfrm>
                  </p:grpSpPr>
                  <p:sp>
                    <p:nvSpPr>
                      <p:cNvPr id="797" name="Freeform 1138">
                        <a:extLst>
                          <a:ext uri="{FF2B5EF4-FFF2-40B4-BE49-F238E27FC236}">
                            <a16:creationId xmlns:a16="http://schemas.microsoft.com/office/drawing/2014/main" id="{6192356F-C6CF-3D21-9D42-E32B1D4BAF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5681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8" name="Freeform 1139">
                        <a:extLst>
                          <a:ext uri="{FF2B5EF4-FFF2-40B4-BE49-F238E27FC236}">
                            <a16:creationId xmlns:a16="http://schemas.microsoft.com/office/drawing/2014/main" id="{FF8C7978-F15F-4A12-7022-9C2D811AF1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824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7" name="Graphic 19">
                      <a:extLst>
                        <a:ext uri="{FF2B5EF4-FFF2-40B4-BE49-F238E27FC236}">
                          <a16:creationId xmlns:a16="http://schemas.microsoft.com/office/drawing/2014/main" id="{72A98D84-3017-18EE-8619-9F2B9F4A4C2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58720" y="443854"/>
                      <a:ext cx="62865" cy="63737"/>
                      <a:chOff x="15158720" y="443854"/>
                      <a:chExt cx="62865" cy="63737"/>
                    </a:xfrm>
                  </p:grpSpPr>
                  <p:sp>
                    <p:nvSpPr>
                      <p:cNvPr id="795" name="Freeform 1141">
                        <a:extLst>
                          <a:ext uri="{FF2B5EF4-FFF2-40B4-BE49-F238E27FC236}">
                            <a16:creationId xmlns:a16="http://schemas.microsoft.com/office/drawing/2014/main" id="{4279A401-9D0F-522F-68FF-9E10B665B2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58720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6" name="Freeform 1142">
                        <a:extLst>
                          <a:ext uri="{FF2B5EF4-FFF2-40B4-BE49-F238E27FC236}">
                            <a16:creationId xmlns:a16="http://schemas.microsoft.com/office/drawing/2014/main" id="{70B1BF85-8B9D-F3AC-D121-D00536F824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90153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8" name="Graphic 19">
                      <a:extLst>
                        <a:ext uri="{FF2B5EF4-FFF2-40B4-BE49-F238E27FC236}">
                          <a16:creationId xmlns:a16="http://schemas.microsoft.com/office/drawing/2014/main" id="{7F566A01-DAFD-948D-F3B4-E239235A6A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77795" y="443854"/>
                      <a:ext cx="63817" cy="63737"/>
                      <a:chOff x="15377795" y="443854"/>
                      <a:chExt cx="63817" cy="63737"/>
                    </a:xfrm>
                  </p:grpSpPr>
                  <p:sp>
                    <p:nvSpPr>
                      <p:cNvPr id="793" name="Freeform 1144">
                        <a:extLst>
                          <a:ext uri="{FF2B5EF4-FFF2-40B4-BE49-F238E27FC236}">
                            <a16:creationId xmlns:a16="http://schemas.microsoft.com/office/drawing/2014/main" id="{73024C9B-A439-459E-7862-D926CEDF5D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77795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4" name="Freeform 1145">
                        <a:extLst>
                          <a:ext uri="{FF2B5EF4-FFF2-40B4-BE49-F238E27FC236}">
                            <a16:creationId xmlns:a16="http://schemas.microsoft.com/office/drawing/2014/main" id="{A243418D-5579-5279-28C6-23C7B3C935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0922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69" name="Graphic 19">
                      <a:extLst>
                        <a:ext uri="{FF2B5EF4-FFF2-40B4-BE49-F238E27FC236}">
                          <a16:creationId xmlns:a16="http://schemas.microsoft.com/office/drawing/2014/main" id="{AE250548-2124-6CC5-D82C-178A83571DC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80653" y="443854"/>
                      <a:ext cx="63817" cy="63737"/>
                      <a:chOff x="15380653" y="443854"/>
                      <a:chExt cx="63817" cy="63737"/>
                    </a:xfrm>
                  </p:grpSpPr>
                  <p:sp>
                    <p:nvSpPr>
                      <p:cNvPr id="791" name="Freeform 1147">
                        <a:extLst>
                          <a:ext uri="{FF2B5EF4-FFF2-40B4-BE49-F238E27FC236}">
                            <a16:creationId xmlns:a16="http://schemas.microsoft.com/office/drawing/2014/main" id="{4C781A0A-F878-6D7E-74C0-D74C5A4A33C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80653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2" name="Freeform 1148">
                        <a:extLst>
                          <a:ext uri="{FF2B5EF4-FFF2-40B4-BE49-F238E27FC236}">
                            <a16:creationId xmlns:a16="http://schemas.microsoft.com/office/drawing/2014/main" id="{4AE8ABE4-D5C7-5275-F858-FE184BC82D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303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0" name="Graphic 19">
                      <a:extLst>
                        <a:ext uri="{FF2B5EF4-FFF2-40B4-BE49-F238E27FC236}">
                          <a16:creationId xmlns:a16="http://schemas.microsoft.com/office/drawing/2014/main" id="{56ACE06C-B86A-8D70-DB69-20F42E98B5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85415" y="443854"/>
                      <a:ext cx="62865" cy="63737"/>
                      <a:chOff x="15385415" y="443854"/>
                      <a:chExt cx="62865" cy="63737"/>
                    </a:xfrm>
                  </p:grpSpPr>
                  <p:sp>
                    <p:nvSpPr>
                      <p:cNvPr id="789" name="Freeform 1150">
                        <a:extLst>
                          <a:ext uri="{FF2B5EF4-FFF2-40B4-BE49-F238E27FC236}">
                            <a16:creationId xmlns:a16="http://schemas.microsoft.com/office/drawing/2014/main" id="{3369F25C-F2B4-5F49-14DC-729A216198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85415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90" name="Freeform 1151">
                        <a:extLst>
                          <a:ext uri="{FF2B5EF4-FFF2-40B4-BE49-F238E27FC236}">
                            <a16:creationId xmlns:a16="http://schemas.microsoft.com/office/drawing/2014/main" id="{EC9647D4-5029-A5B9-1DB7-2600B54DC8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684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1" name="Graphic 19">
                      <a:extLst>
                        <a:ext uri="{FF2B5EF4-FFF2-40B4-BE49-F238E27FC236}">
                          <a16:creationId xmlns:a16="http://schemas.microsoft.com/office/drawing/2014/main" id="{DCA598FF-1B41-F053-AF73-6D8BB3C368E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388273" y="443854"/>
                      <a:ext cx="62865" cy="63737"/>
                      <a:chOff x="15388273" y="443854"/>
                      <a:chExt cx="62865" cy="63737"/>
                    </a:xfrm>
                  </p:grpSpPr>
                  <p:sp>
                    <p:nvSpPr>
                      <p:cNvPr id="787" name="Freeform 1153">
                        <a:extLst>
                          <a:ext uri="{FF2B5EF4-FFF2-40B4-BE49-F238E27FC236}">
                            <a16:creationId xmlns:a16="http://schemas.microsoft.com/office/drawing/2014/main" id="{951B47BA-28D7-1CC7-1FD0-D62E502BCA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88273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8" name="Freeform 1154">
                        <a:extLst>
                          <a:ext uri="{FF2B5EF4-FFF2-40B4-BE49-F238E27FC236}">
                            <a16:creationId xmlns:a16="http://schemas.microsoft.com/office/drawing/2014/main" id="{CDC3B6FC-6077-FC2B-DF45-8ED80010560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9705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2" name="Graphic 19">
                      <a:extLst>
                        <a:ext uri="{FF2B5EF4-FFF2-40B4-BE49-F238E27FC236}">
                          <a16:creationId xmlns:a16="http://schemas.microsoft.com/office/drawing/2014/main" id="{B562C4A5-2513-F244-3089-524D9844801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414943" y="443854"/>
                      <a:ext cx="63817" cy="63737"/>
                      <a:chOff x="15414943" y="443854"/>
                      <a:chExt cx="63817" cy="63737"/>
                    </a:xfrm>
                  </p:grpSpPr>
                  <p:sp>
                    <p:nvSpPr>
                      <p:cNvPr id="785" name="Freeform 1156">
                        <a:extLst>
                          <a:ext uri="{FF2B5EF4-FFF2-40B4-BE49-F238E27FC236}">
                            <a16:creationId xmlns:a16="http://schemas.microsoft.com/office/drawing/2014/main" id="{12552E05-C088-C364-6AE8-A4D7CB249D5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14943" y="475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6" name="Freeform 1157">
                        <a:extLst>
                          <a:ext uri="{FF2B5EF4-FFF2-40B4-BE49-F238E27FC236}">
                            <a16:creationId xmlns:a16="http://schemas.microsoft.com/office/drawing/2014/main" id="{45A543D7-008E-161A-EEA8-B7747EF34F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47328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3" name="Graphic 19">
                      <a:extLst>
                        <a:ext uri="{FF2B5EF4-FFF2-40B4-BE49-F238E27FC236}">
                          <a16:creationId xmlns:a16="http://schemas.microsoft.com/office/drawing/2014/main" id="{1AA07B4D-E6A1-0D63-326F-58CB0797D6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443518" y="443854"/>
                      <a:ext cx="62864" cy="63737"/>
                      <a:chOff x="15443518" y="443854"/>
                      <a:chExt cx="62864" cy="63737"/>
                    </a:xfrm>
                  </p:grpSpPr>
                  <p:sp>
                    <p:nvSpPr>
                      <p:cNvPr id="783" name="Freeform 1159">
                        <a:extLst>
                          <a:ext uri="{FF2B5EF4-FFF2-40B4-BE49-F238E27FC236}">
                            <a16:creationId xmlns:a16="http://schemas.microsoft.com/office/drawing/2014/main" id="{A678E2C6-D661-A678-5AB8-728B441106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43518" y="475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4" name="Freeform 1160">
                        <a:extLst>
                          <a:ext uri="{FF2B5EF4-FFF2-40B4-BE49-F238E27FC236}">
                            <a16:creationId xmlns:a16="http://schemas.microsoft.com/office/drawing/2014/main" id="{476060A4-3E9A-6DF9-8E51-42DC3E7229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7495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4" name="Graphic 19">
                      <a:extLst>
                        <a:ext uri="{FF2B5EF4-FFF2-40B4-BE49-F238E27FC236}">
                          <a16:creationId xmlns:a16="http://schemas.microsoft.com/office/drawing/2014/main" id="{F5DFD8EB-582B-81BC-91E9-C50A10C2EF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447328" y="443854"/>
                      <a:ext cx="62865" cy="63737"/>
                      <a:chOff x="15447328" y="443854"/>
                      <a:chExt cx="62865" cy="63737"/>
                    </a:xfrm>
                  </p:grpSpPr>
                  <p:sp>
                    <p:nvSpPr>
                      <p:cNvPr id="781" name="Freeform 1162">
                        <a:extLst>
                          <a:ext uri="{FF2B5EF4-FFF2-40B4-BE49-F238E27FC236}">
                            <a16:creationId xmlns:a16="http://schemas.microsoft.com/office/drawing/2014/main" id="{96B8F045-0CC9-5F55-938E-9E359A1B9E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47328" y="4752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2" name="Freeform 1163">
                        <a:extLst>
                          <a:ext uri="{FF2B5EF4-FFF2-40B4-BE49-F238E27FC236}">
                            <a16:creationId xmlns:a16="http://schemas.microsoft.com/office/drawing/2014/main" id="{0BC24D98-2BF3-0942-7C5A-7DABC19EFC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478760" y="4438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5" name="Graphic 19">
                      <a:extLst>
                        <a:ext uri="{FF2B5EF4-FFF2-40B4-BE49-F238E27FC236}">
                          <a16:creationId xmlns:a16="http://schemas.microsoft.com/office/drawing/2014/main" id="{61CCA045-9460-756E-C227-BF15E16A900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9435" y="180341"/>
                      <a:ext cx="62865" cy="62786"/>
                      <a:chOff x="13259435" y="180341"/>
                      <a:chExt cx="62865" cy="62786"/>
                    </a:xfrm>
                  </p:grpSpPr>
                  <p:sp>
                    <p:nvSpPr>
                      <p:cNvPr id="779" name="Freeform 1165">
                        <a:extLst>
                          <a:ext uri="{FF2B5EF4-FFF2-40B4-BE49-F238E27FC236}">
                            <a16:creationId xmlns:a16="http://schemas.microsoft.com/office/drawing/2014/main" id="{5B14AEE4-F816-FCE4-B91E-8CD98C9974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9435" y="21173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80" name="Freeform 1166">
                        <a:extLst>
                          <a:ext uri="{FF2B5EF4-FFF2-40B4-BE49-F238E27FC236}">
                            <a16:creationId xmlns:a16="http://schemas.microsoft.com/office/drawing/2014/main" id="{15BB0164-9C20-E6ED-C160-7E0BD30787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0868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776" name="Graphic 19">
                      <a:extLst>
                        <a:ext uri="{FF2B5EF4-FFF2-40B4-BE49-F238E27FC236}">
                          <a16:creationId xmlns:a16="http://schemas.microsoft.com/office/drawing/2014/main" id="{0EEFD76B-EB11-E187-A049-A52C49217D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63245" y="180341"/>
                      <a:ext cx="63817" cy="62786"/>
                      <a:chOff x="13263245" y="180341"/>
                      <a:chExt cx="63817" cy="62786"/>
                    </a:xfrm>
                  </p:grpSpPr>
                  <p:sp>
                    <p:nvSpPr>
                      <p:cNvPr id="777" name="Freeform 1168">
                        <a:extLst>
                          <a:ext uri="{FF2B5EF4-FFF2-40B4-BE49-F238E27FC236}">
                            <a16:creationId xmlns:a16="http://schemas.microsoft.com/office/drawing/2014/main" id="{E9376E4C-78A5-D8C0-065A-C5567BC276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3245" y="211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778" name="Freeform 1169">
                        <a:extLst>
                          <a:ext uri="{FF2B5EF4-FFF2-40B4-BE49-F238E27FC236}">
                            <a16:creationId xmlns:a16="http://schemas.microsoft.com/office/drawing/2014/main" id="{9167FCB5-CBBE-189C-DC24-83F3D75B4E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5630" y="180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830051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  <p:sp>
                <p:nvSpPr>
                  <p:cNvPr id="584" name="Freeform 1170">
                    <a:extLst>
                      <a:ext uri="{FF2B5EF4-FFF2-40B4-BE49-F238E27FC236}">
                        <a16:creationId xmlns:a16="http://schemas.microsoft.com/office/drawing/2014/main" id="{03917D13-6632-9B76-3615-66A32260B127}"/>
                      </a:ext>
                    </a:extLst>
                  </p:cNvPr>
                  <p:cNvSpPr/>
                  <p:nvPr/>
                </p:nvSpPr>
                <p:spPr>
                  <a:xfrm>
                    <a:off x="9618027" y="-145006"/>
                    <a:ext cx="5858827" cy="619303"/>
                  </a:xfrm>
                  <a:custGeom>
                    <a:avLst/>
                    <a:gdLst>
                      <a:gd name="connsiteX0" fmla="*/ 0 w 5858827"/>
                      <a:gd name="connsiteY0" fmla="*/ 0 h 619303"/>
                      <a:gd name="connsiteX1" fmla="*/ 48577 w 5858827"/>
                      <a:gd name="connsiteY1" fmla="*/ 0 h 619303"/>
                      <a:gd name="connsiteX2" fmla="*/ 48577 w 5858827"/>
                      <a:gd name="connsiteY2" fmla="*/ 8562 h 619303"/>
                      <a:gd name="connsiteX3" fmla="*/ 66675 w 5858827"/>
                      <a:gd name="connsiteY3" fmla="*/ 8562 h 619303"/>
                      <a:gd name="connsiteX4" fmla="*/ 66675 w 5858827"/>
                      <a:gd name="connsiteY4" fmla="*/ 14270 h 619303"/>
                      <a:gd name="connsiteX5" fmla="*/ 118110 w 5858827"/>
                      <a:gd name="connsiteY5" fmla="*/ 14270 h 619303"/>
                      <a:gd name="connsiteX6" fmla="*/ 118110 w 5858827"/>
                      <a:gd name="connsiteY6" fmla="*/ 21880 h 619303"/>
                      <a:gd name="connsiteX7" fmla="*/ 205740 w 5858827"/>
                      <a:gd name="connsiteY7" fmla="*/ 21880 h 619303"/>
                      <a:gd name="connsiteX8" fmla="*/ 205740 w 5858827"/>
                      <a:gd name="connsiteY8" fmla="*/ 30442 h 619303"/>
                      <a:gd name="connsiteX9" fmla="*/ 333375 w 5858827"/>
                      <a:gd name="connsiteY9" fmla="*/ 30442 h 619303"/>
                      <a:gd name="connsiteX10" fmla="*/ 333375 w 5858827"/>
                      <a:gd name="connsiteY10" fmla="*/ 43760 h 619303"/>
                      <a:gd name="connsiteX11" fmla="*/ 421005 w 5858827"/>
                      <a:gd name="connsiteY11" fmla="*/ 43760 h 619303"/>
                      <a:gd name="connsiteX12" fmla="*/ 421005 w 5858827"/>
                      <a:gd name="connsiteY12" fmla="*/ 53273 h 619303"/>
                      <a:gd name="connsiteX13" fmla="*/ 466725 w 5858827"/>
                      <a:gd name="connsiteY13" fmla="*/ 53273 h 619303"/>
                      <a:gd name="connsiteX14" fmla="*/ 466725 w 5858827"/>
                      <a:gd name="connsiteY14" fmla="*/ 66592 h 619303"/>
                      <a:gd name="connsiteX15" fmla="*/ 533400 w 5858827"/>
                      <a:gd name="connsiteY15" fmla="*/ 66592 h 619303"/>
                      <a:gd name="connsiteX16" fmla="*/ 533400 w 5858827"/>
                      <a:gd name="connsiteY16" fmla="*/ 73251 h 619303"/>
                      <a:gd name="connsiteX17" fmla="*/ 581025 w 5858827"/>
                      <a:gd name="connsiteY17" fmla="*/ 73251 h 619303"/>
                      <a:gd name="connsiteX18" fmla="*/ 581025 w 5858827"/>
                      <a:gd name="connsiteY18" fmla="*/ 81813 h 619303"/>
                      <a:gd name="connsiteX19" fmla="*/ 633413 w 5858827"/>
                      <a:gd name="connsiteY19" fmla="*/ 81813 h 619303"/>
                      <a:gd name="connsiteX20" fmla="*/ 633413 w 5858827"/>
                      <a:gd name="connsiteY20" fmla="*/ 89423 h 619303"/>
                      <a:gd name="connsiteX21" fmla="*/ 664845 w 5858827"/>
                      <a:gd name="connsiteY21" fmla="*/ 89423 h 619303"/>
                      <a:gd name="connsiteX22" fmla="*/ 664845 w 5858827"/>
                      <a:gd name="connsiteY22" fmla="*/ 95131 h 619303"/>
                      <a:gd name="connsiteX23" fmla="*/ 708660 w 5858827"/>
                      <a:gd name="connsiteY23" fmla="*/ 95131 h 619303"/>
                      <a:gd name="connsiteX24" fmla="*/ 708660 w 5858827"/>
                      <a:gd name="connsiteY24" fmla="*/ 111303 h 619303"/>
                      <a:gd name="connsiteX25" fmla="*/ 772478 w 5858827"/>
                      <a:gd name="connsiteY25" fmla="*/ 111303 h 619303"/>
                      <a:gd name="connsiteX26" fmla="*/ 772478 w 5858827"/>
                      <a:gd name="connsiteY26" fmla="*/ 123670 h 619303"/>
                      <a:gd name="connsiteX27" fmla="*/ 796290 w 5858827"/>
                      <a:gd name="connsiteY27" fmla="*/ 123670 h 619303"/>
                      <a:gd name="connsiteX28" fmla="*/ 796290 w 5858827"/>
                      <a:gd name="connsiteY28" fmla="*/ 129378 h 619303"/>
                      <a:gd name="connsiteX29" fmla="*/ 806768 w 5858827"/>
                      <a:gd name="connsiteY29" fmla="*/ 129378 h 619303"/>
                      <a:gd name="connsiteX30" fmla="*/ 806768 w 5858827"/>
                      <a:gd name="connsiteY30" fmla="*/ 136037 h 619303"/>
                      <a:gd name="connsiteX31" fmla="*/ 817245 w 5858827"/>
                      <a:gd name="connsiteY31" fmla="*/ 136037 h 619303"/>
                      <a:gd name="connsiteX32" fmla="*/ 817245 w 5858827"/>
                      <a:gd name="connsiteY32" fmla="*/ 141745 h 619303"/>
                      <a:gd name="connsiteX33" fmla="*/ 901065 w 5858827"/>
                      <a:gd name="connsiteY33" fmla="*/ 141745 h 619303"/>
                      <a:gd name="connsiteX34" fmla="*/ 901065 w 5858827"/>
                      <a:gd name="connsiteY34" fmla="*/ 148405 h 619303"/>
                      <a:gd name="connsiteX35" fmla="*/ 982980 w 5858827"/>
                      <a:gd name="connsiteY35" fmla="*/ 148405 h 619303"/>
                      <a:gd name="connsiteX36" fmla="*/ 982980 w 5858827"/>
                      <a:gd name="connsiteY36" fmla="*/ 163625 h 619303"/>
                      <a:gd name="connsiteX37" fmla="*/ 1023938 w 5858827"/>
                      <a:gd name="connsiteY37" fmla="*/ 163625 h 619303"/>
                      <a:gd name="connsiteX38" fmla="*/ 1023938 w 5858827"/>
                      <a:gd name="connsiteY38" fmla="*/ 172187 h 619303"/>
                      <a:gd name="connsiteX39" fmla="*/ 1096328 w 5858827"/>
                      <a:gd name="connsiteY39" fmla="*/ 172187 h 619303"/>
                      <a:gd name="connsiteX40" fmla="*/ 1096328 w 5858827"/>
                      <a:gd name="connsiteY40" fmla="*/ 179798 h 619303"/>
                      <a:gd name="connsiteX41" fmla="*/ 1235393 w 5858827"/>
                      <a:gd name="connsiteY41" fmla="*/ 179798 h 619303"/>
                      <a:gd name="connsiteX42" fmla="*/ 1235393 w 5858827"/>
                      <a:gd name="connsiteY42" fmla="*/ 186457 h 619303"/>
                      <a:gd name="connsiteX43" fmla="*/ 1353503 w 5858827"/>
                      <a:gd name="connsiteY43" fmla="*/ 186457 h 619303"/>
                      <a:gd name="connsiteX44" fmla="*/ 1353503 w 5858827"/>
                      <a:gd name="connsiteY44" fmla="*/ 199775 h 619303"/>
                      <a:gd name="connsiteX45" fmla="*/ 1540193 w 5858827"/>
                      <a:gd name="connsiteY45" fmla="*/ 199775 h 619303"/>
                      <a:gd name="connsiteX46" fmla="*/ 1540193 w 5858827"/>
                      <a:gd name="connsiteY46" fmla="*/ 209288 h 619303"/>
                      <a:gd name="connsiteX47" fmla="*/ 1583055 w 5858827"/>
                      <a:gd name="connsiteY47" fmla="*/ 209288 h 619303"/>
                      <a:gd name="connsiteX48" fmla="*/ 1583055 w 5858827"/>
                      <a:gd name="connsiteY48" fmla="*/ 217850 h 619303"/>
                      <a:gd name="connsiteX49" fmla="*/ 1640205 w 5858827"/>
                      <a:gd name="connsiteY49" fmla="*/ 217850 h 619303"/>
                      <a:gd name="connsiteX50" fmla="*/ 1640205 w 5858827"/>
                      <a:gd name="connsiteY50" fmla="*/ 224509 h 619303"/>
                      <a:gd name="connsiteX51" fmla="*/ 1651635 w 5858827"/>
                      <a:gd name="connsiteY51" fmla="*/ 224509 h 619303"/>
                      <a:gd name="connsiteX52" fmla="*/ 1651635 w 5858827"/>
                      <a:gd name="connsiteY52" fmla="*/ 234974 h 619303"/>
                      <a:gd name="connsiteX53" fmla="*/ 1665923 w 5858827"/>
                      <a:gd name="connsiteY53" fmla="*/ 234974 h 619303"/>
                      <a:gd name="connsiteX54" fmla="*/ 1665923 w 5858827"/>
                      <a:gd name="connsiteY54" fmla="*/ 240682 h 619303"/>
                      <a:gd name="connsiteX55" fmla="*/ 1687830 w 5858827"/>
                      <a:gd name="connsiteY55" fmla="*/ 240682 h 619303"/>
                      <a:gd name="connsiteX56" fmla="*/ 1687830 w 5858827"/>
                      <a:gd name="connsiteY56" fmla="*/ 247341 h 619303"/>
                      <a:gd name="connsiteX57" fmla="*/ 1706880 w 5858827"/>
                      <a:gd name="connsiteY57" fmla="*/ 247341 h 619303"/>
                      <a:gd name="connsiteX58" fmla="*/ 1706880 w 5858827"/>
                      <a:gd name="connsiteY58" fmla="*/ 253049 h 619303"/>
                      <a:gd name="connsiteX59" fmla="*/ 1711643 w 5858827"/>
                      <a:gd name="connsiteY59" fmla="*/ 253049 h 619303"/>
                      <a:gd name="connsiteX60" fmla="*/ 1711643 w 5858827"/>
                      <a:gd name="connsiteY60" fmla="*/ 255903 h 619303"/>
                      <a:gd name="connsiteX61" fmla="*/ 2168843 w 5858827"/>
                      <a:gd name="connsiteY61" fmla="*/ 255903 h 619303"/>
                      <a:gd name="connsiteX62" fmla="*/ 2168843 w 5858827"/>
                      <a:gd name="connsiteY62" fmla="*/ 263513 h 619303"/>
                      <a:gd name="connsiteX63" fmla="*/ 2226945 w 5858827"/>
                      <a:gd name="connsiteY63" fmla="*/ 263513 h 619303"/>
                      <a:gd name="connsiteX64" fmla="*/ 2226945 w 5858827"/>
                      <a:gd name="connsiteY64" fmla="*/ 271124 h 619303"/>
                      <a:gd name="connsiteX65" fmla="*/ 2457450 w 5858827"/>
                      <a:gd name="connsiteY65" fmla="*/ 271124 h 619303"/>
                      <a:gd name="connsiteX66" fmla="*/ 2457450 w 5858827"/>
                      <a:gd name="connsiteY66" fmla="*/ 276831 h 619303"/>
                      <a:gd name="connsiteX67" fmla="*/ 2465070 w 5858827"/>
                      <a:gd name="connsiteY67" fmla="*/ 276831 h 619303"/>
                      <a:gd name="connsiteX68" fmla="*/ 2465070 w 5858827"/>
                      <a:gd name="connsiteY68" fmla="*/ 279685 h 619303"/>
                      <a:gd name="connsiteX69" fmla="*/ 2530793 w 5858827"/>
                      <a:gd name="connsiteY69" fmla="*/ 279685 h 619303"/>
                      <a:gd name="connsiteX70" fmla="*/ 2530793 w 5858827"/>
                      <a:gd name="connsiteY70" fmla="*/ 286345 h 619303"/>
                      <a:gd name="connsiteX71" fmla="*/ 2582228 w 5858827"/>
                      <a:gd name="connsiteY71" fmla="*/ 286345 h 619303"/>
                      <a:gd name="connsiteX72" fmla="*/ 2582228 w 5858827"/>
                      <a:gd name="connsiteY72" fmla="*/ 294906 h 619303"/>
                      <a:gd name="connsiteX73" fmla="*/ 2825115 w 5858827"/>
                      <a:gd name="connsiteY73" fmla="*/ 294906 h 619303"/>
                      <a:gd name="connsiteX74" fmla="*/ 2825115 w 5858827"/>
                      <a:gd name="connsiteY74" fmla="*/ 301566 h 619303"/>
                      <a:gd name="connsiteX75" fmla="*/ 3324225 w 5858827"/>
                      <a:gd name="connsiteY75" fmla="*/ 301566 h 619303"/>
                      <a:gd name="connsiteX76" fmla="*/ 3324225 w 5858827"/>
                      <a:gd name="connsiteY76" fmla="*/ 312981 h 619303"/>
                      <a:gd name="connsiteX77" fmla="*/ 3367088 w 5858827"/>
                      <a:gd name="connsiteY77" fmla="*/ 312981 h 619303"/>
                      <a:gd name="connsiteX78" fmla="*/ 3367088 w 5858827"/>
                      <a:gd name="connsiteY78" fmla="*/ 320592 h 619303"/>
                      <a:gd name="connsiteX79" fmla="*/ 3495675 w 5858827"/>
                      <a:gd name="connsiteY79" fmla="*/ 320592 h 619303"/>
                      <a:gd name="connsiteX80" fmla="*/ 3495675 w 5858827"/>
                      <a:gd name="connsiteY80" fmla="*/ 331056 h 619303"/>
                      <a:gd name="connsiteX81" fmla="*/ 3547110 w 5858827"/>
                      <a:gd name="connsiteY81" fmla="*/ 331056 h 619303"/>
                      <a:gd name="connsiteX82" fmla="*/ 3547110 w 5858827"/>
                      <a:gd name="connsiteY82" fmla="*/ 342472 h 619303"/>
                      <a:gd name="connsiteX83" fmla="*/ 3573780 w 5858827"/>
                      <a:gd name="connsiteY83" fmla="*/ 342472 h 619303"/>
                      <a:gd name="connsiteX84" fmla="*/ 3573780 w 5858827"/>
                      <a:gd name="connsiteY84" fmla="*/ 346277 h 619303"/>
                      <a:gd name="connsiteX85" fmla="*/ 3601403 w 5858827"/>
                      <a:gd name="connsiteY85" fmla="*/ 346277 h 619303"/>
                      <a:gd name="connsiteX86" fmla="*/ 3601403 w 5858827"/>
                      <a:gd name="connsiteY86" fmla="*/ 352936 h 619303"/>
                      <a:gd name="connsiteX87" fmla="*/ 3639503 w 5858827"/>
                      <a:gd name="connsiteY87" fmla="*/ 352936 h 619303"/>
                      <a:gd name="connsiteX88" fmla="*/ 3639503 w 5858827"/>
                      <a:gd name="connsiteY88" fmla="*/ 356742 h 619303"/>
                      <a:gd name="connsiteX89" fmla="*/ 3895725 w 5858827"/>
                      <a:gd name="connsiteY89" fmla="*/ 356742 h 619303"/>
                      <a:gd name="connsiteX90" fmla="*/ 3895725 w 5858827"/>
                      <a:gd name="connsiteY90" fmla="*/ 366255 h 619303"/>
                      <a:gd name="connsiteX91" fmla="*/ 4053840 w 5858827"/>
                      <a:gd name="connsiteY91" fmla="*/ 366255 h 619303"/>
                      <a:gd name="connsiteX92" fmla="*/ 4053840 w 5858827"/>
                      <a:gd name="connsiteY92" fmla="*/ 379573 h 619303"/>
                      <a:gd name="connsiteX93" fmla="*/ 4257675 w 5858827"/>
                      <a:gd name="connsiteY93" fmla="*/ 379573 h 619303"/>
                      <a:gd name="connsiteX94" fmla="*/ 4257675 w 5858827"/>
                      <a:gd name="connsiteY94" fmla="*/ 392891 h 619303"/>
                      <a:gd name="connsiteX95" fmla="*/ 4397693 w 5858827"/>
                      <a:gd name="connsiteY95" fmla="*/ 392891 h 619303"/>
                      <a:gd name="connsiteX96" fmla="*/ 4397693 w 5858827"/>
                      <a:gd name="connsiteY96" fmla="*/ 409064 h 619303"/>
                      <a:gd name="connsiteX97" fmla="*/ 4488180 w 5858827"/>
                      <a:gd name="connsiteY97" fmla="*/ 409064 h 619303"/>
                      <a:gd name="connsiteX98" fmla="*/ 4488180 w 5858827"/>
                      <a:gd name="connsiteY98" fmla="*/ 428090 h 619303"/>
                      <a:gd name="connsiteX99" fmla="*/ 4605338 w 5858827"/>
                      <a:gd name="connsiteY99" fmla="*/ 428090 h 619303"/>
                      <a:gd name="connsiteX100" fmla="*/ 4605338 w 5858827"/>
                      <a:gd name="connsiteY100" fmla="*/ 447116 h 619303"/>
                      <a:gd name="connsiteX101" fmla="*/ 4941570 w 5858827"/>
                      <a:gd name="connsiteY101" fmla="*/ 447116 h 619303"/>
                      <a:gd name="connsiteX102" fmla="*/ 4941570 w 5858827"/>
                      <a:gd name="connsiteY102" fmla="*/ 483266 h 619303"/>
                      <a:gd name="connsiteX103" fmla="*/ 5146358 w 5858827"/>
                      <a:gd name="connsiteY103" fmla="*/ 483266 h 619303"/>
                      <a:gd name="connsiteX104" fmla="*/ 5146358 w 5858827"/>
                      <a:gd name="connsiteY104" fmla="*/ 523221 h 619303"/>
                      <a:gd name="connsiteX105" fmla="*/ 5217795 w 5858827"/>
                      <a:gd name="connsiteY105" fmla="*/ 523221 h 619303"/>
                      <a:gd name="connsiteX106" fmla="*/ 5217795 w 5858827"/>
                      <a:gd name="connsiteY106" fmla="*/ 566030 h 619303"/>
                      <a:gd name="connsiteX107" fmla="*/ 5250180 w 5858827"/>
                      <a:gd name="connsiteY107" fmla="*/ 566030 h 619303"/>
                      <a:gd name="connsiteX108" fmla="*/ 5250180 w 5858827"/>
                      <a:gd name="connsiteY108" fmla="*/ 619303 h 619303"/>
                      <a:gd name="connsiteX109" fmla="*/ 5858828 w 5858827"/>
                      <a:gd name="connsiteY109" fmla="*/ 619303 h 61930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</a:cxnLst>
                    <a:rect l="l" t="t" r="r" b="b"/>
                    <a:pathLst>
                      <a:path w="5858827" h="619303">
                        <a:moveTo>
                          <a:pt x="0" y="0"/>
                        </a:moveTo>
                        <a:lnTo>
                          <a:pt x="48577" y="0"/>
                        </a:lnTo>
                        <a:lnTo>
                          <a:pt x="48577" y="8562"/>
                        </a:lnTo>
                        <a:lnTo>
                          <a:pt x="66675" y="8562"/>
                        </a:lnTo>
                        <a:lnTo>
                          <a:pt x="66675" y="14270"/>
                        </a:lnTo>
                        <a:lnTo>
                          <a:pt x="118110" y="14270"/>
                        </a:lnTo>
                        <a:lnTo>
                          <a:pt x="118110" y="21880"/>
                        </a:lnTo>
                        <a:lnTo>
                          <a:pt x="205740" y="21880"/>
                        </a:lnTo>
                        <a:lnTo>
                          <a:pt x="205740" y="30442"/>
                        </a:lnTo>
                        <a:lnTo>
                          <a:pt x="333375" y="30442"/>
                        </a:lnTo>
                        <a:lnTo>
                          <a:pt x="333375" y="43760"/>
                        </a:lnTo>
                        <a:lnTo>
                          <a:pt x="421005" y="43760"/>
                        </a:lnTo>
                        <a:lnTo>
                          <a:pt x="421005" y="53273"/>
                        </a:lnTo>
                        <a:lnTo>
                          <a:pt x="466725" y="53273"/>
                        </a:lnTo>
                        <a:lnTo>
                          <a:pt x="466725" y="66592"/>
                        </a:lnTo>
                        <a:lnTo>
                          <a:pt x="533400" y="66592"/>
                        </a:lnTo>
                        <a:lnTo>
                          <a:pt x="533400" y="73251"/>
                        </a:lnTo>
                        <a:lnTo>
                          <a:pt x="581025" y="73251"/>
                        </a:lnTo>
                        <a:lnTo>
                          <a:pt x="581025" y="81813"/>
                        </a:lnTo>
                        <a:lnTo>
                          <a:pt x="633413" y="81813"/>
                        </a:lnTo>
                        <a:lnTo>
                          <a:pt x="633413" y="89423"/>
                        </a:lnTo>
                        <a:lnTo>
                          <a:pt x="664845" y="89423"/>
                        </a:lnTo>
                        <a:lnTo>
                          <a:pt x="664845" y="95131"/>
                        </a:lnTo>
                        <a:lnTo>
                          <a:pt x="708660" y="95131"/>
                        </a:lnTo>
                        <a:lnTo>
                          <a:pt x="708660" y="111303"/>
                        </a:lnTo>
                        <a:lnTo>
                          <a:pt x="772478" y="111303"/>
                        </a:lnTo>
                        <a:lnTo>
                          <a:pt x="772478" y="123670"/>
                        </a:lnTo>
                        <a:lnTo>
                          <a:pt x="796290" y="123670"/>
                        </a:lnTo>
                        <a:lnTo>
                          <a:pt x="796290" y="129378"/>
                        </a:lnTo>
                        <a:lnTo>
                          <a:pt x="806768" y="129378"/>
                        </a:lnTo>
                        <a:lnTo>
                          <a:pt x="806768" y="136037"/>
                        </a:lnTo>
                        <a:lnTo>
                          <a:pt x="817245" y="136037"/>
                        </a:lnTo>
                        <a:lnTo>
                          <a:pt x="817245" y="141745"/>
                        </a:lnTo>
                        <a:lnTo>
                          <a:pt x="901065" y="141745"/>
                        </a:lnTo>
                        <a:lnTo>
                          <a:pt x="901065" y="148405"/>
                        </a:lnTo>
                        <a:lnTo>
                          <a:pt x="982980" y="148405"/>
                        </a:lnTo>
                        <a:lnTo>
                          <a:pt x="982980" y="163625"/>
                        </a:lnTo>
                        <a:lnTo>
                          <a:pt x="1023938" y="163625"/>
                        </a:lnTo>
                        <a:lnTo>
                          <a:pt x="1023938" y="172187"/>
                        </a:lnTo>
                        <a:lnTo>
                          <a:pt x="1096328" y="172187"/>
                        </a:lnTo>
                        <a:lnTo>
                          <a:pt x="1096328" y="179798"/>
                        </a:lnTo>
                        <a:lnTo>
                          <a:pt x="1235393" y="179798"/>
                        </a:lnTo>
                        <a:lnTo>
                          <a:pt x="1235393" y="186457"/>
                        </a:lnTo>
                        <a:lnTo>
                          <a:pt x="1353503" y="186457"/>
                        </a:lnTo>
                        <a:lnTo>
                          <a:pt x="1353503" y="199775"/>
                        </a:lnTo>
                        <a:lnTo>
                          <a:pt x="1540193" y="199775"/>
                        </a:lnTo>
                        <a:lnTo>
                          <a:pt x="1540193" y="209288"/>
                        </a:lnTo>
                        <a:lnTo>
                          <a:pt x="1583055" y="209288"/>
                        </a:lnTo>
                        <a:lnTo>
                          <a:pt x="1583055" y="217850"/>
                        </a:lnTo>
                        <a:lnTo>
                          <a:pt x="1640205" y="217850"/>
                        </a:lnTo>
                        <a:lnTo>
                          <a:pt x="1640205" y="224509"/>
                        </a:lnTo>
                        <a:lnTo>
                          <a:pt x="1651635" y="224509"/>
                        </a:lnTo>
                        <a:lnTo>
                          <a:pt x="1651635" y="234974"/>
                        </a:lnTo>
                        <a:lnTo>
                          <a:pt x="1665923" y="234974"/>
                        </a:lnTo>
                        <a:lnTo>
                          <a:pt x="1665923" y="240682"/>
                        </a:lnTo>
                        <a:lnTo>
                          <a:pt x="1687830" y="240682"/>
                        </a:lnTo>
                        <a:lnTo>
                          <a:pt x="1687830" y="247341"/>
                        </a:lnTo>
                        <a:lnTo>
                          <a:pt x="1706880" y="247341"/>
                        </a:lnTo>
                        <a:lnTo>
                          <a:pt x="1706880" y="253049"/>
                        </a:lnTo>
                        <a:lnTo>
                          <a:pt x="1711643" y="253049"/>
                        </a:lnTo>
                        <a:lnTo>
                          <a:pt x="1711643" y="255903"/>
                        </a:lnTo>
                        <a:lnTo>
                          <a:pt x="2168843" y="255903"/>
                        </a:lnTo>
                        <a:lnTo>
                          <a:pt x="2168843" y="263513"/>
                        </a:lnTo>
                        <a:lnTo>
                          <a:pt x="2226945" y="263513"/>
                        </a:lnTo>
                        <a:lnTo>
                          <a:pt x="2226945" y="271124"/>
                        </a:lnTo>
                        <a:lnTo>
                          <a:pt x="2457450" y="271124"/>
                        </a:lnTo>
                        <a:lnTo>
                          <a:pt x="2457450" y="276831"/>
                        </a:lnTo>
                        <a:lnTo>
                          <a:pt x="2465070" y="276831"/>
                        </a:lnTo>
                        <a:lnTo>
                          <a:pt x="2465070" y="279685"/>
                        </a:lnTo>
                        <a:lnTo>
                          <a:pt x="2530793" y="279685"/>
                        </a:lnTo>
                        <a:lnTo>
                          <a:pt x="2530793" y="286345"/>
                        </a:lnTo>
                        <a:lnTo>
                          <a:pt x="2582228" y="286345"/>
                        </a:lnTo>
                        <a:lnTo>
                          <a:pt x="2582228" y="294906"/>
                        </a:lnTo>
                        <a:lnTo>
                          <a:pt x="2825115" y="294906"/>
                        </a:lnTo>
                        <a:lnTo>
                          <a:pt x="2825115" y="301566"/>
                        </a:lnTo>
                        <a:lnTo>
                          <a:pt x="3324225" y="301566"/>
                        </a:lnTo>
                        <a:lnTo>
                          <a:pt x="3324225" y="312981"/>
                        </a:lnTo>
                        <a:lnTo>
                          <a:pt x="3367088" y="312981"/>
                        </a:lnTo>
                        <a:lnTo>
                          <a:pt x="3367088" y="320592"/>
                        </a:lnTo>
                        <a:lnTo>
                          <a:pt x="3495675" y="320592"/>
                        </a:lnTo>
                        <a:lnTo>
                          <a:pt x="3495675" y="331056"/>
                        </a:lnTo>
                        <a:lnTo>
                          <a:pt x="3547110" y="331056"/>
                        </a:lnTo>
                        <a:lnTo>
                          <a:pt x="3547110" y="342472"/>
                        </a:lnTo>
                        <a:lnTo>
                          <a:pt x="3573780" y="342472"/>
                        </a:lnTo>
                        <a:lnTo>
                          <a:pt x="3573780" y="346277"/>
                        </a:lnTo>
                        <a:lnTo>
                          <a:pt x="3601403" y="346277"/>
                        </a:lnTo>
                        <a:lnTo>
                          <a:pt x="3601403" y="352936"/>
                        </a:lnTo>
                        <a:lnTo>
                          <a:pt x="3639503" y="352936"/>
                        </a:lnTo>
                        <a:lnTo>
                          <a:pt x="3639503" y="356742"/>
                        </a:lnTo>
                        <a:lnTo>
                          <a:pt x="3895725" y="356742"/>
                        </a:lnTo>
                        <a:lnTo>
                          <a:pt x="3895725" y="366255"/>
                        </a:lnTo>
                        <a:lnTo>
                          <a:pt x="4053840" y="366255"/>
                        </a:lnTo>
                        <a:lnTo>
                          <a:pt x="4053840" y="379573"/>
                        </a:lnTo>
                        <a:lnTo>
                          <a:pt x="4257675" y="379573"/>
                        </a:lnTo>
                        <a:lnTo>
                          <a:pt x="4257675" y="392891"/>
                        </a:lnTo>
                        <a:lnTo>
                          <a:pt x="4397693" y="392891"/>
                        </a:lnTo>
                        <a:lnTo>
                          <a:pt x="4397693" y="409064"/>
                        </a:lnTo>
                        <a:lnTo>
                          <a:pt x="4488180" y="409064"/>
                        </a:lnTo>
                        <a:lnTo>
                          <a:pt x="4488180" y="428090"/>
                        </a:lnTo>
                        <a:lnTo>
                          <a:pt x="4605338" y="428090"/>
                        </a:lnTo>
                        <a:lnTo>
                          <a:pt x="4605338" y="447116"/>
                        </a:lnTo>
                        <a:lnTo>
                          <a:pt x="4941570" y="447116"/>
                        </a:lnTo>
                        <a:lnTo>
                          <a:pt x="4941570" y="483266"/>
                        </a:lnTo>
                        <a:lnTo>
                          <a:pt x="5146358" y="483266"/>
                        </a:lnTo>
                        <a:lnTo>
                          <a:pt x="5146358" y="523221"/>
                        </a:lnTo>
                        <a:lnTo>
                          <a:pt x="5217795" y="523221"/>
                        </a:lnTo>
                        <a:lnTo>
                          <a:pt x="5217795" y="566030"/>
                        </a:lnTo>
                        <a:lnTo>
                          <a:pt x="5250180" y="566030"/>
                        </a:lnTo>
                        <a:lnTo>
                          <a:pt x="5250180" y="619303"/>
                        </a:lnTo>
                        <a:lnTo>
                          <a:pt x="5858828" y="619303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830051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82" name="Graphic 19">
                  <a:extLst>
                    <a:ext uri="{FF2B5EF4-FFF2-40B4-BE49-F238E27FC236}">
                      <a16:creationId xmlns:a16="http://schemas.microsoft.com/office/drawing/2014/main" id="{7AFC1691-1615-A7C1-0176-1E477BACBED8}"/>
                    </a:ext>
                  </a:extLst>
                </p:cNvPr>
                <p:cNvGrpSpPr/>
                <p:nvPr/>
              </p:nvGrpSpPr>
              <p:grpSpPr>
                <a:xfrm>
                  <a:off x="1050818" y="1058903"/>
                  <a:ext cx="7210894" cy="1240509"/>
                  <a:chOff x="9587548" y="-176399"/>
                  <a:chExt cx="5768340" cy="1240509"/>
                </a:xfrm>
                <a:noFill/>
              </p:grpSpPr>
              <p:sp>
                <p:nvSpPr>
                  <p:cNvPr id="83" name="Freeform 1172">
                    <a:extLst>
                      <a:ext uri="{FF2B5EF4-FFF2-40B4-BE49-F238E27FC236}">
                        <a16:creationId xmlns:a16="http://schemas.microsoft.com/office/drawing/2014/main" id="{E0D4616F-E9DB-02A4-6682-9F04B7C6F393}"/>
                      </a:ext>
                    </a:extLst>
                  </p:cNvPr>
                  <p:cNvSpPr/>
                  <p:nvPr/>
                </p:nvSpPr>
                <p:spPr>
                  <a:xfrm>
                    <a:off x="9620885" y="-144055"/>
                    <a:ext cx="5700712" cy="1178674"/>
                  </a:xfrm>
                  <a:custGeom>
                    <a:avLst/>
                    <a:gdLst>
                      <a:gd name="connsiteX0" fmla="*/ 0 w 5700712"/>
                      <a:gd name="connsiteY0" fmla="*/ 0 h 1178674"/>
                      <a:gd name="connsiteX1" fmla="*/ 60007 w 5700712"/>
                      <a:gd name="connsiteY1" fmla="*/ 0 h 1178674"/>
                      <a:gd name="connsiteX2" fmla="*/ 60007 w 5700712"/>
                      <a:gd name="connsiteY2" fmla="*/ 7610 h 1178674"/>
                      <a:gd name="connsiteX3" fmla="*/ 72390 w 5700712"/>
                      <a:gd name="connsiteY3" fmla="*/ 7610 h 1178674"/>
                      <a:gd name="connsiteX4" fmla="*/ 72390 w 5700712"/>
                      <a:gd name="connsiteY4" fmla="*/ 14270 h 1178674"/>
                      <a:gd name="connsiteX5" fmla="*/ 92392 w 5700712"/>
                      <a:gd name="connsiteY5" fmla="*/ 14270 h 1178674"/>
                      <a:gd name="connsiteX6" fmla="*/ 92392 w 5700712"/>
                      <a:gd name="connsiteY6" fmla="*/ 31393 h 1178674"/>
                      <a:gd name="connsiteX7" fmla="*/ 120967 w 5700712"/>
                      <a:gd name="connsiteY7" fmla="*/ 31393 h 1178674"/>
                      <a:gd name="connsiteX8" fmla="*/ 120967 w 5700712"/>
                      <a:gd name="connsiteY8" fmla="*/ 40906 h 1178674"/>
                      <a:gd name="connsiteX9" fmla="*/ 233363 w 5700712"/>
                      <a:gd name="connsiteY9" fmla="*/ 40906 h 1178674"/>
                      <a:gd name="connsiteX10" fmla="*/ 233363 w 5700712"/>
                      <a:gd name="connsiteY10" fmla="*/ 49468 h 1178674"/>
                      <a:gd name="connsiteX11" fmla="*/ 239077 w 5700712"/>
                      <a:gd name="connsiteY11" fmla="*/ 49468 h 1178674"/>
                      <a:gd name="connsiteX12" fmla="*/ 239077 w 5700712"/>
                      <a:gd name="connsiteY12" fmla="*/ 57079 h 1178674"/>
                      <a:gd name="connsiteX13" fmla="*/ 251460 w 5700712"/>
                      <a:gd name="connsiteY13" fmla="*/ 57079 h 1178674"/>
                      <a:gd name="connsiteX14" fmla="*/ 251460 w 5700712"/>
                      <a:gd name="connsiteY14" fmla="*/ 65640 h 1178674"/>
                      <a:gd name="connsiteX15" fmla="*/ 267653 w 5700712"/>
                      <a:gd name="connsiteY15" fmla="*/ 65640 h 1178674"/>
                      <a:gd name="connsiteX16" fmla="*/ 267653 w 5700712"/>
                      <a:gd name="connsiteY16" fmla="*/ 68494 h 1178674"/>
                      <a:gd name="connsiteX17" fmla="*/ 296228 w 5700712"/>
                      <a:gd name="connsiteY17" fmla="*/ 68494 h 1178674"/>
                      <a:gd name="connsiteX18" fmla="*/ 296228 w 5700712"/>
                      <a:gd name="connsiteY18" fmla="*/ 72300 h 1178674"/>
                      <a:gd name="connsiteX19" fmla="*/ 345757 w 5700712"/>
                      <a:gd name="connsiteY19" fmla="*/ 72300 h 1178674"/>
                      <a:gd name="connsiteX20" fmla="*/ 345757 w 5700712"/>
                      <a:gd name="connsiteY20" fmla="*/ 79910 h 1178674"/>
                      <a:gd name="connsiteX21" fmla="*/ 457200 w 5700712"/>
                      <a:gd name="connsiteY21" fmla="*/ 79910 h 1178674"/>
                      <a:gd name="connsiteX22" fmla="*/ 457200 w 5700712"/>
                      <a:gd name="connsiteY22" fmla="*/ 88472 h 1178674"/>
                      <a:gd name="connsiteX23" fmla="*/ 464820 w 5700712"/>
                      <a:gd name="connsiteY23" fmla="*/ 88472 h 1178674"/>
                      <a:gd name="connsiteX24" fmla="*/ 464820 w 5700712"/>
                      <a:gd name="connsiteY24" fmla="*/ 99888 h 1178674"/>
                      <a:gd name="connsiteX25" fmla="*/ 473392 w 5700712"/>
                      <a:gd name="connsiteY25" fmla="*/ 99888 h 1178674"/>
                      <a:gd name="connsiteX26" fmla="*/ 473392 w 5700712"/>
                      <a:gd name="connsiteY26" fmla="*/ 104644 h 1178674"/>
                      <a:gd name="connsiteX27" fmla="*/ 623887 w 5700712"/>
                      <a:gd name="connsiteY27" fmla="*/ 104644 h 1178674"/>
                      <a:gd name="connsiteX28" fmla="*/ 623887 w 5700712"/>
                      <a:gd name="connsiteY28" fmla="*/ 115109 h 1178674"/>
                      <a:gd name="connsiteX29" fmla="*/ 631507 w 5700712"/>
                      <a:gd name="connsiteY29" fmla="*/ 115109 h 1178674"/>
                      <a:gd name="connsiteX30" fmla="*/ 631507 w 5700712"/>
                      <a:gd name="connsiteY30" fmla="*/ 122719 h 1178674"/>
                      <a:gd name="connsiteX31" fmla="*/ 735330 w 5700712"/>
                      <a:gd name="connsiteY31" fmla="*/ 122719 h 1178674"/>
                      <a:gd name="connsiteX32" fmla="*/ 735330 w 5700712"/>
                      <a:gd name="connsiteY32" fmla="*/ 133184 h 1178674"/>
                      <a:gd name="connsiteX33" fmla="*/ 760095 w 5700712"/>
                      <a:gd name="connsiteY33" fmla="*/ 133184 h 1178674"/>
                      <a:gd name="connsiteX34" fmla="*/ 760095 w 5700712"/>
                      <a:gd name="connsiteY34" fmla="*/ 138891 h 1178674"/>
                      <a:gd name="connsiteX35" fmla="*/ 776287 w 5700712"/>
                      <a:gd name="connsiteY35" fmla="*/ 138891 h 1178674"/>
                      <a:gd name="connsiteX36" fmla="*/ 776287 w 5700712"/>
                      <a:gd name="connsiteY36" fmla="*/ 144599 h 1178674"/>
                      <a:gd name="connsiteX37" fmla="*/ 806768 w 5700712"/>
                      <a:gd name="connsiteY37" fmla="*/ 144599 h 1178674"/>
                      <a:gd name="connsiteX38" fmla="*/ 806768 w 5700712"/>
                      <a:gd name="connsiteY38" fmla="*/ 148404 h 1178674"/>
                      <a:gd name="connsiteX39" fmla="*/ 825818 w 5700712"/>
                      <a:gd name="connsiteY39" fmla="*/ 148404 h 1178674"/>
                      <a:gd name="connsiteX40" fmla="*/ 825818 w 5700712"/>
                      <a:gd name="connsiteY40" fmla="*/ 152210 h 1178674"/>
                      <a:gd name="connsiteX41" fmla="*/ 850582 w 5700712"/>
                      <a:gd name="connsiteY41" fmla="*/ 152210 h 1178674"/>
                      <a:gd name="connsiteX42" fmla="*/ 850582 w 5700712"/>
                      <a:gd name="connsiteY42" fmla="*/ 156015 h 1178674"/>
                      <a:gd name="connsiteX43" fmla="*/ 855345 w 5700712"/>
                      <a:gd name="connsiteY43" fmla="*/ 156015 h 1178674"/>
                      <a:gd name="connsiteX44" fmla="*/ 855345 w 5700712"/>
                      <a:gd name="connsiteY44" fmla="*/ 173139 h 1178674"/>
                      <a:gd name="connsiteX45" fmla="*/ 882015 w 5700712"/>
                      <a:gd name="connsiteY45" fmla="*/ 173139 h 1178674"/>
                      <a:gd name="connsiteX46" fmla="*/ 882015 w 5700712"/>
                      <a:gd name="connsiteY46" fmla="*/ 190262 h 1178674"/>
                      <a:gd name="connsiteX47" fmla="*/ 922020 w 5700712"/>
                      <a:gd name="connsiteY47" fmla="*/ 190262 h 1178674"/>
                      <a:gd name="connsiteX48" fmla="*/ 922020 w 5700712"/>
                      <a:gd name="connsiteY48" fmla="*/ 210240 h 1178674"/>
                      <a:gd name="connsiteX49" fmla="*/ 974407 w 5700712"/>
                      <a:gd name="connsiteY49" fmla="*/ 210240 h 1178674"/>
                      <a:gd name="connsiteX50" fmla="*/ 974407 w 5700712"/>
                      <a:gd name="connsiteY50" fmla="*/ 214045 h 1178674"/>
                      <a:gd name="connsiteX51" fmla="*/ 1002982 w 5700712"/>
                      <a:gd name="connsiteY51" fmla="*/ 214045 h 1178674"/>
                      <a:gd name="connsiteX52" fmla="*/ 1002982 w 5700712"/>
                      <a:gd name="connsiteY52" fmla="*/ 217850 h 1178674"/>
                      <a:gd name="connsiteX53" fmla="*/ 1118235 w 5700712"/>
                      <a:gd name="connsiteY53" fmla="*/ 217850 h 1178674"/>
                      <a:gd name="connsiteX54" fmla="*/ 1118235 w 5700712"/>
                      <a:gd name="connsiteY54" fmla="*/ 234022 h 1178674"/>
                      <a:gd name="connsiteX55" fmla="*/ 1195387 w 5700712"/>
                      <a:gd name="connsiteY55" fmla="*/ 234022 h 1178674"/>
                      <a:gd name="connsiteX56" fmla="*/ 1195387 w 5700712"/>
                      <a:gd name="connsiteY56" fmla="*/ 243536 h 1178674"/>
                      <a:gd name="connsiteX57" fmla="*/ 1345883 w 5700712"/>
                      <a:gd name="connsiteY57" fmla="*/ 243536 h 1178674"/>
                      <a:gd name="connsiteX58" fmla="*/ 1345883 w 5700712"/>
                      <a:gd name="connsiteY58" fmla="*/ 252097 h 1178674"/>
                      <a:gd name="connsiteX59" fmla="*/ 1369695 w 5700712"/>
                      <a:gd name="connsiteY59" fmla="*/ 252097 h 1178674"/>
                      <a:gd name="connsiteX60" fmla="*/ 1369695 w 5700712"/>
                      <a:gd name="connsiteY60" fmla="*/ 255903 h 1178674"/>
                      <a:gd name="connsiteX61" fmla="*/ 1388745 w 5700712"/>
                      <a:gd name="connsiteY61" fmla="*/ 255903 h 1178674"/>
                      <a:gd name="connsiteX62" fmla="*/ 1388745 w 5700712"/>
                      <a:gd name="connsiteY62" fmla="*/ 266367 h 1178674"/>
                      <a:gd name="connsiteX63" fmla="*/ 1417320 w 5700712"/>
                      <a:gd name="connsiteY63" fmla="*/ 266367 h 1178674"/>
                      <a:gd name="connsiteX64" fmla="*/ 1417320 w 5700712"/>
                      <a:gd name="connsiteY64" fmla="*/ 271124 h 1178674"/>
                      <a:gd name="connsiteX65" fmla="*/ 1473518 w 5700712"/>
                      <a:gd name="connsiteY65" fmla="*/ 271124 h 1178674"/>
                      <a:gd name="connsiteX66" fmla="*/ 1473518 w 5700712"/>
                      <a:gd name="connsiteY66" fmla="*/ 283491 h 1178674"/>
                      <a:gd name="connsiteX67" fmla="*/ 1485900 w 5700712"/>
                      <a:gd name="connsiteY67" fmla="*/ 283491 h 1178674"/>
                      <a:gd name="connsiteX68" fmla="*/ 1485900 w 5700712"/>
                      <a:gd name="connsiteY68" fmla="*/ 290150 h 1178674"/>
                      <a:gd name="connsiteX69" fmla="*/ 1504950 w 5700712"/>
                      <a:gd name="connsiteY69" fmla="*/ 290150 h 1178674"/>
                      <a:gd name="connsiteX70" fmla="*/ 1504950 w 5700712"/>
                      <a:gd name="connsiteY70" fmla="*/ 296809 h 1178674"/>
                      <a:gd name="connsiteX71" fmla="*/ 1594485 w 5700712"/>
                      <a:gd name="connsiteY71" fmla="*/ 296809 h 1178674"/>
                      <a:gd name="connsiteX72" fmla="*/ 1594485 w 5700712"/>
                      <a:gd name="connsiteY72" fmla="*/ 304420 h 1178674"/>
                      <a:gd name="connsiteX73" fmla="*/ 1605915 w 5700712"/>
                      <a:gd name="connsiteY73" fmla="*/ 304420 h 1178674"/>
                      <a:gd name="connsiteX74" fmla="*/ 1605915 w 5700712"/>
                      <a:gd name="connsiteY74" fmla="*/ 310127 h 1178674"/>
                      <a:gd name="connsiteX75" fmla="*/ 1664970 w 5700712"/>
                      <a:gd name="connsiteY75" fmla="*/ 310127 h 1178674"/>
                      <a:gd name="connsiteX76" fmla="*/ 1664970 w 5700712"/>
                      <a:gd name="connsiteY76" fmla="*/ 315835 h 1178674"/>
                      <a:gd name="connsiteX77" fmla="*/ 1687830 w 5700712"/>
                      <a:gd name="connsiteY77" fmla="*/ 315835 h 1178674"/>
                      <a:gd name="connsiteX78" fmla="*/ 1700212 w 5700712"/>
                      <a:gd name="connsiteY78" fmla="*/ 315835 h 1178674"/>
                      <a:gd name="connsiteX79" fmla="*/ 1700212 w 5700712"/>
                      <a:gd name="connsiteY79" fmla="*/ 325348 h 1178674"/>
                      <a:gd name="connsiteX80" fmla="*/ 1755458 w 5700712"/>
                      <a:gd name="connsiteY80" fmla="*/ 325348 h 1178674"/>
                      <a:gd name="connsiteX81" fmla="*/ 1755458 w 5700712"/>
                      <a:gd name="connsiteY81" fmla="*/ 332007 h 1178674"/>
                      <a:gd name="connsiteX82" fmla="*/ 1764983 w 5700712"/>
                      <a:gd name="connsiteY82" fmla="*/ 332007 h 1178674"/>
                      <a:gd name="connsiteX83" fmla="*/ 1764983 w 5700712"/>
                      <a:gd name="connsiteY83" fmla="*/ 336764 h 1178674"/>
                      <a:gd name="connsiteX84" fmla="*/ 1871662 w 5700712"/>
                      <a:gd name="connsiteY84" fmla="*/ 336764 h 1178674"/>
                      <a:gd name="connsiteX85" fmla="*/ 1871662 w 5700712"/>
                      <a:gd name="connsiteY85" fmla="*/ 362449 h 1178674"/>
                      <a:gd name="connsiteX86" fmla="*/ 1908810 w 5700712"/>
                      <a:gd name="connsiteY86" fmla="*/ 362449 h 1178674"/>
                      <a:gd name="connsiteX87" fmla="*/ 1908810 w 5700712"/>
                      <a:gd name="connsiteY87" fmla="*/ 372914 h 1178674"/>
                      <a:gd name="connsiteX88" fmla="*/ 2130743 w 5700712"/>
                      <a:gd name="connsiteY88" fmla="*/ 372914 h 1178674"/>
                      <a:gd name="connsiteX89" fmla="*/ 2130743 w 5700712"/>
                      <a:gd name="connsiteY89" fmla="*/ 380524 h 1178674"/>
                      <a:gd name="connsiteX90" fmla="*/ 2154555 w 5700712"/>
                      <a:gd name="connsiteY90" fmla="*/ 380524 h 1178674"/>
                      <a:gd name="connsiteX91" fmla="*/ 2154555 w 5700712"/>
                      <a:gd name="connsiteY91" fmla="*/ 386232 h 1178674"/>
                      <a:gd name="connsiteX92" fmla="*/ 2166938 w 5700712"/>
                      <a:gd name="connsiteY92" fmla="*/ 386232 h 1178674"/>
                      <a:gd name="connsiteX93" fmla="*/ 2166938 w 5700712"/>
                      <a:gd name="connsiteY93" fmla="*/ 401453 h 1178674"/>
                      <a:gd name="connsiteX94" fmla="*/ 2193608 w 5700712"/>
                      <a:gd name="connsiteY94" fmla="*/ 401453 h 1178674"/>
                      <a:gd name="connsiteX95" fmla="*/ 2193608 w 5700712"/>
                      <a:gd name="connsiteY95" fmla="*/ 412869 h 1178674"/>
                      <a:gd name="connsiteX96" fmla="*/ 2272665 w 5700712"/>
                      <a:gd name="connsiteY96" fmla="*/ 412869 h 1178674"/>
                      <a:gd name="connsiteX97" fmla="*/ 2272665 w 5700712"/>
                      <a:gd name="connsiteY97" fmla="*/ 422382 h 1178674"/>
                      <a:gd name="connsiteX98" fmla="*/ 2300288 w 5700712"/>
                      <a:gd name="connsiteY98" fmla="*/ 422382 h 1178674"/>
                      <a:gd name="connsiteX99" fmla="*/ 2300288 w 5700712"/>
                      <a:gd name="connsiteY99" fmla="*/ 432846 h 1178674"/>
                      <a:gd name="connsiteX100" fmla="*/ 2390775 w 5700712"/>
                      <a:gd name="connsiteY100" fmla="*/ 432846 h 1178674"/>
                      <a:gd name="connsiteX101" fmla="*/ 2390775 w 5700712"/>
                      <a:gd name="connsiteY101" fmla="*/ 441408 h 1178674"/>
                      <a:gd name="connsiteX102" fmla="*/ 2486978 w 5700712"/>
                      <a:gd name="connsiteY102" fmla="*/ 441408 h 1178674"/>
                      <a:gd name="connsiteX103" fmla="*/ 2486978 w 5700712"/>
                      <a:gd name="connsiteY103" fmla="*/ 456629 h 1178674"/>
                      <a:gd name="connsiteX104" fmla="*/ 2498408 w 5700712"/>
                      <a:gd name="connsiteY104" fmla="*/ 456629 h 1178674"/>
                      <a:gd name="connsiteX105" fmla="*/ 2498408 w 5700712"/>
                      <a:gd name="connsiteY105" fmla="*/ 470899 h 1178674"/>
                      <a:gd name="connsiteX106" fmla="*/ 2574608 w 5700712"/>
                      <a:gd name="connsiteY106" fmla="*/ 470899 h 1178674"/>
                      <a:gd name="connsiteX107" fmla="*/ 2574608 w 5700712"/>
                      <a:gd name="connsiteY107" fmla="*/ 477558 h 1178674"/>
                      <a:gd name="connsiteX108" fmla="*/ 2608897 w 5700712"/>
                      <a:gd name="connsiteY108" fmla="*/ 477558 h 1178674"/>
                      <a:gd name="connsiteX109" fmla="*/ 2608897 w 5700712"/>
                      <a:gd name="connsiteY109" fmla="*/ 491828 h 1178674"/>
                      <a:gd name="connsiteX110" fmla="*/ 2615565 w 5700712"/>
                      <a:gd name="connsiteY110" fmla="*/ 491828 h 1178674"/>
                      <a:gd name="connsiteX111" fmla="*/ 2615565 w 5700712"/>
                      <a:gd name="connsiteY111" fmla="*/ 502292 h 1178674"/>
                      <a:gd name="connsiteX112" fmla="*/ 2668905 w 5700712"/>
                      <a:gd name="connsiteY112" fmla="*/ 502292 h 1178674"/>
                      <a:gd name="connsiteX113" fmla="*/ 2668905 w 5700712"/>
                      <a:gd name="connsiteY113" fmla="*/ 508951 h 1178674"/>
                      <a:gd name="connsiteX114" fmla="*/ 2720340 w 5700712"/>
                      <a:gd name="connsiteY114" fmla="*/ 508951 h 1178674"/>
                      <a:gd name="connsiteX115" fmla="*/ 2720340 w 5700712"/>
                      <a:gd name="connsiteY115" fmla="*/ 521318 h 1178674"/>
                      <a:gd name="connsiteX116" fmla="*/ 2808922 w 5700712"/>
                      <a:gd name="connsiteY116" fmla="*/ 521318 h 1178674"/>
                      <a:gd name="connsiteX117" fmla="*/ 2808922 w 5700712"/>
                      <a:gd name="connsiteY117" fmla="*/ 529880 h 1178674"/>
                      <a:gd name="connsiteX118" fmla="*/ 2816543 w 5700712"/>
                      <a:gd name="connsiteY118" fmla="*/ 529880 h 1178674"/>
                      <a:gd name="connsiteX119" fmla="*/ 2816543 w 5700712"/>
                      <a:gd name="connsiteY119" fmla="*/ 541296 h 1178674"/>
                      <a:gd name="connsiteX120" fmla="*/ 2996565 w 5700712"/>
                      <a:gd name="connsiteY120" fmla="*/ 541296 h 1178674"/>
                      <a:gd name="connsiteX121" fmla="*/ 2996565 w 5700712"/>
                      <a:gd name="connsiteY121" fmla="*/ 549858 h 1178674"/>
                      <a:gd name="connsiteX122" fmla="*/ 3022283 w 5700712"/>
                      <a:gd name="connsiteY122" fmla="*/ 549858 h 1178674"/>
                      <a:gd name="connsiteX123" fmla="*/ 3022283 w 5700712"/>
                      <a:gd name="connsiteY123" fmla="*/ 559371 h 1178674"/>
                      <a:gd name="connsiteX124" fmla="*/ 3063240 w 5700712"/>
                      <a:gd name="connsiteY124" fmla="*/ 559371 h 1178674"/>
                      <a:gd name="connsiteX125" fmla="*/ 3063240 w 5700712"/>
                      <a:gd name="connsiteY125" fmla="*/ 571738 h 1178674"/>
                      <a:gd name="connsiteX126" fmla="*/ 3228975 w 5700712"/>
                      <a:gd name="connsiteY126" fmla="*/ 571738 h 1178674"/>
                      <a:gd name="connsiteX127" fmla="*/ 3228975 w 5700712"/>
                      <a:gd name="connsiteY127" fmla="*/ 582202 h 1178674"/>
                      <a:gd name="connsiteX128" fmla="*/ 3272790 w 5700712"/>
                      <a:gd name="connsiteY128" fmla="*/ 582202 h 1178674"/>
                      <a:gd name="connsiteX129" fmla="*/ 3272790 w 5700712"/>
                      <a:gd name="connsiteY129" fmla="*/ 588861 h 1178674"/>
                      <a:gd name="connsiteX130" fmla="*/ 3312795 w 5700712"/>
                      <a:gd name="connsiteY130" fmla="*/ 588861 h 1178674"/>
                      <a:gd name="connsiteX131" fmla="*/ 3312795 w 5700712"/>
                      <a:gd name="connsiteY131" fmla="*/ 601229 h 1178674"/>
                      <a:gd name="connsiteX132" fmla="*/ 3361372 w 5700712"/>
                      <a:gd name="connsiteY132" fmla="*/ 601229 h 1178674"/>
                      <a:gd name="connsiteX133" fmla="*/ 3361372 w 5700712"/>
                      <a:gd name="connsiteY133" fmla="*/ 608839 h 1178674"/>
                      <a:gd name="connsiteX134" fmla="*/ 3469005 w 5700712"/>
                      <a:gd name="connsiteY134" fmla="*/ 608839 h 1178674"/>
                      <a:gd name="connsiteX135" fmla="*/ 3469005 w 5700712"/>
                      <a:gd name="connsiteY135" fmla="*/ 629768 h 1178674"/>
                      <a:gd name="connsiteX136" fmla="*/ 3523297 w 5700712"/>
                      <a:gd name="connsiteY136" fmla="*/ 629768 h 1178674"/>
                      <a:gd name="connsiteX137" fmla="*/ 3523297 w 5700712"/>
                      <a:gd name="connsiteY137" fmla="*/ 641184 h 1178674"/>
                      <a:gd name="connsiteX138" fmla="*/ 3547110 w 5700712"/>
                      <a:gd name="connsiteY138" fmla="*/ 641184 h 1178674"/>
                      <a:gd name="connsiteX139" fmla="*/ 3547110 w 5700712"/>
                      <a:gd name="connsiteY139" fmla="*/ 654502 h 1178674"/>
                      <a:gd name="connsiteX140" fmla="*/ 3561397 w 5700712"/>
                      <a:gd name="connsiteY140" fmla="*/ 654502 h 1178674"/>
                      <a:gd name="connsiteX141" fmla="*/ 3561397 w 5700712"/>
                      <a:gd name="connsiteY141" fmla="*/ 667820 h 1178674"/>
                      <a:gd name="connsiteX142" fmla="*/ 3571875 w 5700712"/>
                      <a:gd name="connsiteY142" fmla="*/ 667820 h 1178674"/>
                      <a:gd name="connsiteX143" fmla="*/ 3571875 w 5700712"/>
                      <a:gd name="connsiteY143" fmla="*/ 679236 h 1178674"/>
                      <a:gd name="connsiteX144" fmla="*/ 3594735 w 5700712"/>
                      <a:gd name="connsiteY144" fmla="*/ 679236 h 1178674"/>
                      <a:gd name="connsiteX145" fmla="*/ 3594735 w 5700712"/>
                      <a:gd name="connsiteY145" fmla="*/ 690652 h 1178674"/>
                      <a:gd name="connsiteX146" fmla="*/ 3609022 w 5700712"/>
                      <a:gd name="connsiteY146" fmla="*/ 690652 h 1178674"/>
                      <a:gd name="connsiteX147" fmla="*/ 3609022 w 5700712"/>
                      <a:gd name="connsiteY147" fmla="*/ 699213 h 1178674"/>
                      <a:gd name="connsiteX148" fmla="*/ 3632835 w 5700712"/>
                      <a:gd name="connsiteY148" fmla="*/ 699213 h 1178674"/>
                      <a:gd name="connsiteX149" fmla="*/ 3632835 w 5700712"/>
                      <a:gd name="connsiteY149" fmla="*/ 706824 h 1178674"/>
                      <a:gd name="connsiteX150" fmla="*/ 3830003 w 5700712"/>
                      <a:gd name="connsiteY150" fmla="*/ 706824 h 1178674"/>
                      <a:gd name="connsiteX151" fmla="*/ 3830003 w 5700712"/>
                      <a:gd name="connsiteY151" fmla="*/ 717288 h 1178674"/>
                      <a:gd name="connsiteX152" fmla="*/ 3872865 w 5700712"/>
                      <a:gd name="connsiteY152" fmla="*/ 717288 h 1178674"/>
                      <a:gd name="connsiteX153" fmla="*/ 3872865 w 5700712"/>
                      <a:gd name="connsiteY153" fmla="*/ 732509 h 1178674"/>
                      <a:gd name="connsiteX154" fmla="*/ 4069080 w 5700712"/>
                      <a:gd name="connsiteY154" fmla="*/ 732509 h 1178674"/>
                      <a:gd name="connsiteX155" fmla="*/ 4069080 w 5700712"/>
                      <a:gd name="connsiteY155" fmla="*/ 761049 h 1178674"/>
                      <a:gd name="connsiteX156" fmla="*/ 4079558 w 5700712"/>
                      <a:gd name="connsiteY156" fmla="*/ 761049 h 1178674"/>
                      <a:gd name="connsiteX157" fmla="*/ 4079558 w 5700712"/>
                      <a:gd name="connsiteY157" fmla="*/ 781978 h 1178674"/>
                      <a:gd name="connsiteX158" fmla="*/ 4164330 w 5700712"/>
                      <a:gd name="connsiteY158" fmla="*/ 781978 h 1178674"/>
                      <a:gd name="connsiteX159" fmla="*/ 4164330 w 5700712"/>
                      <a:gd name="connsiteY159" fmla="*/ 801004 h 1178674"/>
                      <a:gd name="connsiteX160" fmla="*/ 4175760 w 5700712"/>
                      <a:gd name="connsiteY160" fmla="*/ 801004 h 1178674"/>
                      <a:gd name="connsiteX161" fmla="*/ 4175760 w 5700712"/>
                      <a:gd name="connsiteY161" fmla="*/ 814322 h 1178674"/>
                      <a:gd name="connsiteX162" fmla="*/ 4272915 w 5700712"/>
                      <a:gd name="connsiteY162" fmla="*/ 814322 h 1178674"/>
                      <a:gd name="connsiteX163" fmla="*/ 4272915 w 5700712"/>
                      <a:gd name="connsiteY163" fmla="*/ 835251 h 1178674"/>
                      <a:gd name="connsiteX164" fmla="*/ 4362450 w 5700712"/>
                      <a:gd name="connsiteY164" fmla="*/ 835251 h 1178674"/>
                      <a:gd name="connsiteX165" fmla="*/ 4362450 w 5700712"/>
                      <a:gd name="connsiteY165" fmla="*/ 879963 h 1178674"/>
                      <a:gd name="connsiteX166" fmla="*/ 4389120 w 5700712"/>
                      <a:gd name="connsiteY166" fmla="*/ 879963 h 1178674"/>
                      <a:gd name="connsiteX167" fmla="*/ 4389120 w 5700712"/>
                      <a:gd name="connsiteY167" fmla="*/ 893281 h 1178674"/>
                      <a:gd name="connsiteX168" fmla="*/ 4394835 w 5700712"/>
                      <a:gd name="connsiteY168" fmla="*/ 893281 h 1178674"/>
                      <a:gd name="connsiteX169" fmla="*/ 4394835 w 5700712"/>
                      <a:gd name="connsiteY169" fmla="*/ 920869 h 1178674"/>
                      <a:gd name="connsiteX170" fmla="*/ 4438650 w 5700712"/>
                      <a:gd name="connsiteY170" fmla="*/ 920869 h 1178674"/>
                      <a:gd name="connsiteX171" fmla="*/ 4438650 w 5700712"/>
                      <a:gd name="connsiteY171" fmla="*/ 944652 h 1178674"/>
                      <a:gd name="connsiteX172" fmla="*/ 4504373 w 5700712"/>
                      <a:gd name="connsiteY172" fmla="*/ 944652 h 1178674"/>
                      <a:gd name="connsiteX173" fmla="*/ 4504373 w 5700712"/>
                      <a:gd name="connsiteY173" fmla="*/ 978899 h 1178674"/>
                      <a:gd name="connsiteX174" fmla="*/ 4690110 w 5700712"/>
                      <a:gd name="connsiteY174" fmla="*/ 978899 h 1178674"/>
                      <a:gd name="connsiteX175" fmla="*/ 4690110 w 5700712"/>
                      <a:gd name="connsiteY175" fmla="*/ 1008390 h 1178674"/>
                      <a:gd name="connsiteX176" fmla="*/ 4740593 w 5700712"/>
                      <a:gd name="connsiteY176" fmla="*/ 1008390 h 1178674"/>
                      <a:gd name="connsiteX177" fmla="*/ 4740593 w 5700712"/>
                      <a:gd name="connsiteY177" fmla="*/ 1039783 h 1178674"/>
                      <a:gd name="connsiteX178" fmla="*/ 4826318 w 5700712"/>
                      <a:gd name="connsiteY178" fmla="*/ 1039783 h 1178674"/>
                      <a:gd name="connsiteX179" fmla="*/ 4826318 w 5700712"/>
                      <a:gd name="connsiteY179" fmla="*/ 1074981 h 1178674"/>
                      <a:gd name="connsiteX180" fmla="*/ 4948238 w 5700712"/>
                      <a:gd name="connsiteY180" fmla="*/ 1074981 h 1178674"/>
                      <a:gd name="connsiteX181" fmla="*/ 4948238 w 5700712"/>
                      <a:gd name="connsiteY181" fmla="*/ 1115888 h 1178674"/>
                      <a:gd name="connsiteX182" fmla="*/ 4995863 w 5700712"/>
                      <a:gd name="connsiteY182" fmla="*/ 1115888 h 1178674"/>
                      <a:gd name="connsiteX183" fmla="*/ 4995863 w 5700712"/>
                      <a:gd name="connsiteY183" fmla="*/ 1178674 h 1178674"/>
                      <a:gd name="connsiteX184" fmla="*/ 5700713 w 5700712"/>
                      <a:gd name="connsiteY184" fmla="*/ 1178674 h 117867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  <a:cxn ang="0">
                        <a:pos x="connsiteX28" y="connsiteY28"/>
                      </a:cxn>
                      <a:cxn ang="0">
                        <a:pos x="connsiteX29" y="connsiteY29"/>
                      </a:cxn>
                      <a:cxn ang="0">
                        <a:pos x="connsiteX30" y="connsiteY30"/>
                      </a:cxn>
                      <a:cxn ang="0">
                        <a:pos x="connsiteX31" y="connsiteY31"/>
                      </a:cxn>
                      <a:cxn ang="0">
                        <a:pos x="connsiteX32" y="connsiteY32"/>
                      </a:cxn>
                      <a:cxn ang="0">
                        <a:pos x="connsiteX33" y="connsiteY33"/>
                      </a:cxn>
                      <a:cxn ang="0">
                        <a:pos x="connsiteX34" y="connsiteY34"/>
                      </a:cxn>
                      <a:cxn ang="0">
                        <a:pos x="connsiteX35" y="connsiteY35"/>
                      </a:cxn>
                      <a:cxn ang="0">
                        <a:pos x="connsiteX36" y="connsiteY36"/>
                      </a:cxn>
                      <a:cxn ang="0">
                        <a:pos x="connsiteX37" y="connsiteY37"/>
                      </a:cxn>
                      <a:cxn ang="0">
                        <a:pos x="connsiteX38" y="connsiteY38"/>
                      </a:cxn>
                      <a:cxn ang="0">
                        <a:pos x="connsiteX39" y="connsiteY39"/>
                      </a:cxn>
                      <a:cxn ang="0">
                        <a:pos x="connsiteX40" y="connsiteY40"/>
                      </a:cxn>
                      <a:cxn ang="0">
                        <a:pos x="connsiteX41" y="connsiteY41"/>
                      </a:cxn>
                      <a:cxn ang="0">
                        <a:pos x="connsiteX42" y="connsiteY42"/>
                      </a:cxn>
                      <a:cxn ang="0">
                        <a:pos x="connsiteX43" y="connsiteY43"/>
                      </a:cxn>
                      <a:cxn ang="0">
                        <a:pos x="connsiteX44" y="connsiteY44"/>
                      </a:cxn>
                      <a:cxn ang="0">
                        <a:pos x="connsiteX45" y="connsiteY45"/>
                      </a:cxn>
                      <a:cxn ang="0">
                        <a:pos x="connsiteX46" y="connsiteY46"/>
                      </a:cxn>
                      <a:cxn ang="0">
                        <a:pos x="connsiteX47" y="connsiteY47"/>
                      </a:cxn>
                      <a:cxn ang="0">
                        <a:pos x="connsiteX48" y="connsiteY48"/>
                      </a:cxn>
                      <a:cxn ang="0">
                        <a:pos x="connsiteX49" y="connsiteY49"/>
                      </a:cxn>
                      <a:cxn ang="0">
                        <a:pos x="connsiteX50" y="connsiteY50"/>
                      </a:cxn>
                      <a:cxn ang="0">
                        <a:pos x="connsiteX51" y="connsiteY51"/>
                      </a:cxn>
                      <a:cxn ang="0">
                        <a:pos x="connsiteX52" y="connsiteY52"/>
                      </a:cxn>
                      <a:cxn ang="0">
                        <a:pos x="connsiteX53" y="connsiteY53"/>
                      </a:cxn>
                      <a:cxn ang="0">
                        <a:pos x="connsiteX54" y="connsiteY54"/>
                      </a:cxn>
                      <a:cxn ang="0">
                        <a:pos x="connsiteX55" y="connsiteY55"/>
                      </a:cxn>
                      <a:cxn ang="0">
                        <a:pos x="connsiteX56" y="connsiteY56"/>
                      </a:cxn>
                      <a:cxn ang="0">
                        <a:pos x="connsiteX57" y="connsiteY57"/>
                      </a:cxn>
                      <a:cxn ang="0">
                        <a:pos x="connsiteX58" y="connsiteY58"/>
                      </a:cxn>
                      <a:cxn ang="0">
                        <a:pos x="connsiteX59" y="connsiteY59"/>
                      </a:cxn>
                      <a:cxn ang="0">
                        <a:pos x="connsiteX60" y="connsiteY60"/>
                      </a:cxn>
                      <a:cxn ang="0">
                        <a:pos x="connsiteX61" y="connsiteY61"/>
                      </a:cxn>
                      <a:cxn ang="0">
                        <a:pos x="connsiteX62" y="connsiteY62"/>
                      </a:cxn>
                      <a:cxn ang="0">
                        <a:pos x="connsiteX63" y="connsiteY63"/>
                      </a:cxn>
                      <a:cxn ang="0">
                        <a:pos x="connsiteX64" y="connsiteY64"/>
                      </a:cxn>
                      <a:cxn ang="0">
                        <a:pos x="connsiteX65" y="connsiteY65"/>
                      </a:cxn>
                      <a:cxn ang="0">
                        <a:pos x="connsiteX66" y="connsiteY66"/>
                      </a:cxn>
                      <a:cxn ang="0">
                        <a:pos x="connsiteX67" y="connsiteY67"/>
                      </a:cxn>
                      <a:cxn ang="0">
                        <a:pos x="connsiteX68" y="connsiteY68"/>
                      </a:cxn>
                      <a:cxn ang="0">
                        <a:pos x="connsiteX69" y="connsiteY69"/>
                      </a:cxn>
                      <a:cxn ang="0">
                        <a:pos x="connsiteX70" y="connsiteY70"/>
                      </a:cxn>
                      <a:cxn ang="0">
                        <a:pos x="connsiteX71" y="connsiteY71"/>
                      </a:cxn>
                      <a:cxn ang="0">
                        <a:pos x="connsiteX72" y="connsiteY72"/>
                      </a:cxn>
                      <a:cxn ang="0">
                        <a:pos x="connsiteX73" y="connsiteY73"/>
                      </a:cxn>
                      <a:cxn ang="0">
                        <a:pos x="connsiteX74" y="connsiteY74"/>
                      </a:cxn>
                      <a:cxn ang="0">
                        <a:pos x="connsiteX75" y="connsiteY75"/>
                      </a:cxn>
                      <a:cxn ang="0">
                        <a:pos x="connsiteX76" y="connsiteY76"/>
                      </a:cxn>
                      <a:cxn ang="0">
                        <a:pos x="connsiteX77" y="connsiteY77"/>
                      </a:cxn>
                      <a:cxn ang="0">
                        <a:pos x="connsiteX78" y="connsiteY78"/>
                      </a:cxn>
                      <a:cxn ang="0">
                        <a:pos x="connsiteX79" y="connsiteY79"/>
                      </a:cxn>
                      <a:cxn ang="0">
                        <a:pos x="connsiteX80" y="connsiteY80"/>
                      </a:cxn>
                      <a:cxn ang="0">
                        <a:pos x="connsiteX81" y="connsiteY81"/>
                      </a:cxn>
                      <a:cxn ang="0">
                        <a:pos x="connsiteX82" y="connsiteY82"/>
                      </a:cxn>
                      <a:cxn ang="0">
                        <a:pos x="connsiteX83" y="connsiteY83"/>
                      </a:cxn>
                      <a:cxn ang="0">
                        <a:pos x="connsiteX84" y="connsiteY84"/>
                      </a:cxn>
                      <a:cxn ang="0">
                        <a:pos x="connsiteX85" y="connsiteY85"/>
                      </a:cxn>
                      <a:cxn ang="0">
                        <a:pos x="connsiteX86" y="connsiteY86"/>
                      </a:cxn>
                      <a:cxn ang="0">
                        <a:pos x="connsiteX87" y="connsiteY87"/>
                      </a:cxn>
                      <a:cxn ang="0">
                        <a:pos x="connsiteX88" y="connsiteY88"/>
                      </a:cxn>
                      <a:cxn ang="0">
                        <a:pos x="connsiteX89" y="connsiteY89"/>
                      </a:cxn>
                      <a:cxn ang="0">
                        <a:pos x="connsiteX90" y="connsiteY90"/>
                      </a:cxn>
                      <a:cxn ang="0">
                        <a:pos x="connsiteX91" y="connsiteY91"/>
                      </a:cxn>
                      <a:cxn ang="0">
                        <a:pos x="connsiteX92" y="connsiteY92"/>
                      </a:cxn>
                      <a:cxn ang="0">
                        <a:pos x="connsiteX93" y="connsiteY93"/>
                      </a:cxn>
                      <a:cxn ang="0">
                        <a:pos x="connsiteX94" y="connsiteY94"/>
                      </a:cxn>
                      <a:cxn ang="0">
                        <a:pos x="connsiteX95" y="connsiteY95"/>
                      </a:cxn>
                      <a:cxn ang="0">
                        <a:pos x="connsiteX96" y="connsiteY96"/>
                      </a:cxn>
                      <a:cxn ang="0">
                        <a:pos x="connsiteX97" y="connsiteY97"/>
                      </a:cxn>
                      <a:cxn ang="0">
                        <a:pos x="connsiteX98" y="connsiteY98"/>
                      </a:cxn>
                      <a:cxn ang="0">
                        <a:pos x="connsiteX99" y="connsiteY99"/>
                      </a:cxn>
                      <a:cxn ang="0">
                        <a:pos x="connsiteX100" y="connsiteY100"/>
                      </a:cxn>
                      <a:cxn ang="0">
                        <a:pos x="connsiteX101" y="connsiteY101"/>
                      </a:cxn>
                      <a:cxn ang="0">
                        <a:pos x="connsiteX102" y="connsiteY102"/>
                      </a:cxn>
                      <a:cxn ang="0">
                        <a:pos x="connsiteX103" y="connsiteY103"/>
                      </a:cxn>
                      <a:cxn ang="0">
                        <a:pos x="connsiteX104" y="connsiteY104"/>
                      </a:cxn>
                      <a:cxn ang="0">
                        <a:pos x="connsiteX105" y="connsiteY105"/>
                      </a:cxn>
                      <a:cxn ang="0">
                        <a:pos x="connsiteX106" y="connsiteY106"/>
                      </a:cxn>
                      <a:cxn ang="0">
                        <a:pos x="connsiteX107" y="connsiteY107"/>
                      </a:cxn>
                      <a:cxn ang="0">
                        <a:pos x="connsiteX108" y="connsiteY108"/>
                      </a:cxn>
                      <a:cxn ang="0">
                        <a:pos x="connsiteX109" y="connsiteY109"/>
                      </a:cxn>
                      <a:cxn ang="0">
                        <a:pos x="connsiteX110" y="connsiteY110"/>
                      </a:cxn>
                      <a:cxn ang="0">
                        <a:pos x="connsiteX111" y="connsiteY111"/>
                      </a:cxn>
                      <a:cxn ang="0">
                        <a:pos x="connsiteX112" y="connsiteY112"/>
                      </a:cxn>
                      <a:cxn ang="0">
                        <a:pos x="connsiteX113" y="connsiteY113"/>
                      </a:cxn>
                      <a:cxn ang="0">
                        <a:pos x="connsiteX114" y="connsiteY114"/>
                      </a:cxn>
                      <a:cxn ang="0">
                        <a:pos x="connsiteX115" y="connsiteY115"/>
                      </a:cxn>
                      <a:cxn ang="0">
                        <a:pos x="connsiteX116" y="connsiteY116"/>
                      </a:cxn>
                      <a:cxn ang="0">
                        <a:pos x="connsiteX117" y="connsiteY117"/>
                      </a:cxn>
                      <a:cxn ang="0">
                        <a:pos x="connsiteX118" y="connsiteY118"/>
                      </a:cxn>
                      <a:cxn ang="0">
                        <a:pos x="connsiteX119" y="connsiteY119"/>
                      </a:cxn>
                      <a:cxn ang="0">
                        <a:pos x="connsiteX120" y="connsiteY120"/>
                      </a:cxn>
                      <a:cxn ang="0">
                        <a:pos x="connsiteX121" y="connsiteY121"/>
                      </a:cxn>
                      <a:cxn ang="0">
                        <a:pos x="connsiteX122" y="connsiteY122"/>
                      </a:cxn>
                      <a:cxn ang="0">
                        <a:pos x="connsiteX123" y="connsiteY123"/>
                      </a:cxn>
                      <a:cxn ang="0">
                        <a:pos x="connsiteX124" y="connsiteY124"/>
                      </a:cxn>
                      <a:cxn ang="0">
                        <a:pos x="connsiteX125" y="connsiteY125"/>
                      </a:cxn>
                      <a:cxn ang="0">
                        <a:pos x="connsiteX126" y="connsiteY126"/>
                      </a:cxn>
                      <a:cxn ang="0">
                        <a:pos x="connsiteX127" y="connsiteY127"/>
                      </a:cxn>
                      <a:cxn ang="0">
                        <a:pos x="connsiteX128" y="connsiteY128"/>
                      </a:cxn>
                      <a:cxn ang="0">
                        <a:pos x="connsiteX129" y="connsiteY129"/>
                      </a:cxn>
                      <a:cxn ang="0">
                        <a:pos x="connsiteX130" y="connsiteY130"/>
                      </a:cxn>
                      <a:cxn ang="0">
                        <a:pos x="connsiteX131" y="connsiteY131"/>
                      </a:cxn>
                      <a:cxn ang="0">
                        <a:pos x="connsiteX132" y="connsiteY132"/>
                      </a:cxn>
                      <a:cxn ang="0">
                        <a:pos x="connsiteX133" y="connsiteY133"/>
                      </a:cxn>
                      <a:cxn ang="0">
                        <a:pos x="connsiteX134" y="connsiteY134"/>
                      </a:cxn>
                      <a:cxn ang="0">
                        <a:pos x="connsiteX135" y="connsiteY135"/>
                      </a:cxn>
                      <a:cxn ang="0">
                        <a:pos x="connsiteX136" y="connsiteY136"/>
                      </a:cxn>
                      <a:cxn ang="0">
                        <a:pos x="connsiteX137" y="connsiteY137"/>
                      </a:cxn>
                      <a:cxn ang="0">
                        <a:pos x="connsiteX138" y="connsiteY138"/>
                      </a:cxn>
                      <a:cxn ang="0">
                        <a:pos x="connsiteX139" y="connsiteY139"/>
                      </a:cxn>
                      <a:cxn ang="0">
                        <a:pos x="connsiteX140" y="connsiteY140"/>
                      </a:cxn>
                      <a:cxn ang="0">
                        <a:pos x="connsiteX141" y="connsiteY141"/>
                      </a:cxn>
                      <a:cxn ang="0">
                        <a:pos x="connsiteX142" y="connsiteY142"/>
                      </a:cxn>
                      <a:cxn ang="0">
                        <a:pos x="connsiteX143" y="connsiteY143"/>
                      </a:cxn>
                      <a:cxn ang="0">
                        <a:pos x="connsiteX144" y="connsiteY144"/>
                      </a:cxn>
                      <a:cxn ang="0">
                        <a:pos x="connsiteX145" y="connsiteY145"/>
                      </a:cxn>
                      <a:cxn ang="0">
                        <a:pos x="connsiteX146" y="connsiteY146"/>
                      </a:cxn>
                      <a:cxn ang="0">
                        <a:pos x="connsiteX147" y="connsiteY147"/>
                      </a:cxn>
                      <a:cxn ang="0">
                        <a:pos x="connsiteX148" y="connsiteY148"/>
                      </a:cxn>
                      <a:cxn ang="0">
                        <a:pos x="connsiteX149" y="connsiteY149"/>
                      </a:cxn>
                      <a:cxn ang="0">
                        <a:pos x="connsiteX150" y="connsiteY150"/>
                      </a:cxn>
                      <a:cxn ang="0">
                        <a:pos x="connsiteX151" y="connsiteY151"/>
                      </a:cxn>
                      <a:cxn ang="0">
                        <a:pos x="connsiteX152" y="connsiteY152"/>
                      </a:cxn>
                      <a:cxn ang="0">
                        <a:pos x="connsiteX153" y="connsiteY153"/>
                      </a:cxn>
                      <a:cxn ang="0">
                        <a:pos x="connsiteX154" y="connsiteY154"/>
                      </a:cxn>
                      <a:cxn ang="0">
                        <a:pos x="connsiteX155" y="connsiteY155"/>
                      </a:cxn>
                      <a:cxn ang="0">
                        <a:pos x="connsiteX156" y="connsiteY156"/>
                      </a:cxn>
                      <a:cxn ang="0">
                        <a:pos x="connsiteX157" y="connsiteY157"/>
                      </a:cxn>
                      <a:cxn ang="0">
                        <a:pos x="connsiteX158" y="connsiteY158"/>
                      </a:cxn>
                      <a:cxn ang="0">
                        <a:pos x="connsiteX159" y="connsiteY159"/>
                      </a:cxn>
                      <a:cxn ang="0">
                        <a:pos x="connsiteX160" y="connsiteY160"/>
                      </a:cxn>
                      <a:cxn ang="0">
                        <a:pos x="connsiteX161" y="connsiteY161"/>
                      </a:cxn>
                      <a:cxn ang="0">
                        <a:pos x="connsiteX162" y="connsiteY162"/>
                      </a:cxn>
                      <a:cxn ang="0">
                        <a:pos x="connsiteX163" y="connsiteY163"/>
                      </a:cxn>
                      <a:cxn ang="0">
                        <a:pos x="connsiteX164" y="connsiteY164"/>
                      </a:cxn>
                      <a:cxn ang="0">
                        <a:pos x="connsiteX165" y="connsiteY165"/>
                      </a:cxn>
                      <a:cxn ang="0">
                        <a:pos x="connsiteX166" y="connsiteY166"/>
                      </a:cxn>
                      <a:cxn ang="0">
                        <a:pos x="connsiteX167" y="connsiteY167"/>
                      </a:cxn>
                      <a:cxn ang="0">
                        <a:pos x="connsiteX168" y="connsiteY168"/>
                      </a:cxn>
                      <a:cxn ang="0">
                        <a:pos x="connsiteX169" y="connsiteY169"/>
                      </a:cxn>
                      <a:cxn ang="0">
                        <a:pos x="connsiteX170" y="connsiteY170"/>
                      </a:cxn>
                      <a:cxn ang="0">
                        <a:pos x="connsiteX171" y="connsiteY171"/>
                      </a:cxn>
                      <a:cxn ang="0">
                        <a:pos x="connsiteX172" y="connsiteY172"/>
                      </a:cxn>
                      <a:cxn ang="0">
                        <a:pos x="connsiteX173" y="connsiteY173"/>
                      </a:cxn>
                      <a:cxn ang="0">
                        <a:pos x="connsiteX174" y="connsiteY174"/>
                      </a:cxn>
                      <a:cxn ang="0">
                        <a:pos x="connsiteX175" y="connsiteY175"/>
                      </a:cxn>
                      <a:cxn ang="0">
                        <a:pos x="connsiteX176" y="connsiteY176"/>
                      </a:cxn>
                      <a:cxn ang="0">
                        <a:pos x="connsiteX177" y="connsiteY177"/>
                      </a:cxn>
                      <a:cxn ang="0">
                        <a:pos x="connsiteX178" y="connsiteY178"/>
                      </a:cxn>
                      <a:cxn ang="0">
                        <a:pos x="connsiteX179" y="connsiteY179"/>
                      </a:cxn>
                      <a:cxn ang="0">
                        <a:pos x="connsiteX180" y="connsiteY180"/>
                      </a:cxn>
                      <a:cxn ang="0">
                        <a:pos x="connsiteX181" y="connsiteY181"/>
                      </a:cxn>
                      <a:cxn ang="0">
                        <a:pos x="connsiteX182" y="connsiteY182"/>
                      </a:cxn>
                      <a:cxn ang="0">
                        <a:pos x="connsiteX183" y="connsiteY183"/>
                      </a:cxn>
                      <a:cxn ang="0">
                        <a:pos x="connsiteX184" y="connsiteY184"/>
                      </a:cxn>
                    </a:cxnLst>
                    <a:rect l="l" t="t" r="r" b="b"/>
                    <a:pathLst>
                      <a:path w="5700712" h="1178674">
                        <a:moveTo>
                          <a:pt x="0" y="0"/>
                        </a:moveTo>
                        <a:lnTo>
                          <a:pt x="60007" y="0"/>
                        </a:lnTo>
                        <a:lnTo>
                          <a:pt x="60007" y="7610"/>
                        </a:lnTo>
                        <a:lnTo>
                          <a:pt x="72390" y="7610"/>
                        </a:lnTo>
                        <a:lnTo>
                          <a:pt x="72390" y="14270"/>
                        </a:lnTo>
                        <a:lnTo>
                          <a:pt x="92392" y="14270"/>
                        </a:lnTo>
                        <a:lnTo>
                          <a:pt x="92392" y="31393"/>
                        </a:lnTo>
                        <a:lnTo>
                          <a:pt x="120967" y="31393"/>
                        </a:lnTo>
                        <a:lnTo>
                          <a:pt x="120967" y="40906"/>
                        </a:lnTo>
                        <a:lnTo>
                          <a:pt x="233363" y="40906"/>
                        </a:lnTo>
                        <a:lnTo>
                          <a:pt x="233363" y="49468"/>
                        </a:lnTo>
                        <a:lnTo>
                          <a:pt x="239077" y="49468"/>
                        </a:lnTo>
                        <a:lnTo>
                          <a:pt x="239077" y="57079"/>
                        </a:lnTo>
                        <a:lnTo>
                          <a:pt x="251460" y="57079"/>
                        </a:lnTo>
                        <a:lnTo>
                          <a:pt x="251460" y="65640"/>
                        </a:lnTo>
                        <a:lnTo>
                          <a:pt x="267653" y="65640"/>
                        </a:lnTo>
                        <a:lnTo>
                          <a:pt x="267653" y="68494"/>
                        </a:lnTo>
                        <a:lnTo>
                          <a:pt x="296228" y="68494"/>
                        </a:lnTo>
                        <a:lnTo>
                          <a:pt x="296228" y="72300"/>
                        </a:lnTo>
                        <a:lnTo>
                          <a:pt x="345757" y="72300"/>
                        </a:lnTo>
                        <a:lnTo>
                          <a:pt x="345757" y="79910"/>
                        </a:lnTo>
                        <a:lnTo>
                          <a:pt x="457200" y="79910"/>
                        </a:lnTo>
                        <a:lnTo>
                          <a:pt x="457200" y="88472"/>
                        </a:lnTo>
                        <a:lnTo>
                          <a:pt x="464820" y="88472"/>
                        </a:lnTo>
                        <a:lnTo>
                          <a:pt x="464820" y="99888"/>
                        </a:lnTo>
                        <a:lnTo>
                          <a:pt x="473392" y="99888"/>
                        </a:lnTo>
                        <a:lnTo>
                          <a:pt x="473392" y="104644"/>
                        </a:lnTo>
                        <a:lnTo>
                          <a:pt x="623887" y="104644"/>
                        </a:lnTo>
                        <a:lnTo>
                          <a:pt x="623887" y="115109"/>
                        </a:lnTo>
                        <a:lnTo>
                          <a:pt x="631507" y="115109"/>
                        </a:lnTo>
                        <a:lnTo>
                          <a:pt x="631507" y="122719"/>
                        </a:lnTo>
                        <a:lnTo>
                          <a:pt x="735330" y="122719"/>
                        </a:lnTo>
                        <a:lnTo>
                          <a:pt x="735330" y="133184"/>
                        </a:lnTo>
                        <a:lnTo>
                          <a:pt x="760095" y="133184"/>
                        </a:lnTo>
                        <a:lnTo>
                          <a:pt x="760095" y="138891"/>
                        </a:lnTo>
                        <a:lnTo>
                          <a:pt x="776287" y="138891"/>
                        </a:lnTo>
                        <a:lnTo>
                          <a:pt x="776287" y="144599"/>
                        </a:lnTo>
                        <a:lnTo>
                          <a:pt x="806768" y="144599"/>
                        </a:lnTo>
                        <a:lnTo>
                          <a:pt x="806768" y="148404"/>
                        </a:lnTo>
                        <a:lnTo>
                          <a:pt x="825818" y="148404"/>
                        </a:lnTo>
                        <a:lnTo>
                          <a:pt x="825818" y="152210"/>
                        </a:lnTo>
                        <a:lnTo>
                          <a:pt x="850582" y="152210"/>
                        </a:lnTo>
                        <a:lnTo>
                          <a:pt x="850582" y="156015"/>
                        </a:lnTo>
                        <a:lnTo>
                          <a:pt x="855345" y="156015"/>
                        </a:lnTo>
                        <a:lnTo>
                          <a:pt x="855345" y="173139"/>
                        </a:lnTo>
                        <a:lnTo>
                          <a:pt x="882015" y="173139"/>
                        </a:lnTo>
                        <a:lnTo>
                          <a:pt x="882015" y="190262"/>
                        </a:lnTo>
                        <a:lnTo>
                          <a:pt x="922020" y="190262"/>
                        </a:lnTo>
                        <a:lnTo>
                          <a:pt x="922020" y="210240"/>
                        </a:lnTo>
                        <a:lnTo>
                          <a:pt x="974407" y="210240"/>
                        </a:lnTo>
                        <a:lnTo>
                          <a:pt x="974407" y="214045"/>
                        </a:lnTo>
                        <a:lnTo>
                          <a:pt x="1002982" y="214045"/>
                        </a:lnTo>
                        <a:lnTo>
                          <a:pt x="1002982" y="217850"/>
                        </a:lnTo>
                        <a:lnTo>
                          <a:pt x="1118235" y="217850"/>
                        </a:lnTo>
                        <a:lnTo>
                          <a:pt x="1118235" y="234022"/>
                        </a:lnTo>
                        <a:lnTo>
                          <a:pt x="1195387" y="234022"/>
                        </a:lnTo>
                        <a:lnTo>
                          <a:pt x="1195387" y="243536"/>
                        </a:lnTo>
                        <a:lnTo>
                          <a:pt x="1345883" y="243536"/>
                        </a:lnTo>
                        <a:lnTo>
                          <a:pt x="1345883" y="252097"/>
                        </a:lnTo>
                        <a:lnTo>
                          <a:pt x="1369695" y="252097"/>
                        </a:lnTo>
                        <a:lnTo>
                          <a:pt x="1369695" y="255903"/>
                        </a:lnTo>
                        <a:lnTo>
                          <a:pt x="1388745" y="255903"/>
                        </a:lnTo>
                        <a:lnTo>
                          <a:pt x="1388745" y="266367"/>
                        </a:lnTo>
                        <a:lnTo>
                          <a:pt x="1417320" y="266367"/>
                        </a:lnTo>
                        <a:lnTo>
                          <a:pt x="1417320" y="271124"/>
                        </a:lnTo>
                        <a:lnTo>
                          <a:pt x="1473518" y="271124"/>
                        </a:lnTo>
                        <a:lnTo>
                          <a:pt x="1473518" y="283491"/>
                        </a:lnTo>
                        <a:lnTo>
                          <a:pt x="1485900" y="283491"/>
                        </a:lnTo>
                        <a:lnTo>
                          <a:pt x="1485900" y="290150"/>
                        </a:lnTo>
                        <a:lnTo>
                          <a:pt x="1504950" y="290150"/>
                        </a:lnTo>
                        <a:lnTo>
                          <a:pt x="1504950" y="296809"/>
                        </a:lnTo>
                        <a:lnTo>
                          <a:pt x="1594485" y="296809"/>
                        </a:lnTo>
                        <a:lnTo>
                          <a:pt x="1594485" y="304420"/>
                        </a:lnTo>
                        <a:lnTo>
                          <a:pt x="1605915" y="304420"/>
                        </a:lnTo>
                        <a:lnTo>
                          <a:pt x="1605915" y="310127"/>
                        </a:lnTo>
                        <a:lnTo>
                          <a:pt x="1664970" y="310127"/>
                        </a:lnTo>
                        <a:lnTo>
                          <a:pt x="1664970" y="315835"/>
                        </a:lnTo>
                        <a:lnTo>
                          <a:pt x="1687830" y="315835"/>
                        </a:lnTo>
                        <a:lnTo>
                          <a:pt x="1700212" y="315835"/>
                        </a:lnTo>
                        <a:lnTo>
                          <a:pt x="1700212" y="325348"/>
                        </a:lnTo>
                        <a:lnTo>
                          <a:pt x="1755458" y="325348"/>
                        </a:lnTo>
                        <a:lnTo>
                          <a:pt x="1755458" y="332007"/>
                        </a:lnTo>
                        <a:lnTo>
                          <a:pt x="1764983" y="332007"/>
                        </a:lnTo>
                        <a:lnTo>
                          <a:pt x="1764983" y="336764"/>
                        </a:lnTo>
                        <a:lnTo>
                          <a:pt x="1871662" y="336764"/>
                        </a:lnTo>
                        <a:lnTo>
                          <a:pt x="1871662" y="362449"/>
                        </a:lnTo>
                        <a:lnTo>
                          <a:pt x="1908810" y="362449"/>
                        </a:lnTo>
                        <a:lnTo>
                          <a:pt x="1908810" y="372914"/>
                        </a:lnTo>
                        <a:lnTo>
                          <a:pt x="2130743" y="372914"/>
                        </a:lnTo>
                        <a:lnTo>
                          <a:pt x="2130743" y="380524"/>
                        </a:lnTo>
                        <a:lnTo>
                          <a:pt x="2154555" y="380524"/>
                        </a:lnTo>
                        <a:lnTo>
                          <a:pt x="2154555" y="386232"/>
                        </a:lnTo>
                        <a:lnTo>
                          <a:pt x="2166938" y="386232"/>
                        </a:lnTo>
                        <a:lnTo>
                          <a:pt x="2166938" y="401453"/>
                        </a:lnTo>
                        <a:lnTo>
                          <a:pt x="2193608" y="401453"/>
                        </a:lnTo>
                        <a:lnTo>
                          <a:pt x="2193608" y="412869"/>
                        </a:lnTo>
                        <a:lnTo>
                          <a:pt x="2272665" y="412869"/>
                        </a:lnTo>
                        <a:lnTo>
                          <a:pt x="2272665" y="422382"/>
                        </a:lnTo>
                        <a:lnTo>
                          <a:pt x="2300288" y="422382"/>
                        </a:lnTo>
                        <a:lnTo>
                          <a:pt x="2300288" y="432846"/>
                        </a:lnTo>
                        <a:lnTo>
                          <a:pt x="2390775" y="432846"/>
                        </a:lnTo>
                        <a:lnTo>
                          <a:pt x="2390775" y="441408"/>
                        </a:lnTo>
                        <a:lnTo>
                          <a:pt x="2486978" y="441408"/>
                        </a:lnTo>
                        <a:lnTo>
                          <a:pt x="2486978" y="456629"/>
                        </a:lnTo>
                        <a:lnTo>
                          <a:pt x="2498408" y="456629"/>
                        </a:lnTo>
                        <a:lnTo>
                          <a:pt x="2498408" y="470899"/>
                        </a:lnTo>
                        <a:lnTo>
                          <a:pt x="2574608" y="470899"/>
                        </a:lnTo>
                        <a:lnTo>
                          <a:pt x="2574608" y="477558"/>
                        </a:lnTo>
                        <a:lnTo>
                          <a:pt x="2608897" y="477558"/>
                        </a:lnTo>
                        <a:lnTo>
                          <a:pt x="2608897" y="491828"/>
                        </a:lnTo>
                        <a:lnTo>
                          <a:pt x="2615565" y="491828"/>
                        </a:lnTo>
                        <a:lnTo>
                          <a:pt x="2615565" y="502292"/>
                        </a:lnTo>
                        <a:lnTo>
                          <a:pt x="2668905" y="502292"/>
                        </a:lnTo>
                        <a:lnTo>
                          <a:pt x="2668905" y="508951"/>
                        </a:lnTo>
                        <a:lnTo>
                          <a:pt x="2720340" y="508951"/>
                        </a:lnTo>
                        <a:lnTo>
                          <a:pt x="2720340" y="521318"/>
                        </a:lnTo>
                        <a:lnTo>
                          <a:pt x="2808922" y="521318"/>
                        </a:lnTo>
                        <a:lnTo>
                          <a:pt x="2808922" y="529880"/>
                        </a:lnTo>
                        <a:lnTo>
                          <a:pt x="2816543" y="529880"/>
                        </a:lnTo>
                        <a:lnTo>
                          <a:pt x="2816543" y="541296"/>
                        </a:lnTo>
                        <a:lnTo>
                          <a:pt x="2996565" y="541296"/>
                        </a:lnTo>
                        <a:lnTo>
                          <a:pt x="2996565" y="549858"/>
                        </a:lnTo>
                        <a:lnTo>
                          <a:pt x="3022283" y="549858"/>
                        </a:lnTo>
                        <a:lnTo>
                          <a:pt x="3022283" y="559371"/>
                        </a:lnTo>
                        <a:lnTo>
                          <a:pt x="3063240" y="559371"/>
                        </a:lnTo>
                        <a:lnTo>
                          <a:pt x="3063240" y="571738"/>
                        </a:lnTo>
                        <a:lnTo>
                          <a:pt x="3228975" y="571738"/>
                        </a:lnTo>
                        <a:lnTo>
                          <a:pt x="3228975" y="582202"/>
                        </a:lnTo>
                        <a:lnTo>
                          <a:pt x="3272790" y="582202"/>
                        </a:lnTo>
                        <a:lnTo>
                          <a:pt x="3272790" y="588861"/>
                        </a:lnTo>
                        <a:lnTo>
                          <a:pt x="3312795" y="588861"/>
                        </a:lnTo>
                        <a:lnTo>
                          <a:pt x="3312795" y="601229"/>
                        </a:lnTo>
                        <a:lnTo>
                          <a:pt x="3361372" y="601229"/>
                        </a:lnTo>
                        <a:lnTo>
                          <a:pt x="3361372" y="608839"/>
                        </a:lnTo>
                        <a:lnTo>
                          <a:pt x="3469005" y="608839"/>
                        </a:lnTo>
                        <a:lnTo>
                          <a:pt x="3469005" y="629768"/>
                        </a:lnTo>
                        <a:lnTo>
                          <a:pt x="3523297" y="629768"/>
                        </a:lnTo>
                        <a:lnTo>
                          <a:pt x="3523297" y="641184"/>
                        </a:lnTo>
                        <a:lnTo>
                          <a:pt x="3547110" y="641184"/>
                        </a:lnTo>
                        <a:lnTo>
                          <a:pt x="3547110" y="654502"/>
                        </a:lnTo>
                        <a:lnTo>
                          <a:pt x="3561397" y="654502"/>
                        </a:lnTo>
                        <a:lnTo>
                          <a:pt x="3561397" y="667820"/>
                        </a:lnTo>
                        <a:lnTo>
                          <a:pt x="3571875" y="667820"/>
                        </a:lnTo>
                        <a:lnTo>
                          <a:pt x="3571875" y="679236"/>
                        </a:lnTo>
                        <a:lnTo>
                          <a:pt x="3594735" y="679236"/>
                        </a:lnTo>
                        <a:lnTo>
                          <a:pt x="3594735" y="690652"/>
                        </a:lnTo>
                        <a:lnTo>
                          <a:pt x="3609022" y="690652"/>
                        </a:lnTo>
                        <a:lnTo>
                          <a:pt x="3609022" y="699213"/>
                        </a:lnTo>
                        <a:lnTo>
                          <a:pt x="3632835" y="699213"/>
                        </a:lnTo>
                        <a:lnTo>
                          <a:pt x="3632835" y="706824"/>
                        </a:lnTo>
                        <a:lnTo>
                          <a:pt x="3830003" y="706824"/>
                        </a:lnTo>
                        <a:lnTo>
                          <a:pt x="3830003" y="717288"/>
                        </a:lnTo>
                        <a:lnTo>
                          <a:pt x="3872865" y="717288"/>
                        </a:lnTo>
                        <a:lnTo>
                          <a:pt x="3872865" y="732509"/>
                        </a:lnTo>
                        <a:lnTo>
                          <a:pt x="4069080" y="732509"/>
                        </a:lnTo>
                        <a:lnTo>
                          <a:pt x="4069080" y="761049"/>
                        </a:lnTo>
                        <a:lnTo>
                          <a:pt x="4079558" y="761049"/>
                        </a:lnTo>
                        <a:lnTo>
                          <a:pt x="4079558" y="781978"/>
                        </a:lnTo>
                        <a:lnTo>
                          <a:pt x="4164330" y="781978"/>
                        </a:lnTo>
                        <a:lnTo>
                          <a:pt x="4164330" y="801004"/>
                        </a:lnTo>
                        <a:lnTo>
                          <a:pt x="4175760" y="801004"/>
                        </a:lnTo>
                        <a:lnTo>
                          <a:pt x="4175760" y="814322"/>
                        </a:lnTo>
                        <a:lnTo>
                          <a:pt x="4272915" y="814322"/>
                        </a:lnTo>
                        <a:lnTo>
                          <a:pt x="4272915" y="835251"/>
                        </a:lnTo>
                        <a:lnTo>
                          <a:pt x="4362450" y="835251"/>
                        </a:lnTo>
                        <a:lnTo>
                          <a:pt x="4362450" y="879963"/>
                        </a:lnTo>
                        <a:lnTo>
                          <a:pt x="4389120" y="879963"/>
                        </a:lnTo>
                        <a:lnTo>
                          <a:pt x="4389120" y="893281"/>
                        </a:lnTo>
                        <a:lnTo>
                          <a:pt x="4394835" y="893281"/>
                        </a:lnTo>
                        <a:lnTo>
                          <a:pt x="4394835" y="920869"/>
                        </a:lnTo>
                        <a:lnTo>
                          <a:pt x="4438650" y="920869"/>
                        </a:lnTo>
                        <a:lnTo>
                          <a:pt x="4438650" y="944652"/>
                        </a:lnTo>
                        <a:lnTo>
                          <a:pt x="4504373" y="944652"/>
                        </a:lnTo>
                        <a:lnTo>
                          <a:pt x="4504373" y="978899"/>
                        </a:lnTo>
                        <a:lnTo>
                          <a:pt x="4690110" y="978899"/>
                        </a:lnTo>
                        <a:lnTo>
                          <a:pt x="4690110" y="1008390"/>
                        </a:lnTo>
                        <a:lnTo>
                          <a:pt x="4740593" y="1008390"/>
                        </a:lnTo>
                        <a:lnTo>
                          <a:pt x="4740593" y="1039783"/>
                        </a:lnTo>
                        <a:lnTo>
                          <a:pt x="4826318" y="1039783"/>
                        </a:lnTo>
                        <a:lnTo>
                          <a:pt x="4826318" y="1074981"/>
                        </a:lnTo>
                        <a:lnTo>
                          <a:pt x="4948238" y="1074981"/>
                        </a:lnTo>
                        <a:lnTo>
                          <a:pt x="4948238" y="1115888"/>
                        </a:lnTo>
                        <a:lnTo>
                          <a:pt x="4995863" y="1115888"/>
                        </a:lnTo>
                        <a:lnTo>
                          <a:pt x="4995863" y="1178674"/>
                        </a:lnTo>
                        <a:lnTo>
                          <a:pt x="5700713" y="1178674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C4D600"/>
                    </a:solidFill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pPr marL="0" marR="0" lvl="0" indent="0" algn="l" defTabSz="609585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endParaRPr>
                  </a:p>
                </p:txBody>
              </p:sp>
              <p:grpSp>
                <p:nvGrpSpPr>
                  <p:cNvPr id="84" name="Graphic 19">
                    <a:extLst>
                      <a:ext uri="{FF2B5EF4-FFF2-40B4-BE49-F238E27FC236}">
                        <a16:creationId xmlns:a16="http://schemas.microsoft.com/office/drawing/2014/main" id="{1E2CC2A1-8190-DDD9-4834-59BE04D0622E}"/>
                      </a:ext>
                    </a:extLst>
                  </p:cNvPr>
                  <p:cNvGrpSpPr/>
                  <p:nvPr/>
                </p:nvGrpSpPr>
                <p:grpSpPr>
                  <a:xfrm>
                    <a:off x="9587548" y="-176399"/>
                    <a:ext cx="5768340" cy="1240509"/>
                    <a:chOff x="9587548" y="-176399"/>
                    <a:chExt cx="5768340" cy="1240509"/>
                  </a:xfrm>
                </p:grpSpPr>
                <p:grpSp>
                  <p:nvGrpSpPr>
                    <p:cNvPr id="85" name="Graphic 19">
                      <a:extLst>
                        <a:ext uri="{FF2B5EF4-FFF2-40B4-BE49-F238E27FC236}">
                          <a16:creationId xmlns:a16="http://schemas.microsoft.com/office/drawing/2014/main" id="{A1659E0B-8017-D9D4-5176-A5ED223438C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587548" y="-176399"/>
                      <a:ext cx="63817" cy="63737"/>
                      <a:chOff x="9587548" y="-176399"/>
                      <a:chExt cx="63817" cy="63737"/>
                    </a:xfrm>
                  </p:grpSpPr>
                  <p:sp>
                    <p:nvSpPr>
                      <p:cNvPr id="581" name="Freeform 1175">
                        <a:extLst>
                          <a:ext uri="{FF2B5EF4-FFF2-40B4-BE49-F238E27FC236}">
                            <a16:creationId xmlns:a16="http://schemas.microsoft.com/office/drawing/2014/main" id="{735AF7E6-3861-163A-607D-78034DEE8A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587548" y="-14500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82" name="Freeform 1176">
                        <a:extLst>
                          <a:ext uri="{FF2B5EF4-FFF2-40B4-BE49-F238E27FC236}">
                            <a16:creationId xmlns:a16="http://schemas.microsoft.com/office/drawing/2014/main" id="{D3FC9192-5972-189A-5EBE-1990E12FB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19933" y="-17639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6" name="Graphic 19">
                      <a:extLst>
                        <a:ext uri="{FF2B5EF4-FFF2-40B4-BE49-F238E27FC236}">
                          <a16:creationId xmlns:a16="http://schemas.microsoft.com/office/drawing/2014/main" id="{F2D3FF6E-B666-BE37-6173-95D844F8A69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683750" y="-161179"/>
                      <a:ext cx="63817" cy="62786"/>
                      <a:chOff x="9683750" y="-161179"/>
                      <a:chExt cx="63817" cy="62786"/>
                    </a:xfrm>
                  </p:grpSpPr>
                  <p:sp>
                    <p:nvSpPr>
                      <p:cNvPr id="579" name="Freeform 1178">
                        <a:extLst>
                          <a:ext uri="{FF2B5EF4-FFF2-40B4-BE49-F238E27FC236}">
                            <a16:creationId xmlns:a16="http://schemas.microsoft.com/office/drawing/2014/main" id="{D650C12D-48AF-03FE-ED46-52869D13BC8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683750" y="-12978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80" name="Freeform 1179">
                        <a:extLst>
                          <a:ext uri="{FF2B5EF4-FFF2-40B4-BE49-F238E27FC236}">
                            <a16:creationId xmlns:a16="http://schemas.microsoft.com/office/drawing/2014/main" id="{937E8BD0-4574-D377-E73D-2BCBAC45BE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16135" y="-16117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7" name="Graphic 19">
                      <a:extLst>
                        <a:ext uri="{FF2B5EF4-FFF2-40B4-BE49-F238E27FC236}">
                          <a16:creationId xmlns:a16="http://schemas.microsoft.com/office/drawing/2014/main" id="{34625604-5BA9-5456-0D46-46963F0D2C6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742805" y="-132639"/>
                      <a:ext cx="63817" cy="63737"/>
                      <a:chOff x="9742805" y="-132639"/>
                      <a:chExt cx="63817" cy="63737"/>
                    </a:xfrm>
                  </p:grpSpPr>
                  <p:sp>
                    <p:nvSpPr>
                      <p:cNvPr id="577" name="Freeform 1181">
                        <a:extLst>
                          <a:ext uri="{FF2B5EF4-FFF2-40B4-BE49-F238E27FC236}">
                            <a16:creationId xmlns:a16="http://schemas.microsoft.com/office/drawing/2014/main" id="{FB310E3B-6FE2-2C7C-4F53-3FC45A0EFA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42805" y="-10124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8" name="Freeform 1182">
                        <a:extLst>
                          <a:ext uri="{FF2B5EF4-FFF2-40B4-BE49-F238E27FC236}">
                            <a16:creationId xmlns:a16="http://schemas.microsoft.com/office/drawing/2014/main" id="{08B011C3-8F4C-1610-D05E-F50757C84E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775190" y="-13263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8" name="Graphic 19">
                      <a:extLst>
                        <a:ext uri="{FF2B5EF4-FFF2-40B4-BE49-F238E27FC236}">
                          <a16:creationId xmlns:a16="http://schemas.microsoft.com/office/drawing/2014/main" id="{21CA72A4-26D3-001E-CCA9-03F6A9B32BB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03765" y="-132639"/>
                      <a:ext cx="63817" cy="63737"/>
                      <a:chOff x="9803765" y="-132639"/>
                      <a:chExt cx="63817" cy="63737"/>
                    </a:xfrm>
                  </p:grpSpPr>
                  <p:sp>
                    <p:nvSpPr>
                      <p:cNvPr id="575" name="Freeform 1184">
                        <a:extLst>
                          <a:ext uri="{FF2B5EF4-FFF2-40B4-BE49-F238E27FC236}">
                            <a16:creationId xmlns:a16="http://schemas.microsoft.com/office/drawing/2014/main" id="{F514BC49-9317-F9F3-2A28-DF5F71983B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03765" y="-10124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6" name="Freeform 1185">
                        <a:extLst>
                          <a:ext uri="{FF2B5EF4-FFF2-40B4-BE49-F238E27FC236}">
                            <a16:creationId xmlns:a16="http://schemas.microsoft.com/office/drawing/2014/main" id="{748158A2-EF01-D33C-8C6C-F20A71F1B5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35198" y="-13263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89" name="Graphic 19">
                      <a:extLst>
                        <a:ext uri="{FF2B5EF4-FFF2-40B4-BE49-F238E27FC236}">
                          <a16:creationId xmlns:a16="http://schemas.microsoft.com/office/drawing/2014/main" id="{55134EA1-0694-DA47-9AB4-E4EE684F808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82823" y="-103149"/>
                      <a:ext cx="63817" cy="63737"/>
                      <a:chOff x="9882823" y="-103149"/>
                      <a:chExt cx="63817" cy="63737"/>
                    </a:xfrm>
                  </p:grpSpPr>
                  <p:sp>
                    <p:nvSpPr>
                      <p:cNvPr id="573" name="Freeform 1187">
                        <a:extLst>
                          <a:ext uri="{FF2B5EF4-FFF2-40B4-BE49-F238E27FC236}">
                            <a16:creationId xmlns:a16="http://schemas.microsoft.com/office/drawing/2014/main" id="{E9F9F213-0630-413A-1CDA-173A5E1555E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82823" y="-7175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4" name="Freeform 1188">
                        <a:extLst>
                          <a:ext uri="{FF2B5EF4-FFF2-40B4-BE49-F238E27FC236}">
                            <a16:creationId xmlns:a16="http://schemas.microsoft.com/office/drawing/2014/main" id="{9F6F343B-97AF-70DB-EB6C-B01DF46916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14255" y="-1031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0" name="Graphic 19">
                      <a:extLst>
                        <a:ext uri="{FF2B5EF4-FFF2-40B4-BE49-F238E27FC236}">
                          <a16:creationId xmlns:a16="http://schemas.microsoft.com/office/drawing/2014/main" id="{91711FCD-5B3F-2237-6C31-5ED4002201A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86633" y="-103149"/>
                      <a:ext cx="62865" cy="63737"/>
                      <a:chOff x="9886633" y="-103149"/>
                      <a:chExt cx="62865" cy="63737"/>
                    </a:xfrm>
                  </p:grpSpPr>
                  <p:sp>
                    <p:nvSpPr>
                      <p:cNvPr id="571" name="Freeform 1190">
                        <a:extLst>
                          <a:ext uri="{FF2B5EF4-FFF2-40B4-BE49-F238E27FC236}">
                            <a16:creationId xmlns:a16="http://schemas.microsoft.com/office/drawing/2014/main" id="{12646ABB-0E12-C1DF-703E-890B6C411A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86633" y="-7175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2" name="Freeform 1191">
                        <a:extLst>
                          <a:ext uri="{FF2B5EF4-FFF2-40B4-BE49-F238E27FC236}">
                            <a16:creationId xmlns:a16="http://schemas.microsoft.com/office/drawing/2014/main" id="{576E71BF-3FD5-4237-6018-030FED6D6D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18065" y="-1031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1" name="Graphic 19">
                      <a:extLst>
                        <a:ext uri="{FF2B5EF4-FFF2-40B4-BE49-F238E27FC236}">
                          <a16:creationId xmlns:a16="http://schemas.microsoft.com/office/drawing/2014/main" id="{74F53D88-C662-0809-6BE7-13EC949433B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899015" y="-103149"/>
                      <a:ext cx="62865" cy="63737"/>
                      <a:chOff x="9899015" y="-103149"/>
                      <a:chExt cx="62865" cy="63737"/>
                    </a:xfrm>
                  </p:grpSpPr>
                  <p:sp>
                    <p:nvSpPr>
                      <p:cNvPr id="569" name="Freeform 1193">
                        <a:extLst>
                          <a:ext uri="{FF2B5EF4-FFF2-40B4-BE49-F238E27FC236}">
                            <a16:creationId xmlns:a16="http://schemas.microsoft.com/office/drawing/2014/main" id="{D10EA323-CEF1-F860-8672-61A232BD18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899015" y="-7175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70" name="Freeform 1194">
                        <a:extLst>
                          <a:ext uri="{FF2B5EF4-FFF2-40B4-BE49-F238E27FC236}">
                            <a16:creationId xmlns:a16="http://schemas.microsoft.com/office/drawing/2014/main" id="{3A3F5DA7-970D-3088-1A78-9EC4B51221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30448" y="-10314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2" name="Graphic 19">
                      <a:extLst>
                        <a:ext uri="{FF2B5EF4-FFF2-40B4-BE49-F238E27FC236}">
                          <a16:creationId xmlns:a16="http://schemas.microsoft.com/office/drawing/2014/main" id="{75D29241-0C00-11E3-DA5D-CB5D30D6E4D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976168" y="-93635"/>
                      <a:ext cx="62864" cy="62786"/>
                      <a:chOff x="9976168" y="-93635"/>
                      <a:chExt cx="62864" cy="62786"/>
                    </a:xfrm>
                  </p:grpSpPr>
                  <p:sp>
                    <p:nvSpPr>
                      <p:cNvPr id="567" name="Freeform 1196">
                        <a:extLst>
                          <a:ext uri="{FF2B5EF4-FFF2-40B4-BE49-F238E27FC236}">
                            <a16:creationId xmlns:a16="http://schemas.microsoft.com/office/drawing/2014/main" id="{0CDCEE25-2248-03DB-8634-62FD704D38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9976168" y="-6224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8" name="Freeform 1197">
                        <a:extLst>
                          <a:ext uri="{FF2B5EF4-FFF2-40B4-BE49-F238E27FC236}">
                            <a16:creationId xmlns:a16="http://schemas.microsoft.com/office/drawing/2014/main" id="{8F3D3EE4-A5CF-A236-B48E-A8A62E614E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007600" y="-9363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3" name="Graphic 19">
                      <a:extLst>
                        <a:ext uri="{FF2B5EF4-FFF2-40B4-BE49-F238E27FC236}">
                          <a16:creationId xmlns:a16="http://schemas.microsoft.com/office/drawing/2014/main" id="{07281B26-1D3D-8461-B0D0-51884CA297E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091420" y="-70804"/>
                      <a:ext cx="62865" cy="63737"/>
                      <a:chOff x="10091420" y="-70804"/>
                      <a:chExt cx="62865" cy="63737"/>
                    </a:xfrm>
                  </p:grpSpPr>
                  <p:sp>
                    <p:nvSpPr>
                      <p:cNvPr id="565" name="Freeform 1199">
                        <a:extLst>
                          <a:ext uri="{FF2B5EF4-FFF2-40B4-BE49-F238E27FC236}">
                            <a16:creationId xmlns:a16="http://schemas.microsoft.com/office/drawing/2014/main" id="{1267D6A6-FCE5-826F-775B-E9BD41323B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091420" y="-3941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6" name="Freeform 1200">
                        <a:extLst>
                          <a:ext uri="{FF2B5EF4-FFF2-40B4-BE49-F238E27FC236}">
                            <a16:creationId xmlns:a16="http://schemas.microsoft.com/office/drawing/2014/main" id="{CE181489-8A91-32E6-0992-BFF79746F94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22853" y="-7080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4" name="Graphic 19">
                      <a:extLst>
                        <a:ext uri="{FF2B5EF4-FFF2-40B4-BE49-F238E27FC236}">
                          <a16:creationId xmlns:a16="http://schemas.microsoft.com/office/drawing/2014/main" id="{CD938212-145C-6F03-ABC0-C00AEF240B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101898" y="-70804"/>
                      <a:ext cx="62864" cy="63737"/>
                      <a:chOff x="10101898" y="-70804"/>
                      <a:chExt cx="62864" cy="63737"/>
                    </a:xfrm>
                  </p:grpSpPr>
                  <p:sp>
                    <p:nvSpPr>
                      <p:cNvPr id="563" name="Freeform 1202">
                        <a:extLst>
                          <a:ext uri="{FF2B5EF4-FFF2-40B4-BE49-F238E27FC236}">
                            <a16:creationId xmlns:a16="http://schemas.microsoft.com/office/drawing/2014/main" id="{ACD40591-CC48-A671-ADB1-87D3A6DE7B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01898" y="-3941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4" name="Freeform 1203">
                        <a:extLst>
                          <a:ext uri="{FF2B5EF4-FFF2-40B4-BE49-F238E27FC236}">
                            <a16:creationId xmlns:a16="http://schemas.microsoft.com/office/drawing/2014/main" id="{9E2EFDBC-AF22-6F17-3FCF-FA4AC5FF917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3330" y="-7080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5" name="Graphic 19">
                      <a:extLst>
                        <a:ext uri="{FF2B5EF4-FFF2-40B4-BE49-F238E27FC236}">
                          <a16:creationId xmlns:a16="http://schemas.microsoft.com/office/drawing/2014/main" id="{419A8F9C-4EF8-C09F-B165-775A8D90BE0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19068" y="-52729"/>
                      <a:ext cx="62865" cy="63737"/>
                      <a:chOff x="10319068" y="-52729"/>
                      <a:chExt cx="62865" cy="63737"/>
                    </a:xfrm>
                  </p:grpSpPr>
                  <p:sp>
                    <p:nvSpPr>
                      <p:cNvPr id="561" name="Freeform 1205">
                        <a:extLst>
                          <a:ext uri="{FF2B5EF4-FFF2-40B4-BE49-F238E27FC236}">
                            <a16:creationId xmlns:a16="http://schemas.microsoft.com/office/drawing/2014/main" id="{298AD231-439F-02D5-BE78-0A327D86C7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19068" y="-2038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2" name="Freeform 1206">
                        <a:extLst>
                          <a:ext uri="{FF2B5EF4-FFF2-40B4-BE49-F238E27FC236}">
                            <a16:creationId xmlns:a16="http://schemas.microsoft.com/office/drawing/2014/main" id="{46859A6C-23BE-BB0F-C104-D66C043EE1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50500" y="-52729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6" name="Graphic 19">
                      <a:extLst>
                        <a:ext uri="{FF2B5EF4-FFF2-40B4-BE49-F238E27FC236}">
                          <a16:creationId xmlns:a16="http://schemas.microsoft.com/office/drawing/2014/main" id="{4362DC50-AC8A-3552-0795-D32970EE4F9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55263" y="-37508"/>
                      <a:ext cx="63817" cy="63737"/>
                      <a:chOff x="10355263" y="-37508"/>
                      <a:chExt cx="63817" cy="63737"/>
                    </a:xfrm>
                  </p:grpSpPr>
                  <p:sp>
                    <p:nvSpPr>
                      <p:cNvPr id="559" name="Freeform 1208">
                        <a:extLst>
                          <a:ext uri="{FF2B5EF4-FFF2-40B4-BE49-F238E27FC236}">
                            <a16:creationId xmlns:a16="http://schemas.microsoft.com/office/drawing/2014/main" id="{3B471C93-0164-6F9D-22DC-704F80958C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55263" y="-611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60" name="Freeform 1209">
                        <a:extLst>
                          <a:ext uri="{FF2B5EF4-FFF2-40B4-BE49-F238E27FC236}">
                            <a16:creationId xmlns:a16="http://schemas.microsoft.com/office/drawing/2014/main" id="{8EF542C3-D754-5017-BB56-B8471AC39A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87648" y="-3750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7" name="Graphic 19">
                      <a:extLst>
                        <a:ext uri="{FF2B5EF4-FFF2-40B4-BE49-F238E27FC236}">
                          <a16:creationId xmlns:a16="http://schemas.microsoft.com/office/drawing/2014/main" id="{9E9FB194-E4F4-D76D-5D3A-11840701A32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69550" y="-27044"/>
                      <a:ext cx="62864" cy="62786"/>
                      <a:chOff x="10369550" y="-27044"/>
                      <a:chExt cx="62864" cy="62786"/>
                    </a:xfrm>
                  </p:grpSpPr>
                  <p:sp>
                    <p:nvSpPr>
                      <p:cNvPr id="557" name="Freeform 1211">
                        <a:extLst>
                          <a:ext uri="{FF2B5EF4-FFF2-40B4-BE49-F238E27FC236}">
                            <a16:creationId xmlns:a16="http://schemas.microsoft.com/office/drawing/2014/main" id="{79BAD3B3-12C9-E699-5F6C-8909E7B156F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69550" y="434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8" name="Freeform 1212">
                        <a:extLst>
                          <a:ext uri="{FF2B5EF4-FFF2-40B4-BE49-F238E27FC236}">
                            <a16:creationId xmlns:a16="http://schemas.microsoft.com/office/drawing/2014/main" id="{98485CF9-58EA-922E-338F-32DC6AA28DC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00983" y="-2704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8" name="Graphic 19">
                      <a:extLst>
                        <a:ext uri="{FF2B5EF4-FFF2-40B4-BE49-F238E27FC236}">
                          <a16:creationId xmlns:a16="http://schemas.microsoft.com/office/drawing/2014/main" id="{3B16C85D-D93C-EC2D-CEDB-CCC9A93E8C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84790" y="-27044"/>
                      <a:ext cx="62864" cy="62786"/>
                      <a:chOff x="10384790" y="-27044"/>
                      <a:chExt cx="62864" cy="62786"/>
                    </a:xfrm>
                  </p:grpSpPr>
                  <p:sp>
                    <p:nvSpPr>
                      <p:cNvPr id="555" name="Freeform 1214">
                        <a:extLst>
                          <a:ext uri="{FF2B5EF4-FFF2-40B4-BE49-F238E27FC236}">
                            <a16:creationId xmlns:a16="http://schemas.microsoft.com/office/drawing/2014/main" id="{B50FEDEA-4399-0022-B399-C42737BE5F8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84790" y="434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6" name="Freeform 1215">
                        <a:extLst>
                          <a:ext uri="{FF2B5EF4-FFF2-40B4-BE49-F238E27FC236}">
                            <a16:creationId xmlns:a16="http://schemas.microsoft.com/office/drawing/2014/main" id="{29D6D370-737F-F8E7-C72E-5851A2735D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16223" y="-2704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99" name="Graphic 19">
                      <a:extLst>
                        <a:ext uri="{FF2B5EF4-FFF2-40B4-BE49-F238E27FC236}">
                          <a16:creationId xmlns:a16="http://schemas.microsoft.com/office/drawing/2014/main" id="{BEF22638-D241-7D65-E626-27564EFFBA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395268" y="-27044"/>
                      <a:ext cx="62865" cy="62786"/>
                      <a:chOff x="10395268" y="-27044"/>
                      <a:chExt cx="62865" cy="62786"/>
                    </a:xfrm>
                  </p:grpSpPr>
                  <p:sp>
                    <p:nvSpPr>
                      <p:cNvPr id="553" name="Freeform 1217">
                        <a:extLst>
                          <a:ext uri="{FF2B5EF4-FFF2-40B4-BE49-F238E27FC236}">
                            <a16:creationId xmlns:a16="http://schemas.microsoft.com/office/drawing/2014/main" id="{8B6AABA1-CA1D-AD9D-5AAA-63BC20F121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395268" y="434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4" name="Freeform 1218">
                        <a:extLst>
                          <a:ext uri="{FF2B5EF4-FFF2-40B4-BE49-F238E27FC236}">
                            <a16:creationId xmlns:a16="http://schemas.microsoft.com/office/drawing/2014/main" id="{4E54F1B1-26BA-6B0D-09E8-73AB097CD8A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26700" y="-2704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0" name="Graphic 19">
                      <a:extLst>
                        <a:ext uri="{FF2B5EF4-FFF2-40B4-BE49-F238E27FC236}">
                          <a16:creationId xmlns:a16="http://schemas.microsoft.com/office/drawing/2014/main" id="{60626DB0-C995-459E-97D4-E2B13214605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40035" y="-22287"/>
                      <a:ext cx="62864" cy="63737"/>
                      <a:chOff x="10440035" y="-22287"/>
                      <a:chExt cx="62864" cy="63737"/>
                    </a:xfrm>
                  </p:grpSpPr>
                  <p:sp>
                    <p:nvSpPr>
                      <p:cNvPr id="551" name="Freeform 1220">
                        <a:extLst>
                          <a:ext uri="{FF2B5EF4-FFF2-40B4-BE49-F238E27FC236}">
                            <a16:creationId xmlns:a16="http://schemas.microsoft.com/office/drawing/2014/main" id="{997D9ECE-6F99-0633-FBE2-20070B534A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40035" y="1005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2" name="Freeform 1221">
                        <a:extLst>
                          <a:ext uri="{FF2B5EF4-FFF2-40B4-BE49-F238E27FC236}">
                            <a16:creationId xmlns:a16="http://schemas.microsoft.com/office/drawing/2014/main" id="{D5451093-7830-5EDD-EB93-D2455F4F92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71468" y="-2228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1" name="Graphic 19">
                      <a:extLst>
                        <a:ext uri="{FF2B5EF4-FFF2-40B4-BE49-F238E27FC236}">
                          <a16:creationId xmlns:a16="http://schemas.microsoft.com/office/drawing/2014/main" id="{DFC150B4-52A5-F4F8-DA23-2DD1A47AD9D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43845" y="-22287"/>
                      <a:ext cx="62864" cy="63737"/>
                      <a:chOff x="10443845" y="-22287"/>
                      <a:chExt cx="62864" cy="63737"/>
                    </a:xfrm>
                  </p:grpSpPr>
                  <p:sp>
                    <p:nvSpPr>
                      <p:cNvPr id="549" name="Freeform 1223">
                        <a:extLst>
                          <a:ext uri="{FF2B5EF4-FFF2-40B4-BE49-F238E27FC236}">
                            <a16:creationId xmlns:a16="http://schemas.microsoft.com/office/drawing/2014/main" id="{91C7AC3E-D5EC-2CE9-B433-86BB104B55C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43845" y="1005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50" name="Freeform 1224">
                        <a:extLst>
                          <a:ext uri="{FF2B5EF4-FFF2-40B4-BE49-F238E27FC236}">
                            <a16:creationId xmlns:a16="http://schemas.microsoft.com/office/drawing/2014/main" id="{9871981A-0059-D205-F2A5-69EDD21F9A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75278" y="-2228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2" name="Graphic 19">
                      <a:extLst>
                        <a:ext uri="{FF2B5EF4-FFF2-40B4-BE49-F238E27FC236}">
                          <a16:creationId xmlns:a16="http://schemas.microsoft.com/office/drawing/2014/main" id="{1662BE27-1AB5-47B4-E03B-2167CF0ABE6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482898" y="15764"/>
                      <a:ext cx="63817" cy="62786"/>
                      <a:chOff x="10482898" y="15764"/>
                      <a:chExt cx="63817" cy="62786"/>
                    </a:xfrm>
                  </p:grpSpPr>
                  <p:sp>
                    <p:nvSpPr>
                      <p:cNvPr id="547" name="Freeform 1226">
                        <a:extLst>
                          <a:ext uri="{FF2B5EF4-FFF2-40B4-BE49-F238E27FC236}">
                            <a16:creationId xmlns:a16="http://schemas.microsoft.com/office/drawing/2014/main" id="{1F362C6E-CAF5-8A08-22E5-F0F8A373CF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482898" y="4715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8" name="Freeform 1227">
                        <a:extLst>
                          <a:ext uri="{FF2B5EF4-FFF2-40B4-BE49-F238E27FC236}">
                            <a16:creationId xmlns:a16="http://schemas.microsoft.com/office/drawing/2014/main" id="{22B97D3B-0850-46F4-E691-A57811CFF67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15283" y="1576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3" name="Graphic 19">
                      <a:extLst>
                        <a:ext uri="{FF2B5EF4-FFF2-40B4-BE49-F238E27FC236}">
                          <a16:creationId xmlns:a16="http://schemas.microsoft.com/office/drawing/2014/main" id="{C67EB1CF-BB83-E05E-4FA7-30A2BB392B5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505758" y="15764"/>
                      <a:ext cx="62864" cy="62786"/>
                      <a:chOff x="10505758" y="15764"/>
                      <a:chExt cx="62864" cy="62786"/>
                    </a:xfrm>
                  </p:grpSpPr>
                  <p:sp>
                    <p:nvSpPr>
                      <p:cNvPr id="545" name="Freeform 1229">
                        <a:extLst>
                          <a:ext uri="{FF2B5EF4-FFF2-40B4-BE49-F238E27FC236}">
                            <a16:creationId xmlns:a16="http://schemas.microsoft.com/office/drawing/2014/main" id="{C02B9C7B-A9A0-5530-C46D-DC0AABE571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05758" y="47158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6" name="Freeform 1230">
                        <a:extLst>
                          <a:ext uri="{FF2B5EF4-FFF2-40B4-BE49-F238E27FC236}">
                            <a16:creationId xmlns:a16="http://schemas.microsoft.com/office/drawing/2014/main" id="{19DF4AB7-A465-4A0A-11FF-729F965BAB7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37190" y="1576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4" name="Graphic 19">
                      <a:extLst>
                        <a:ext uri="{FF2B5EF4-FFF2-40B4-BE49-F238E27FC236}">
                          <a16:creationId xmlns:a16="http://schemas.microsoft.com/office/drawing/2014/main" id="{66641B72-C150-99F3-4EC3-D8B2735FA3D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592435" y="39547"/>
                      <a:ext cx="62864" cy="62786"/>
                      <a:chOff x="10592435" y="39547"/>
                      <a:chExt cx="62864" cy="62786"/>
                    </a:xfrm>
                  </p:grpSpPr>
                  <p:sp>
                    <p:nvSpPr>
                      <p:cNvPr id="543" name="Freeform 1232">
                        <a:extLst>
                          <a:ext uri="{FF2B5EF4-FFF2-40B4-BE49-F238E27FC236}">
                            <a16:creationId xmlns:a16="http://schemas.microsoft.com/office/drawing/2014/main" id="{EF41F6D0-41EC-0499-97CE-CC1C829E9FA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592435" y="7094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4" name="Freeform 1233">
                        <a:extLst>
                          <a:ext uri="{FF2B5EF4-FFF2-40B4-BE49-F238E27FC236}">
                            <a16:creationId xmlns:a16="http://schemas.microsoft.com/office/drawing/2014/main" id="{7D146C05-201F-9A75-BD6E-85CE61341F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23868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5" name="Graphic 19">
                      <a:extLst>
                        <a:ext uri="{FF2B5EF4-FFF2-40B4-BE49-F238E27FC236}">
                          <a16:creationId xmlns:a16="http://schemas.microsoft.com/office/drawing/2014/main" id="{6B65264A-3821-B5EF-A082-3C3CC2DFA0A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627678" y="39547"/>
                      <a:ext cx="63817" cy="62786"/>
                      <a:chOff x="10627678" y="39547"/>
                      <a:chExt cx="63817" cy="62786"/>
                    </a:xfrm>
                  </p:grpSpPr>
                  <p:sp>
                    <p:nvSpPr>
                      <p:cNvPr id="541" name="Freeform 1235">
                        <a:extLst>
                          <a:ext uri="{FF2B5EF4-FFF2-40B4-BE49-F238E27FC236}">
                            <a16:creationId xmlns:a16="http://schemas.microsoft.com/office/drawing/2014/main" id="{F11DEA7A-0F32-2398-0EDF-B0D7CDD88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27678" y="7094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2" name="Freeform 1236">
                        <a:extLst>
                          <a:ext uri="{FF2B5EF4-FFF2-40B4-BE49-F238E27FC236}">
                            <a16:creationId xmlns:a16="http://schemas.microsoft.com/office/drawing/2014/main" id="{9DBFEFDC-81E8-A5B3-D557-385D9A167C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59110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6" name="Graphic 19">
                      <a:extLst>
                        <a:ext uri="{FF2B5EF4-FFF2-40B4-BE49-F238E27FC236}">
                          <a16:creationId xmlns:a16="http://schemas.microsoft.com/office/drawing/2014/main" id="{54114534-AE95-DB84-2E79-AFC9447CA5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693400" y="39547"/>
                      <a:ext cx="62864" cy="62786"/>
                      <a:chOff x="10693400" y="39547"/>
                      <a:chExt cx="62864" cy="62786"/>
                    </a:xfrm>
                  </p:grpSpPr>
                  <p:sp>
                    <p:nvSpPr>
                      <p:cNvPr id="539" name="Freeform 1238">
                        <a:extLst>
                          <a:ext uri="{FF2B5EF4-FFF2-40B4-BE49-F238E27FC236}">
                            <a16:creationId xmlns:a16="http://schemas.microsoft.com/office/drawing/2014/main" id="{4BC2EC8E-46DA-2D85-5830-2802C3A1EC0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93400" y="7094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40" name="Freeform 1239">
                        <a:extLst>
                          <a:ext uri="{FF2B5EF4-FFF2-40B4-BE49-F238E27FC236}">
                            <a16:creationId xmlns:a16="http://schemas.microsoft.com/office/drawing/2014/main" id="{F859C66F-5BBD-0CA0-E515-E4828CD893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24833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7" name="Graphic 19">
                      <a:extLst>
                        <a:ext uri="{FF2B5EF4-FFF2-40B4-BE49-F238E27FC236}">
                          <a16:creationId xmlns:a16="http://schemas.microsoft.com/office/drawing/2014/main" id="{7BB18C4F-6F85-CDFE-0608-A43258FA08B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697210" y="39547"/>
                      <a:ext cx="63817" cy="62786"/>
                      <a:chOff x="10697210" y="39547"/>
                      <a:chExt cx="63817" cy="62786"/>
                    </a:xfrm>
                  </p:grpSpPr>
                  <p:sp>
                    <p:nvSpPr>
                      <p:cNvPr id="537" name="Freeform 1241">
                        <a:extLst>
                          <a:ext uri="{FF2B5EF4-FFF2-40B4-BE49-F238E27FC236}">
                            <a16:creationId xmlns:a16="http://schemas.microsoft.com/office/drawing/2014/main" id="{538D6EAA-1CC1-6132-8FA7-81A08A0C001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697210" y="70940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8" name="Freeform 1242">
                        <a:extLst>
                          <a:ext uri="{FF2B5EF4-FFF2-40B4-BE49-F238E27FC236}">
                            <a16:creationId xmlns:a16="http://schemas.microsoft.com/office/drawing/2014/main" id="{56C598DD-4FEB-A1AA-3639-EA3620315E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729595" y="3954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8" name="Graphic 19">
                      <a:extLst>
                        <a:ext uri="{FF2B5EF4-FFF2-40B4-BE49-F238E27FC236}">
                          <a16:creationId xmlns:a16="http://schemas.microsoft.com/office/drawing/2014/main" id="{7665A377-0434-5049-81C4-5ACE23CA8AA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25810" y="68086"/>
                      <a:ext cx="62864" cy="63737"/>
                      <a:chOff x="10925810" y="68086"/>
                      <a:chExt cx="62864" cy="63737"/>
                    </a:xfrm>
                  </p:grpSpPr>
                  <p:sp>
                    <p:nvSpPr>
                      <p:cNvPr id="535" name="Freeform 1244">
                        <a:extLst>
                          <a:ext uri="{FF2B5EF4-FFF2-40B4-BE49-F238E27FC236}">
                            <a16:creationId xmlns:a16="http://schemas.microsoft.com/office/drawing/2014/main" id="{9582B763-EAA0-5F1B-67BF-4202957E3BF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25810" y="99480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6" name="Freeform 1245">
                        <a:extLst>
                          <a:ext uri="{FF2B5EF4-FFF2-40B4-BE49-F238E27FC236}">
                            <a16:creationId xmlns:a16="http://schemas.microsoft.com/office/drawing/2014/main" id="{39B47285-81E7-BAFD-57B2-72E45A4AEAB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57243" y="68086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09" name="Graphic 19">
                      <a:extLst>
                        <a:ext uri="{FF2B5EF4-FFF2-40B4-BE49-F238E27FC236}">
                          <a16:creationId xmlns:a16="http://schemas.microsoft.com/office/drawing/2014/main" id="{5834F86D-BC87-D748-A588-208067B51EA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0980103" y="86161"/>
                      <a:ext cx="62864" cy="62786"/>
                      <a:chOff x="10980103" y="86161"/>
                      <a:chExt cx="62864" cy="62786"/>
                    </a:xfrm>
                  </p:grpSpPr>
                  <p:sp>
                    <p:nvSpPr>
                      <p:cNvPr id="533" name="Freeform 1247">
                        <a:extLst>
                          <a:ext uri="{FF2B5EF4-FFF2-40B4-BE49-F238E27FC236}">
                            <a16:creationId xmlns:a16="http://schemas.microsoft.com/office/drawing/2014/main" id="{BB4CBE45-FD3C-C3D4-5E56-55F685A62C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980103" y="11755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4" name="Freeform 1248">
                        <a:extLst>
                          <a:ext uri="{FF2B5EF4-FFF2-40B4-BE49-F238E27FC236}">
                            <a16:creationId xmlns:a16="http://schemas.microsoft.com/office/drawing/2014/main" id="{427CDDDF-7A0A-EAC3-5430-915605A242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11535" y="8616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0" name="Graphic 19">
                      <a:extLst>
                        <a:ext uri="{FF2B5EF4-FFF2-40B4-BE49-F238E27FC236}">
                          <a16:creationId xmlns:a16="http://schemas.microsoft.com/office/drawing/2014/main" id="{3C6A0A8F-8FD4-EAFE-A8CF-88D5477938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75353" y="112798"/>
                      <a:ext cx="62864" cy="62786"/>
                      <a:chOff x="11075353" y="112798"/>
                      <a:chExt cx="62864" cy="62786"/>
                    </a:xfrm>
                  </p:grpSpPr>
                  <p:sp>
                    <p:nvSpPr>
                      <p:cNvPr id="531" name="Freeform 1250">
                        <a:extLst>
                          <a:ext uri="{FF2B5EF4-FFF2-40B4-BE49-F238E27FC236}">
                            <a16:creationId xmlns:a16="http://schemas.microsoft.com/office/drawing/2014/main" id="{C936FB3A-BE38-F2E4-591B-AE00F2B06F2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75353" y="14419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2" name="Freeform 1251">
                        <a:extLst>
                          <a:ext uri="{FF2B5EF4-FFF2-40B4-BE49-F238E27FC236}">
                            <a16:creationId xmlns:a16="http://schemas.microsoft.com/office/drawing/2014/main" id="{D64BF793-C919-B9CE-F705-A17C45A0B3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06785" y="11279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1" name="Graphic 19">
                      <a:extLst>
                        <a:ext uri="{FF2B5EF4-FFF2-40B4-BE49-F238E27FC236}">
                          <a16:creationId xmlns:a16="http://schemas.microsoft.com/office/drawing/2014/main" id="{DDE28E3D-5627-A82E-EC06-311278D9F6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078210" y="112798"/>
                      <a:ext cx="63817" cy="62786"/>
                      <a:chOff x="11078210" y="112798"/>
                      <a:chExt cx="63817" cy="62786"/>
                    </a:xfrm>
                  </p:grpSpPr>
                  <p:sp>
                    <p:nvSpPr>
                      <p:cNvPr id="529" name="Freeform 1253">
                        <a:extLst>
                          <a:ext uri="{FF2B5EF4-FFF2-40B4-BE49-F238E27FC236}">
                            <a16:creationId xmlns:a16="http://schemas.microsoft.com/office/drawing/2014/main" id="{8536814C-1C5B-6EDC-9DC3-715ED569E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078210" y="14419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30" name="Freeform 1254">
                        <a:extLst>
                          <a:ext uri="{FF2B5EF4-FFF2-40B4-BE49-F238E27FC236}">
                            <a16:creationId xmlns:a16="http://schemas.microsoft.com/office/drawing/2014/main" id="{BCC9BA62-8315-F607-251F-5E55EF91A1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10595" y="11279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2" name="Graphic 19">
                      <a:extLst>
                        <a:ext uri="{FF2B5EF4-FFF2-40B4-BE49-F238E27FC236}">
                          <a16:creationId xmlns:a16="http://schemas.microsoft.com/office/drawing/2014/main" id="{56D58766-2164-723D-FFD3-8B6F9BCC9E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16310" y="121360"/>
                      <a:ext cx="63817" cy="62786"/>
                      <a:chOff x="11116310" y="121360"/>
                      <a:chExt cx="63817" cy="62786"/>
                    </a:xfrm>
                  </p:grpSpPr>
                  <p:sp>
                    <p:nvSpPr>
                      <p:cNvPr id="527" name="Freeform 1256">
                        <a:extLst>
                          <a:ext uri="{FF2B5EF4-FFF2-40B4-BE49-F238E27FC236}">
                            <a16:creationId xmlns:a16="http://schemas.microsoft.com/office/drawing/2014/main" id="{6FFA9FE7-D093-D39A-3BB6-769A31C446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16310" y="1527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8" name="Freeform 1257">
                        <a:extLst>
                          <a:ext uri="{FF2B5EF4-FFF2-40B4-BE49-F238E27FC236}">
                            <a16:creationId xmlns:a16="http://schemas.microsoft.com/office/drawing/2014/main" id="{67690E52-C24E-2EA4-EA91-2EABC7BCC5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48695" y="1213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3" name="Graphic 19">
                      <a:extLst>
                        <a:ext uri="{FF2B5EF4-FFF2-40B4-BE49-F238E27FC236}">
                          <a16:creationId xmlns:a16="http://schemas.microsoft.com/office/drawing/2014/main" id="{D746951D-5C71-62FC-CD94-17D8D404C0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162030" y="121360"/>
                      <a:ext cx="62865" cy="62786"/>
                      <a:chOff x="11162030" y="121360"/>
                      <a:chExt cx="62865" cy="62786"/>
                    </a:xfrm>
                  </p:grpSpPr>
                  <p:sp>
                    <p:nvSpPr>
                      <p:cNvPr id="525" name="Freeform 1259">
                        <a:extLst>
                          <a:ext uri="{FF2B5EF4-FFF2-40B4-BE49-F238E27FC236}">
                            <a16:creationId xmlns:a16="http://schemas.microsoft.com/office/drawing/2014/main" id="{C04631F0-A223-4DE4-D819-67A9334089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62030" y="1527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6" name="Freeform 1260">
                        <a:extLst>
                          <a:ext uri="{FF2B5EF4-FFF2-40B4-BE49-F238E27FC236}">
                            <a16:creationId xmlns:a16="http://schemas.microsoft.com/office/drawing/2014/main" id="{24B8DB2F-273D-07BB-444A-AB32764266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193463" y="1213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4" name="Graphic 19">
                      <a:extLst>
                        <a:ext uri="{FF2B5EF4-FFF2-40B4-BE49-F238E27FC236}">
                          <a16:creationId xmlns:a16="http://schemas.microsoft.com/office/drawing/2014/main" id="{BE811297-3CDA-BDFD-BE74-01A80A79D3A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19180" y="134678"/>
                      <a:ext cx="63817" cy="62786"/>
                      <a:chOff x="11219180" y="134678"/>
                      <a:chExt cx="63817" cy="62786"/>
                    </a:xfrm>
                  </p:grpSpPr>
                  <p:sp>
                    <p:nvSpPr>
                      <p:cNvPr id="523" name="Freeform 1262">
                        <a:extLst>
                          <a:ext uri="{FF2B5EF4-FFF2-40B4-BE49-F238E27FC236}">
                            <a16:creationId xmlns:a16="http://schemas.microsoft.com/office/drawing/2014/main" id="{D3D69FB9-9041-2A18-4FBB-DA184695FB9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19180" y="16607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4" name="Freeform 1263">
                        <a:extLst>
                          <a:ext uri="{FF2B5EF4-FFF2-40B4-BE49-F238E27FC236}">
                            <a16:creationId xmlns:a16="http://schemas.microsoft.com/office/drawing/2014/main" id="{3505749B-F331-4684-4347-FDC56CC406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51565" y="13467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5" name="Graphic 19">
                      <a:extLst>
                        <a:ext uri="{FF2B5EF4-FFF2-40B4-BE49-F238E27FC236}">
                          <a16:creationId xmlns:a16="http://schemas.microsoft.com/office/drawing/2014/main" id="{B6EA29E7-748F-1E4C-A8AF-999E1DBF397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41088" y="134678"/>
                      <a:ext cx="63817" cy="62786"/>
                      <a:chOff x="11241088" y="134678"/>
                      <a:chExt cx="63817" cy="62786"/>
                    </a:xfrm>
                  </p:grpSpPr>
                  <p:sp>
                    <p:nvSpPr>
                      <p:cNvPr id="521" name="Freeform 1265">
                        <a:extLst>
                          <a:ext uri="{FF2B5EF4-FFF2-40B4-BE49-F238E27FC236}">
                            <a16:creationId xmlns:a16="http://schemas.microsoft.com/office/drawing/2014/main" id="{CF54EC81-B818-2701-E63C-7F2619166E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41088" y="16607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2" name="Freeform 1266">
                        <a:extLst>
                          <a:ext uri="{FF2B5EF4-FFF2-40B4-BE49-F238E27FC236}">
                            <a16:creationId xmlns:a16="http://schemas.microsoft.com/office/drawing/2014/main" id="{B1564827-F840-6031-880C-8B64D018090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73473" y="13467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6" name="Graphic 19">
                      <a:extLst>
                        <a:ext uri="{FF2B5EF4-FFF2-40B4-BE49-F238E27FC236}">
                          <a16:creationId xmlns:a16="http://schemas.microsoft.com/office/drawing/2014/main" id="{698D724D-E025-8B7A-1F86-54B4DB65303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243945" y="134678"/>
                      <a:ext cx="62864" cy="62786"/>
                      <a:chOff x="11243945" y="134678"/>
                      <a:chExt cx="62864" cy="62786"/>
                    </a:xfrm>
                  </p:grpSpPr>
                  <p:sp>
                    <p:nvSpPr>
                      <p:cNvPr id="519" name="Freeform 1268">
                        <a:extLst>
                          <a:ext uri="{FF2B5EF4-FFF2-40B4-BE49-F238E27FC236}">
                            <a16:creationId xmlns:a16="http://schemas.microsoft.com/office/drawing/2014/main" id="{99652106-9690-53C8-C0B0-E6CCCA3B0C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43945" y="16607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20" name="Freeform 1269">
                        <a:extLst>
                          <a:ext uri="{FF2B5EF4-FFF2-40B4-BE49-F238E27FC236}">
                            <a16:creationId xmlns:a16="http://schemas.microsoft.com/office/drawing/2014/main" id="{7851B63D-86F8-3AA3-ACC5-632224EE34E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275378" y="13467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7" name="Graphic 19">
                      <a:extLst>
                        <a:ext uri="{FF2B5EF4-FFF2-40B4-BE49-F238E27FC236}">
                          <a16:creationId xmlns:a16="http://schemas.microsoft.com/office/drawing/2014/main" id="{E356FB0E-CDCA-9020-8D08-67BEB208AF6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327765" y="149899"/>
                      <a:ext cx="63817" cy="62786"/>
                      <a:chOff x="11327765" y="149899"/>
                      <a:chExt cx="63817" cy="62786"/>
                    </a:xfrm>
                  </p:grpSpPr>
                  <p:sp>
                    <p:nvSpPr>
                      <p:cNvPr id="517" name="Freeform 1271">
                        <a:extLst>
                          <a:ext uri="{FF2B5EF4-FFF2-40B4-BE49-F238E27FC236}">
                            <a16:creationId xmlns:a16="http://schemas.microsoft.com/office/drawing/2014/main" id="{15FFD221-280C-9200-4217-9008422D7E2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27765" y="18129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8" name="Freeform 1272">
                        <a:extLst>
                          <a:ext uri="{FF2B5EF4-FFF2-40B4-BE49-F238E27FC236}">
                            <a16:creationId xmlns:a16="http://schemas.microsoft.com/office/drawing/2014/main" id="{CA100360-43EC-DD4E-038D-C7DAD7C6D65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360150" y="14989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8" name="Graphic 19">
                      <a:extLst>
                        <a:ext uri="{FF2B5EF4-FFF2-40B4-BE49-F238E27FC236}">
                          <a16:creationId xmlns:a16="http://schemas.microsoft.com/office/drawing/2014/main" id="{EA2DB529-B937-A6B2-055F-2528ADA0F93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61115" y="188903"/>
                      <a:ext cx="62864" cy="63737"/>
                      <a:chOff x="11461115" y="188903"/>
                      <a:chExt cx="62864" cy="63737"/>
                    </a:xfrm>
                  </p:grpSpPr>
                  <p:sp>
                    <p:nvSpPr>
                      <p:cNvPr id="515" name="Freeform 1274">
                        <a:extLst>
                          <a:ext uri="{FF2B5EF4-FFF2-40B4-BE49-F238E27FC236}">
                            <a16:creationId xmlns:a16="http://schemas.microsoft.com/office/drawing/2014/main" id="{47266C2B-D9E3-7156-CB82-09F97C308CA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61115" y="22124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6" name="Freeform 1275">
                        <a:extLst>
                          <a:ext uri="{FF2B5EF4-FFF2-40B4-BE49-F238E27FC236}">
                            <a16:creationId xmlns:a16="http://schemas.microsoft.com/office/drawing/2014/main" id="{861AA86D-D8A3-C570-569A-82129B2B3D5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92548" y="1889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19" name="Graphic 19">
                      <a:extLst>
                        <a:ext uri="{FF2B5EF4-FFF2-40B4-BE49-F238E27FC236}">
                          <a16:creationId xmlns:a16="http://schemas.microsoft.com/office/drawing/2014/main" id="{69C946BA-0171-C67D-6920-8FB93626B76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463973" y="188903"/>
                      <a:ext cx="63817" cy="63737"/>
                      <a:chOff x="11463973" y="188903"/>
                      <a:chExt cx="63817" cy="63737"/>
                    </a:xfrm>
                  </p:grpSpPr>
                  <p:sp>
                    <p:nvSpPr>
                      <p:cNvPr id="513" name="Freeform 1277">
                        <a:extLst>
                          <a:ext uri="{FF2B5EF4-FFF2-40B4-BE49-F238E27FC236}">
                            <a16:creationId xmlns:a16="http://schemas.microsoft.com/office/drawing/2014/main" id="{EA562BC7-8F09-C47E-B5E7-A3C0AA5FE64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63973" y="22124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4" name="Freeform 1278">
                        <a:extLst>
                          <a:ext uri="{FF2B5EF4-FFF2-40B4-BE49-F238E27FC236}">
                            <a16:creationId xmlns:a16="http://schemas.microsoft.com/office/drawing/2014/main" id="{E1F2C725-2C4F-FF7D-80F2-6C28472897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496358" y="1889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0" name="Graphic 19">
                      <a:extLst>
                        <a:ext uri="{FF2B5EF4-FFF2-40B4-BE49-F238E27FC236}">
                          <a16:creationId xmlns:a16="http://schemas.microsoft.com/office/drawing/2014/main" id="{E8D2204C-619A-D2E8-E62F-AC8221D27EB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26838" y="197465"/>
                      <a:ext cx="62865" cy="63737"/>
                      <a:chOff x="11526838" y="197465"/>
                      <a:chExt cx="62865" cy="63737"/>
                    </a:xfrm>
                  </p:grpSpPr>
                  <p:sp>
                    <p:nvSpPr>
                      <p:cNvPr id="511" name="Freeform 1280">
                        <a:extLst>
                          <a:ext uri="{FF2B5EF4-FFF2-40B4-BE49-F238E27FC236}">
                            <a16:creationId xmlns:a16="http://schemas.microsoft.com/office/drawing/2014/main" id="{3801EA90-82DA-C93C-2FA3-37CF197EED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26838" y="2298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2" name="Freeform 1281">
                        <a:extLst>
                          <a:ext uri="{FF2B5EF4-FFF2-40B4-BE49-F238E27FC236}">
                            <a16:creationId xmlns:a16="http://schemas.microsoft.com/office/drawing/2014/main" id="{5A6176A6-7DA3-B47C-FC91-7C2257CE412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58270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1" name="Graphic 19">
                      <a:extLst>
                        <a:ext uri="{FF2B5EF4-FFF2-40B4-BE49-F238E27FC236}">
                          <a16:creationId xmlns:a16="http://schemas.microsoft.com/office/drawing/2014/main" id="{549CB52B-6415-0BB8-37A1-14A27B03D42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70653" y="197465"/>
                      <a:ext cx="63817" cy="63737"/>
                      <a:chOff x="11570653" y="197465"/>
                      <a:chExt cx="63817" cy="63737"/>
                    </a:xfrm>
                  </p:grpSpPr>
                  <p:sp>
                    <p:nvSpPr>
                      <p:cNvPr id="509" name="Freeform 1283">
                        <a:extLst>
                          <a:ext uri="{FF2B5EF4-FFF2-40B4-BE49-F238E27FC236}">
                            <a16:creationId xmlns:a16="http://schemas.microsoft.com/office/drawing/2014/main" id="{0F94EF6C-4D42-3E2F-7C5A-2B3237C9E3D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70653" y="2298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10" name="Freeform 1284">
                        <a:extLst>
                          <a:ext uri="{FF2B5EF4-FFF2-40B4-BE49-F238E27FC236}">
                            <a16:creationId xmlns:a16="http://schemas.microsoft.com/office/drawing/2014/main" id="{AA61D960-33F5-2FAF-E7A2-5DF566A8C85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03038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2" name="Graphic 19">
                      <a:extLst>
                        <a:ext uri="{FF2B5EF4-FFF2-40B4-BE49-F238E27FC236}">
                          <a16:creationId xmlns:a16="http://schemas.microsoft.com/office/drawing/2014/main" id="{6C91172B-E73E-DF1B-C7C9-8EE8B12EB7F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94465" y="197465"/>
                      <a:ext cx="62864" cy="63737"/>
                      <a:chOff x="11594465" y="197465"/>
                      <a:chExt cx="62864" cy="63737"/>
                    </a:xfrm>
                  </p:grpSpPr>
                  <p:sp>
                    <p:nvSpPr>
                      <p:cNvPr id="507" name="Freeform 1286">
                        <a:extLst>
                          <a:ext uri="{FF2B5EF4-FFF2-40B4-BE49-F238E27FC236}">
                            <a16:creationId xmlns:a16="http://schemas.microsoft.com/office/drawing/2014/main" id="{CA319ACD-A889-CFE9-7DBD-433D1B33F2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94465" y="2298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8" name="Freeform 1287">
                        <a:extLst>
                          <a:ext uri="{FF2B5EF4-FFF2-40B4-BE49-F238E27FC236}">
                            <a16:creationId xmlns:a16="http://schemas.microsoft.com/office/drawing/2014/main" id="{C95AD493-33F1-CF30-ABD3-58FBB0A490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25898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3" name="Graphic 19">
                      <a:extLst>
                        <a:ext uri="{FF2B5EF4-FFF2-40B4-BE49-F238E27FC236}">
                          <a16:creationId xmlns:a16="http://schemas.microsoft.com/office/drawing/2014/main" id="{54B37402-8F74-C033-505B-D1412557A54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598275" y="197465"/>
                      <a:ext cx="62865" cy="63737"/>
                      <a:chOff x="11598275" y="197465"/>
                      <a:chExt cx="62865" cy="63737"/>
                    </a:xfrm>
                  </p:grpSpPr>
                  <p:sp>
                    <p:nvSpPr>
                      <p:cNvPr id="505" name="Freeform 1289">
                        <a:extLst>
                          <a:ext uri="{FF2B5EF4-FFF2-40B4-BE49-F238E27FC236}">
                            <a16:creationId xmlns:a16="http://schemas.microsoft.com/office/drawing/2014/main" id="{B5B6CB63-646E-80C4-48A5-2CFFE683E8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598275" y="2298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6" name="Freeform 1290">
                        <a:extLst>
                          <a:ext uri="{FF2B5EF4-FFF2-40B4-BE49-F238E27FC236}">
                            <a16:creationId xmlns:a16="http://schemas.microsoft.com/office/drawing/2014/main" id="{CA2089F2-9260-FC8C-F940-84CC362A99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29708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4" name="Graphic 19">
                      <a:extLst>
                        <a:ext uri="{FF2B5EF4-FFF2-40B4-BE49-F238E27FC236}">
                          <a16:creationId xmlns:a16="http://schemas.microsoft.com/office/drawing/2014/main" id="{8A00360A-D731-5674-FC4B-A8285CCABCC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69713" y="197465"/>
                      <a:ext cx="63817" cy="63737"/>
                      <a:chOff x="11669713" y="197465"/>
                      <a:chExt cx="63817" cy="63737"/>
                    </a:xfrm>
                  </p:grpSpPr>
                  <p:sp>
                    <p:nvSpPr>
                      <p:cNvPr id="503" name="Freeform 1292">
                        <a:extLst>
                          <a:ext uri="{FF2B5EF4-FFF2-40B4-BE49-F238E27FC236}">
                            <a16:creationId xmlns:a16="http://schemas.microsoft.com/office/drawing/2014/main" id="{DC2D96A4-831E-98AE-8E53-BE7F9AAF91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69713" y="229809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4" name="Freeform 1293">
                        <a:extLst>
                          <a:ext uri="{FF2B5EF4-FFF2-40B4-BE49-F238E27FC236}">
                            <a16:creationId xmlns:a16="http://schemas.microsoft.com/office/drawing/2014/main" id="{7B13AD16-0ABC-A923-8525-CA0CDFB1E3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1145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5" name="Graphic 19">
                      <a:extLst>
                        <a:ext uri="{FF2B5EF4-FFF2-40B4-BE49-F238E27FC236}">
                          <a16:creationId xmlns:a16="http://schemas.microsoft.com/office/drawing/2014/main" id="{02422516-B47D-0C0A-6863-93C20E32DF8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72570" y="197465"/>
                      <a:ext cx="62864" cy="63737"/>
                      <a:chOff x="11672570" y="197465"/>
                      <a:chExt cx="62864" cy="63737"/>
                    </a:xfrm>
                  </p:grpSpPr>
                  <p:sp>
                    <p:nvSpPr>
                      <p:cNvPr id="501" name="Freeform 1295">
                        <a:extLst>
                          <a:ext uri="{FF2B5EF4-FFF2-40B4-BE49-F238E27FC236}">
                            <a16:creationId xmlns:a16="http://schemas.microsoft.com/office/drawing/2014/main" id="{36B3DF34-DBEE-3E8A-709F-0292A22AA4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72570" y="229809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2" name="Freeform 1296">
                        <a:extLst>
                          <a:ext uri="{FF2B5EF4-FFF2-40B4-BE49-F238E27FC236}">
                            <a16:creationId xmlns:a16="http://schemas.microsoft.com/office/drawing/2014/main" id="{D8782380-3A01-D95E-B07B-2A3628B778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4003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6" name="Graphic 19">
                      <a:extLst>
                        <a:ext uri="{FF2B5EF4-FFF2-40B4-BE49-F238E27FC236}">
                          <a16:creationId xmlns:a16="http://schemas.microsoft.com/office/drawing/2014/main" id="{92BE3A77-34FE-4B6A-8156-E8810FEA07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676380" y="197465"/>
                      <a:ext cx="62865" cy="63737"/>
                      <a:chOff x="11676380" y="197465"/>
                      <a:chExt cx="62865" cy="63737"/>
                    </a:xfrm>
                  </p:grpSpPr>
                  <p:sp>
                    <p:nvSpPr>
                      <p:cNvPr id="499" name="Freeform 1298">
                        <a:extLst>
                          <a:ext uri="{FF2B5EF4-FFF2-40B4-BE49-F238E27FC236}">
                            <a16:creationId xmlns:a16="http://schemas.microsoft.com/office/drawing/2014/main" id="{3A6294E1-8DA1-BCCC-8B2E-5534E2EC73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676380" y="229809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500" name="Freeform 1299">
                        <a:extLst>
                          <a:ext uri="{FF2B5EF4-FFF2-40B4-BE49-F238E27FC236}">
                            <a16:creationId xmlns:a16="http://schemas.microsoft.com/office/drawing/2014/main" id="{A277BB78-814B-D432-F74F-42E0B7BAE0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07813" y="19746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7" name="Graphic 19">
                      <a:extLst>
                        <a:ext uri="{FF2B5EF4-FFF2-40B4-BE49-F238E27FC236}">
                          <a16:creationId xmlns:a16="http://schemas.microsoft.com/office/drawing/2014/main" id="{D4C61F7A-BCC8-B2D5-68B4-7A7347BAB1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746865" y="207929"/>
                      <a:ext cx="62864" cy="62786"/>
                      <a:chOff x="11746865" y="207929"/>
                      <a:chExt cx="62864" cy="62786"/>
                    </a:xfrm>
                  </p:grpSpPr>
                  <p:sp>
                    <p:nvSpPr>
                      <p:cNvPr id="497" name="Freeform 1301">
                        <a:extLst>
                          <a:ext uri="{FF2B5EF4-FFF2-40B4-BE49-F238E27FC236}">
                            <a16:creationId xmlns:a16="http://schemas.microsoft.com/office/drawing/2014/main" id="{FBE2BD9F-FC80-60B0-A428-0EE3DB21F4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46865" y="2393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8" name="Freeform 1302">
                        <a:extLst>
                          <a:ext uri="{FF2B5EF4-FFF2-40B4-BE49-F238E27FC236}">
                            <a16:creationId xmlns:a16="http://schemas.microsoft.com/office/drawing/2014/main" id="{F3581CD1-4A3B-08C7-852E-55BDE71050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778298" y="2079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8" name="Graphic 19">
                      <a:extLst>
                        <a:ext uri="{FF2B5EF4-FFF2-40B4-BE49-F238E27FC236}">
                          <a16:creationId xmlns:a16="http://schemas.microsoft.com/office/drawing/2014/main" id="{C7C30C59-AACB-44A0-346C-140D754CD2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19268" y="257397"/>
                      <a:ext cx="63817" cy="62786"/>
                      <a:chOff x="11919268" y="257397"/>
                      <a:chExt cx="63817" cy="62786"/>
                    </a:xfrm>
                  </p:grpSpPr>
                  <p:sp>
                    <p:nvSpPr>
                      <p:cNvPr id="495" name="Freeform 1304">
                        <a:extLst>
                          <a:ext uri="{FF2B5EF4-FFF2-40B4-BE49-F238E27FC236}">
                            <a16:creationId xmlns:a16="http://schemas.microsoft.com/office/drawing/2014/main" id="{267CCB43-67F7-6B5D-95A1-2F97F50219D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19268" y="28879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6" name="Freeform 1305">
                        <a:extLst>
                          <a:ext uri="{FF2B5EF4-FFF2-40B4-BE49-F238E27FC236}">
                            <a16:creationId xmlns:a16="http://schemas.microsoft.com/office/drawing/2014/main" id="{57E9312B-3BC4-B969-D18A-EEE9C2500BE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0700" y="2573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29" name="Graphic 19">
                      <a:extLst>
                        <a:ext uri="{FF2B5EF4-FFF2-40B4-BE49-F238E27FC236}">
                          <a16:creationId xmlns:a16="http://schemas.microsoft.com/office/drawing/2014/main" id="{88C7D75E-FAE9-74AA-5126-C2C98CB19EF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1922125" y="257397"/>
                      <a:ext cx="63817" cy="62786"/>
                      <a:chOff x="11922125" y="257397"/>
                      <a:chExt cx="63817" cy="62786"/>
                    </a:xfrm>
                  </p:grpSpPr>
                  <p:sp>
                    <p:nvSpPr>
                      <p:cNvPr id="493" name="Freeform 1307">
                        <a:extLst>
                          <a:ext uri="{FF2B5EF4-FFF2-40B4-BE49-F238E27FC236}">
                            <a16:creationId xmlns:a16="http://schemas.microsoft.com/office/drawing/2014/main" id="{36AB7A53-E763-C4F5-F632-F7A74E25248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22125" y="28879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4" name="Freeform 1308">
                        <a:extLst>
                          <a:ext uri="{FF2B5EF4-FFF2-40B4-BE49-F238E27FC236}">
                            <a16:creationId xmlns:a16="http://schemas.microsoft.com/office/drawing/2014/main" id="{56A52234-9BC3-0A5F-7F44-0192B4128E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953558" y="257397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0" name="Graphic 19">
                      <a:extLst>
                        <a:ext uri="{FF2B5EF4-FFF2-40B4-BE49-F238E27FC236}">
                          <a16:creationId xmlns:a16="http://schemas.microsoft.com/office/drawing/2014/main" id="{C8AB1FC4-1CDC-6A9C-49B5-198D353C45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50713" y="265008"/>
                      <a:ext cx="62865" cy="63737"/>
                      <a:chOff x="12050713" y="265008"/>
                      <a:chExt cx="62865" cy="63737"/>
                    </a:xfrm>
                  </p:grpSpPr>
                  <p:sp>
                    <p:nvSpPr>
                      <p:cNvPr id="491" name="Freeform 1310">
                        <a:extLst>
                          <a:ext uri="{FF2B5EF4-FFF2-40B4-BE49-F238E27FC236}">
                            <a16:creationId xmlns:a16="http://schemas.microsoft.com/office/drawing/2014/main" id="{75CCFBB9-9E9A-F9A5-45F3-2214D5CC4E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50713" y="29735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2" name="Freeform 1311">
                        <a:extLst>
                          <a:ext uri="{FF2B5EF4-FFF2-40B4-BE49-F238E27FC236}">
                            <a16:creationId xmlns:a16="http://schemas.microsoft.com/office/drawing/2014/main" id="{44B39C99-02BE-0A47-DC58-BF580C4B5E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82145" y="26500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1" name="Graphic 19">
                      <a:extLst>
                        <a:ext uri="{FF2B5EF4-FFF2-40B4-BE49-F238E27FC236}">
                          <a16:creationId xmlns:a16="http://schemas.microsoft.com/office/drawing/2014/main" id="{E9A2B859-DB4C-063D-81AD-502FA20E6F8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75478" y="279277"/>
                      <a:ext cx="62864" cy="63737"/>
                      <a:chOff x="12075478" y="279277"/>
                      <a:chExt cx="62864" cy="63737"/>
                    </a:xfrm>
                  </p:grpSpPr>
                  <p:sp>
                    <p:nvSpPr>
                      <p:cNvPr id="489" name="Freeform 1313">
                        <a:extLst>
                          <a:ext uri="{FF2B5EF4-FFF2-40B4-BE49-F238E27FC236}">
                            <a16:creationId xmlns:a16="http://schemas.microsoft.com/office/drawing/2014/main" id="{970041AF-C6DD-B577-3754-4FF5D3899B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75478" y="3116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90" name="Freeform 1314">
                        <a:extLst>
                          <a:ext uri="{FF2B5EF4-FFF2-40B4-BE49-F238E27FC236}">
                            <a16:creationId xmlns:a16="http://schemas.microsoft.com/office/drawing/2014/main" id="{552D3034-8175-47C9-4EF1-5D93D4B0388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06910" y="279277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2" name="Graphic 19">
                      <a:extLst>
                        <a:ext uri="{FF2B5EF4-FFF2-40B4-BE49-F238E27FC236}">
                          <a16:creationId xmlns:a16="http://schemas.microsoft.com/office/drawing/2014/main" id="{1D40D3A3-61C0-2EAF-1770-3137C88C5AA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078335" y="280229"/>
                      <a:ext cx="63817" cy="62786"/>
                      <a:chOff x="12078335" y="280229"/>
                      <a:chExt cx="63817" cy="62786"/>
                    </a:xfrm>
                  </p:grpSpPr>
                  <p:sp>
                    <p:nvSpPr>
                      <p:cNvPr id="487" name="Freeform 1316">
                        <a:extLst>
                          <a:ext uri="{FF2B5EF4-FFF2-40B4-BE49-F238E27FC236}">
                            <a16:creationId xmlns:a16="http://schemas.microsoft.com/office/drawing/2014/main" id="{1F630A2C-74F2-A3F6-570D-7E4F6A75CB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078335" y="3116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8" name="Freeform 1317">
                        <a:extLst>
                          <a:ext uri="{FF2B5EF4-FFF2-40B4-BE49-F238E27FC236}">
                            <a16:creationId xmlns:a16="http://schemas.microsoft.com/office/drawing/2014/main" id="{E178A8F4-8C4D-AC4D-9787-9F60C6A2BA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110720" y="28022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3" name="Graphic 19">
                      <a:extLst>
                        <a:ext uri="{FF2B5EF4-FFF2-40B4-BE49-F238E27FC236}">
                          <a16:creationId xmlns:a16="http://schemas.microsoft.com/office/drawing/2014/main" id="{4CBBF4F7-678C-E626-4433-56F21BDFCB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75515" y="344918"/>
                      <a:ext cx="62864" cy="62786"/>
                      <a:chOff x="12375515" y="344918"/>
                      <a:chExt cx="62864" cy="62786"/>
                    </a:xfrm>
                  </p:grpSpPr>
                  <p:sp>
                    <p:nvSpPr>
                      <p:cNvPr id="485" name="Freeform 1319">
                        <a:extLst>
                          <a:ext uri="{FF2B5EF4-FFF2-40B4-BE49-F238E27FC236}">
                            <a16:creationId xmlns:a16="http://schemas.microsoft.com/office/drawing/2014/main" id="{9D7841EB-E41E-CFCD-6E8D-1C18E22E6C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75515" y="37631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6" name="Freeform 1320">
                        <a:extLst>
                          <a:ext uri="{FF2B5EF4-FFF2-40B4-BE49-F238E27FC236}">
                            <a16:creationId xmlns:a16="http://schemas.microsoft.com/office/drawing/2014/main" id="{6D68A6E5-379A-A1AE-B46C-306AE986AE6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06948" y="34491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4" name="Graphic 19">
                      <a:extLst>
                        <a:ext uri="{FF2B5EF4-FFF2-40B4-BE49-F238E27FC236}">
                          <a16:creationId xmlns:a16="http://schemas.microsoft.com/office/drawing/2014/main" id="{2493161A-8E7F-6F7D-341A-1A1D7CD6697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2380278" y="344918"/>
                      <a:ext cx="63817" cy="62786"/>
                      <a:chOff x="12380278" y="344918"/>
                      <a:chExt cx="63817" cy="62786"/>
                    </a:xfrm>
                  </p:grpSpPr>
                  <p:sp>
                    <p:nvSpPr>
                      <p:cNvPr id="483" name="Freeform 1322">
                        <a:extLst>
                          <a:ext uri="{FF2B5EF4-FFF2-40B4-BE49-F238E27FC236}">
                            <a16:creationId xmlns:a16="http://schemas.microsoft.com/office/drawing/2014/main" id="{82033EB8-B35A-CF65-B595-DB8BBD06A4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380278" y="37631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4" name="Freeform 1323">
                        <a:extLst>
                          <a:ext uri="{FF2B5EF4-FFF2-40B4-BE49-F238E27FC236}">
                            <a16:creationId xmlns:a16="http://schemas.microsoft.com/office/drawing/2014/main" id="{0627BED3-4C9A-2595-D7D2-95D308CF8F2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412663" y="34491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5" name="Graphic 19">
                      <a:extLst>
                        <a:ext uri="{FF2B5EF4-FFF2-40B4-BE49-F238E27FC236}">
                          <a16:creationId xmlns:a16="http://schemas.microsoft.com/office/drawing/2014/main" id="{BA03048A-5AAE-CBE0-77A8-B8DC7A37FCD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02260" y="434341"/>
                      <a:ext cx="63817" cy="62786"/>
                      <a:chOff x="13002260" y="434341"/>
                      <a:chExt cx="63817" cy="62786"/>
                    </a:xfrm>
                  </p:grpSpPr>
                  <p:sp>
                    <p:nvSpPr>
                      <p:cNvPr id="481" name="Freeform 1325">
                        <a:extLst>
                          <a:ext uri="{FF2B5EF4-FFF2-40B4-BE49-F238E27FC236}">
                            <a16:creationId xmlns:a16="http://schemas.microsoft.com/office/drawing/2014/main" id="{07376E96-F769-684D-655B-DBC84855FB1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2260" y="465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2" name="Freeform 1326">
                        <a:extLst>
                          <a:ext uri="{FF2B5EF4-FFF2-40B4-BE49-F238E27FC236}">
                            <a16:creationId xmlns:a16="http://schemas.microsoft.com/office/drawing/2014/main" id="{D0643E9C-E2F1-3FF0-090B-7BE3062490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3693" y="434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6" name="Graphic 19">
                      <a:extLst>
                        <a:ext uri="{FF2B5EF4-FFF2-40B4-BE49-F238E27FC236}">
                          <a16:creationId xmlns:a16="http://schemas.microsoft.com/office/drawing/2014/main" id="{10737F9B-105F-0002-AAFE-89F20C7FCD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04165" y="434341"/>
                      <a:ext cx="63817" cy="62786"/>
                      <a:chOff x="13004165" y="434341"/>
                      <a:chExt cx="63817" cy="62786"/>
                    </a:xfrm>
                  </p:grpSpPr>
                  <p:sp>
                    <p:nvSpPr>
                      <p:cNvPr id="479" name="Freeform 1328">
                        <a:extLst>
                          <a:ext uri="{FF2B5EF4-FFF2-40B4-BE49-F238E27FC236}">
                            <a16:creationId xmlns:a16="http://schemas.microsoft.com/office/drawing/2014/main" id="{C5437E74-3A87-3937-74A5-75686E8D3DC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04165" y="46573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80" name="Freeform 1329">
                        <a:extLst>
                          <a:ext uri="{FF2B5EF4-FFF2-40B4-BE49-F238E27FC236}">
                            <a16:creationId xmlns:a16="http://schemas.microsoft.com/office/drawing/2014/main" id="{54570F11-F8A3-2F49-BF6D-5D67DE2841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35598" y="434341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7" name="Graphic 19">
                      <a:extLst>
                        <a:ext uri="{FF2B5EF4-FFF2-40B4-BE49-F238E27FC236}">
                          <a16:creationId xmlns:a16="http://schemas.microsoft.com/office/drawing/2014/main" id="{33230665-1C07-07E9-B638-371E29845EB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082270" y="458124"/>
                      <a:ext cx="62864" cy="62786"/>
                      <a:chOff x="13082270" y="458124"/>
                      <a:chExt cx="62864" cy="62786"/>
                    </a:xfrm>
                  </p:grpSpPr>
                  <p:sp>
                    <p:nvSpPr>
                      <p:cNvPr id="477" name="Freeform 1331">
                        <a:extLst>
                          <a:ext uri="{FF2B5EF4-FFF2-40B4-BE49-F238E27FC236}">
                            <a16:creationId xmlns:a16="http://schemas.microsoft.com/office/drawing/2014/main" id="{AAF37E65-E7A8-5B65-2582-7497408FE5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082270" y="48951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8" name="Freeform 1332">
                        <a:extLst>
                          <a:ext uri="{FF2B5EF4-FFF2-40B4-BE49-F238E27FC236}">
                            <a16:creationId xmlns:a16="http://schemas.microsoft.com/office/drawing/2014/main" id="{D9E52082-8BB2-3BEA-2857-0EA33AEA67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13703" y="45812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8" name="Graphic 19">
                      <a:extLst>
                        <a:ext uri="{FF2B5EF4-FFF2-40B4-BE49-F238E27FC236}">
                          <a16:creationId xmlns:a16="http://schemas.microsoft.com/office/drawing/2014/main" id="{12C69370-8C4F-1988-3F68-587CC84F95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36563" y="471442"/>
                      <a:ext cx="63817" cy="62786"/>
                      <a:chOff x="13136563" y="471442"/>
                      <a:chExt cx="63817" cy="62786"/>
                    </a:xfrm>
                  </p:grpSpPr>
                  <p:sp>
                    <p:nvSpPr>
                      <p:cNvPr id="475" name="Freeform 1334">
                        <a:extLst>
                          <a:ext uri="{FF2B5EF4-FFF2-40B4-BE49-F238E27FC236}">
                            <a16:creationId xmlns:a16="http://schemas.microsoft.com/office/drawing/2014/main" id="{D37B6A5F-284B-E3AD-7006-63C3FC6E00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36563" y="50283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6" name="Freeform 1335">
                        <a:extLst>
                          <a:ext uri="{FF2B5EF4-FFF2-40B4-BE49-F238E27FC236}">
                            <a16:creationId xmlns:a16="http://schemas.microsoft.com/office/drawing/2014/main" id="{C6A6AC70-1FA8-5F26-BAFA-564233E93B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8948" y="47144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39" name="Graphic 19">
                      <a:extLst>
                        <a:ext uri="{FF2B5EF4-FFF2-40B4-BE49-F238E27FC236}">
                          <a16:creationId xmlns:a16="http://schemas.microsoft.com/office/drawing/2014/main" id="{A888BCE3-AB23-1558-AD80-BF49DA2D448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3230" y="477150"/>
                      <a:ext cx="62865" cy="63737"/>
                      <a:chOff x="13143230" y="477150"/>
                      <a:chExt cx="62865" cy="63737"/>
                    </a:xfrm>
                  </p:grpSpPr>
                  <p:sp>
                    <p:nvSpPr>
                      <p:cNvPr id="473" name="Freeform 1337">
                        <a:extLst>
                          <a:ext uri="{FF2B5EF4-FFF2-40B4-BE49-F238E27FC236}">
                            <a16:creationId xmlns:a16="http://schemas.microsoft.com/office/drawing/2014/main" id="{FF416FB6-01FA-33A2-9482-73B8FF4217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3230" y="50949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4" name="Freeform 1338">
                        <a:extLst>
                          <a:ext uri="{FF2B5EF4-FFF2-40B4-BE49-F238E27FC236}">
                            <a16:creationId xmlns:a16="http://schemas.microsoft.com/office/drawing/2014/main" id="{FA284E4A-9E79-80D5-D3A1-A4E27025A19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4663" y="4771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0" name="Graphic 19">
                      <a:extLst>
                        <a:ext uri="{FF2B5EF4-FFF2-40B4-BE49-F238E27FC236}">
                          <a16:creationId xmlns:a16="http://schemas.microsoft.com/office/drawing/2014/main" id="{CBF18E70-7BB7-77DD-C9EE-B6CA1D7F6C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3230" y="487614"/>
                      <a:ext cx="63817" cy="62786"/>
                      <a:chOff x="13143230" y="487614"/>
                      <a:chExt cx="63817" cy="62786"/>
                    </a:xfrm>
                  </p:grpSpPr>
                  <p:sp>
                    <p:nvSpPr>
                      <p:cNvPr id="471" name="Freeform 1340">
                        <a:extLst>
                          <a:ext uri="{FF2B5EF4-FFF2-40B4-BE49-F238E27FC236}">
                            <a16:creationId xmlns:a16="http://schemas.microsoft.com/office/drawing/2014/main" id="{106962AE-3236-85E7-63D4-B5C200615E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3230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2" name="Freeform 1341">
                        <a:extLst>
                          <a:ext uri="{FF2B5EF4-FFF2-40B4-BE49-F238E27FC236}">
                            <a16:creationId xmlns:a16="http://schemas.microsoft.com/office/drawing/2014/main" id="{EE23CE06-A2EE-D77A-B7AA-45C2CA56AA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74663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1" name="Graphic 19">
                      <a:extLst>
                        <a:ext uri="{FF2B5EF4-FFF2-40B4-BE49-F238E27FC236}">
                          <a16:creationId xmlns:a16="http://schemas.microsoft.com/office/drawing/2014/main" id="{BE26CDBF-DFB8-DEDF-8EC5-BF62BA198C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48945" y="487614"/>
                      <a:ext cx="63817" cy="62786"/>
                      <a:chOff x="13148945" y="487614"/>
                      <a:chExt cx="63817" cy="62786"/>
                    </a:xfrm>
                  </p:grpSpPr>
                  <p:sp>
                    <p:nvSpPr>
                      <p:cNvPr id="469" name="Freeform 1343">
                        <a:extLst>
                          <a:ext uri="{FF2B5EF4-FFF2-40B4-BE49-F238E27FC236}">
                            <a16:creationId xmlns:a16="http://schemas.microsoft.com/office/drawing/2014/main" id="{88F9063E-B348-85FD-6A36-2754313AE7D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48945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70" name="Freeform 1344">
                        <a:extLst>
                          <a:ext uri="{FF2B5EF4-FFF2-40B4-BE49-F238E27FC236}">
                            <a16:creationId xmlns:a16="http://schemas.microsoft.com/office/drawing/2014/main" id="{0035FF61-771C-A4DB-D491-7D3130FBBF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0378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2" name="Graphic 19">
                      <a:extLst>
                        <a:ext uri="{FF2B5EF4-FFF2-40B4-BE49-F238E27FC236}">
                          <a16:creationId xmlns:a16="http://schemas.microsoft.com/office/drawing/2014/main" id="{A0469840-62A6-C883-0696-4E9478C35B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3708" y="487614"/>
                      <a:ext cx="63817" cy="62786"/>
                      <a:chOff x="13153708" y="487614"/>
                      <a:chExt cx="63817" cy="62786"/>
                    </a:xfrm>
                  </p:grpSpPr>
                  <p:sp>
                    <p:nvSpPr>
                      <p:cNvPr id="467" name="Freeform 1346">
                        <a:extLst>
                          <a:ext uri="{FF2B5EF4-FFF2-40B4-BE49-F238E27FC236}">
                            <a16:creationId xmlns:a16="http://schemas.microsoft.com/office/drawing/2014/main" id="{AED40129-410A-2896-03AD-C039E52A65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3708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8" name="Freeform 1347">
                        <a:extLst>
                          <a:ext uri="{FF2B5EF4-FFF2-40B4-BE49-F238E27FC236}">
                            <a16:creationId xmlns:a16="http://schemas.microsoft.com/office/drawing/2014/main" id="{14644509-8357-09DA-965B-60EDEFD171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85140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3" name="Graphic 19">
                      <a:extLst>
                        <a:ext uri="{FF2B5EF4-FFF2-40B4-BE49-F238E27FC236}">
                          <a16:creationId xmlns:a16="http://schemas.microsoft.com/office/drawing/2014/main" id="{D7BF3B12-8413-AB38-6C05-89FC30C6BE8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59423" y="487614"/>
                      <a:ext cx="63817" cy="62786"/>
                      <a:chOff x="13159423" y="487614"/>
                      <a:chExt cx="63817" cy="62786"/>
                    </a:xfrm>
                  </p:grpSpPr>
                  <p:sp>
                    <p:nvSpPr>
                      <p:cNvPr id="465" name="Freeform 1349">
                        <a:extLst>
                          <a:ext uri="{FF2B5EF4-FFF2-40B4-BE49-F238E27FC236}">
                            <a16:creationId xmlns:a16="http://schemas.microsoft.com/office/drawing/2014/main" id="{0048566C-0E56-8F38-67D6-94EE6D3FFAC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59423" y="51900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6" name="Freeform 1350">
                        <a:extLst>
                          <a:ext uri="{FF2B5EF4-FFF2-40B4-BE49-F238E27FC236}">
                            <a16:creationId xmlns:a16="http://schemas.microsoft.com/office/drawing/2014/main" id="{4E12664C-D825-0348-B31D-9677B05E9B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0855" y="487614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4" name="Graphic 19">
                      <a:extLst>
                        <a:ext uri="{FF2B5EF4-FFF2-40B4-BE49-F238E27FC236}">
                          <a16:creationId xmlns:a16="http://schemas.microsoft.com/office/drawing/2014/main" id="{5CE28B69-7DD9-3B8D-6551-5A837A0D72B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165138" y="500933"/>
                      <a:ext cx="63817" cy="62786"/>
                      <a:chOff x="13165138" y="500933"/>
                      <a:chExt cx="63817" cy="62786"/>
                    </a:xfrm>
                  </p:grpSpPr>
                  <p:sp>
                    <p:nvSpPr>
                      <p:cNvPr id="463" name="Freeform 1352">
                        <a:extLst>
                          <a:ext uri="{FF2B5EF4-FFF2-40B4-BE49-F238E27FC236}">
                            <a16:creationId xmlns:a16="http://schemas.microsoft.com/office/drawing/2014/main" id="{39C37C79-99DA-371E-8B6D-4E4BEBB034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65138" y="53232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4" name="Freeform 1353">
                        <a:extLst>
                          <a:ext uri="{FF2B5EF4-FFF2-40B4-BE49-F238E27FC236}">
                            <a16:creationId xmlns:a16="http://schemas.microsoft.com/office/drawing/2014/main" id="{25D42415-B6FE-702E-6B07-BE8078A4C06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196570" y="50093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5" name="Graphic 19">
                      <a:extLst>
                        <a:ext uri="{FF2B5EF4-FFF2-40B4-BE49-F238E27FC236}">
                          <a16:creationId xmlns:a16="http://schemas.microsoft.com/office/drawing/2014/main" id="{21BF19F2-D033-26F7-ABC8-223C70B81D9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19430" y="516154"/>
                      <a:ext cx="62865" cy="63737"/>
                      <a:chOff x="13219430" y="516154"/>
                      <a:chExt cx="62865" cy="63737"/>
                    </a:xfrm>
                  </p:grpSpPr>
                  <p:sp>
                    <p:nvSpPr>
                      <p:cNvPr id="461" name="Freeform 1355">
                        <a:extLst>
                          <a:ext uri="{FF2B5EF4-FFF2-40B4-BE49-F238E27FC236}">
                            <a16:creationId xmlns:a16="http://schemas.microsoft.com/office/drawing/2014/main" id="{31C9C97A-D558-B48E-534D-5B9B023CA4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19430" y="54754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2" name="Freeform 1356">
                        <a:extLst>
                          <a:ext uri="{FF2B5EF4-FFF2-40B4-BE49-F238E27FC236}">
                            <a16:creationId xmlns:a16="http://schemas.microsoft.com/office/drawing/2014/main" id="{5CC494F6-ACFE-1313-54CE-19850DEB313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0863" y="516154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6" name="Graphic 19">
                      <a:extLst>
                        <a:ext uri="{FF2B5EF4-FFF2-40B4-BE49-F238E27FC236}">
                          <a16:creationId xmlns:a16="http://schemas.microsoft.com/office/drawing/2014/main" id="{5E2979C7-560D-DC92-EFC9-875C95DEBF1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28955" y="530423"/>
                      <a:ext cx="62865" cy="63737"/>
                      <a:chOff x="13228955" y="530423"/>
                      <a:chExt cx="62865" cy="63737"/>
                    </a:xfrm>
                  </p:grpSpPr>
                  <p:sp>
                    <p:nvSpPr>
                      <p:cNvPr id="459" name="Freeform 1358">
                        <a:extLst>
                          <a:ext uri="{FF2B5EF4-FFF2-40B4-BE49-F238E27FC236}">
                            <a16:creationId xmlns:a16="http://schemas.microsoft.com/office/drawing/2014/main" id="{883E4D97-3EE7-D21B-301B-7E282FFDC0B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28955" y="561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60" name="Freeform 1359">
                        <a:extLst>
                          <a:ext uri="{FF2B5EF4-FFF2-40B4-BE49-F238E27FC236}">
                            <a16:creationId xmlns:a16="http://schemas.microsoft.com/office/drawing/2014/main" id="{EB484B80-C499-AB1F-961D-A07DB7CBB34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0388" y="53042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7" name="Graphic 19">
                      <a:extLst>
                        <a:ext uri="{FF2B5EF4-FFF2-40B4-BE49-F238E27FC236}">
                          <a16:creationId xmlns:a16="http://schemas.microsoft.com/office/drawing/2014/main" id="{5E53AAFD-1BD0-4943-F6B4-2EBB3F7D35A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1813" y="530423"/>
                      <a:ext cx="63817" cy="62786"/>
                      <a:chOff x="13231813" y="530423"/>
                      <a:chExt cx="63817" cy="62786"/>
                    </a:xfrm>
                  </p:grpSpPr>
                  <p:sp>
                    <p:nvSpPr>
                      <p:cNvPr id="457" name="Freeform 1361">
                        <a:extLst>
                          <a:ext uri="{FF2B5EF4-FFF2-40B4-BE49-F238E27FC236}">
                            <a16:creationId xmlns:a16="http://schemas.microsoft.com/office/drawing/2014/main" id="{703791AA-B466-1F3A-940C-5083EDA63A5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1813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8" name="Freeform 1362">
                        <a:extLst>
                          <a:ext uri="{FF2B5EF4-FFF2-40B4-BE49-F238E27FC236}">
                            <a16:creationId xmlns:a16="http://schemas.microsoft.com/office/drawing/2014/main" id="{5B1048FD-BEED-7ECE-FA94-476B8B4977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4198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8" name="Graphic 19">
                      <a:extLst>
                        <a:ext uri="{FF2B5EF4-FFF2-40B4-BE49-F238E27FC236}">
                          <a16:creationId xmlns:a16="http://schemas.microsoft.com/office/drawing/2014/main" id="{2BC717CF-CEF9-7D18-7690-D5EAE6B4A6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35623" y="530423"/>
                      <a:ext cx="63817" cy="62786"/>
                      <a:chOff x="13235623" y="530423"/>
                      <a:chExt cx="63817" cy="62786"/>
                    </a:xfrm>
                  </p:grpSpPr>
                  <p:sp>
                    <p:nvSpPr>
                      <p:cNvPr id="455" name="Freeform 1364">
                        <a:extLst>
                          <a:ext uri="{FF2B5EF4-FFF2-40B4-BE49-F238E27FC236}">
                            <a16:creationId xmlns:a16="http://schemas.microsoft.com/office/drawing/2014/main" id="{41061A01-920A-24E0-EC47-FBFA4A853D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35623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6" name="Freeform 1365">
                        <a:extLst>
                          <a:ext uri="{FF2B5EF4-FFF2-40B4-BE49-F238E27FC236}">
                            <a16:creationId xmlns:a16="http://schemas.microsoft.com/office/drawing/2014/main" id="{D3DC8C15-7E6C-9E8F-9F83-16C796B1CD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7055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49" name="Graphic 19">
                      <a:extLst>
                        <a:ext uri="{FF2B5EF4-FFF2-40B4-BE49-F238E27FC236}">
                          <a16:creationId xmlns:a16="http://schemas.microsoft.com/office/drawing/2014/main" id="{AF0ACD82-051B-0237-A933-3FD42516FEF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0863" y="530423"/>
                      <a:ext cx="62865" cy="62786"/>
                      <a:chOff x="13250863" y="530423"/>
                      <a:chExt cx="62865" cy="62786"/>
                    </a:xfrm>
                  </p:grpSpPr>
                  <p:sp>
                    <p:nvSpPr>
                      <p:cNvPr id="453" name="Freeform 1367">
                        <a:extLst>
                          <a:ext uri="{FF2B5EF4-FFF2-40B4-BE49-F238E27FC236}">
                            <a16:creationId xmlns:a16="http://schemas.microsoft.com/office/drawing/2014/main" id="{EA42371B-B727-B589-605A-EF54B1AB76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0863" y="561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4" name="Freeform 1368">
                        <a:extLst>
                          <a:ext uri="{FF2B5EF4-FFF2-40B4-BE49-F238E27FC236}">
                            <a16:creationId xmlns:a16="http://schemas.microsoft.com/office/drawing/2014/main" id="{6FE245BD-D8F4-17AB-4305-8424F15C84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2295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0" name="Graphic 19">
                      <a:extLst>
                        <a:ext uri="{FF2B5EF4-FFF2-40B4-BE49-F238E27FC236}">
                          <a16:creationId xmlns:a16="http://schemas.microsoft.com/office/drawing/2014/main" id="{9FFCC640-65EF-8955-12CE-C7A100BB845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53720" y="530423"/>
                      <a:ext cx="63817" cy="62786"/>
                      <a:chOff x="13253720" y="530423"/>
                      <a:chExt cx="63817" cy="62786"/>
                    </a:xfrm>
                  </p:grpSpPr>
                  <p:sp>
                    <p:nvSpPr>
                      <p:cNvPr id="451" name="Freeform 1370">
                        <a:extLst>
                          <a:ext uri="{FF2B5EF4-FFF2-40B4-BE49-F238E27FC236}">
                            <a16:creationId xmlns:a16="http://schemas.microsoft.com/office/drawing/2014/main" id="{AA4B67BC-77C9-B3F1-FE05-E9E9CCC3F8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53720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2" name="Freeform 1371">
                        <a:extLst>
                          <a:ext uri="{FF2B5EF4-FFF2-40B4-BE49-F238E27FC236}">
                            <a16:creationId xmlns:a16="http://schemas.microsoft.com/office/drawing/2014/main" id="{A424A77B-70E5-E97D-EF93-AFC4F60421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86105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1" name="Graphic 19">
                      <a:extLst>
                        <a:ext uri="{FF2B5EF4-FFF2-40B4-BE49-F238E27FC236}">
                          <a16:creationId xmlns:a16="http://schemas.microsoft.com/office/drawing/2014/main" id="{27B2D406-61B8-6E95-B208-F1E5C49364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263245" y="530423"/>
                      <a:ext cx="63817" cy="62786"/>
                      <a:chOff x="13263245" y="530423"/>
                      <a:chExt cx="63817" cy="62786"/>
                    </a:xfrm>
                  </p:grpSpPr>
                  <p:sp>
                    <p:nvSpPr>
                      <p:cNvPr id="449" name="Freeform 1373">
                        <a:extLst>
                          <a:ext uri="{FF2B5EF4-FFF2-40B4-BE49-F238E27FC236}">
                            <a16:creationId xmlns:a16="http://schemas.microsoft.com/office/drawing/2014/main" id="{76348419-57FB-D0BD-D862-48D3307B9C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63245" y="56181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50" name="Freeform 1374">
                        <a:extLst>
                          <a:ext uri="{FF2B5EF4-FFF2-40B4-BE49-F238E27FC236}">
                            <a16:creationId xmlns:a16="http://schemas.microsoft.com/office/drawing/2014/main" id="{926B5AD5-AB6F-5748-62C4-132BD34D05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294678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2" name="Graphic 19">
                      <a:extLst>
                        <a:ext uri="{FF2B5EF4-FFF2-40B4-BE49-F238E27FC236}">
                          <a16:creationId xmlns:a16="http://schemas.microsoft.com/office/drawing/2014/main" id="{9C9F5996-0413-F3FA-E7E3-2668DC906DE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13728" y="530423"/>
                      <a:ext cx="62864" cy="62786"/>
                      <a:chOff x="13313728" y="530423"/>
                      <a:chExt cx="62864" cy="62786"/>
                    </a:xfrm>
                  </p:grpSpPr>
                  <p:sp>
                    <p:nvSpPr>
                      <p:cNvPr id="447" name="Freeform 1376">
                        <a:extLst>
                          <a:ext uri="{FF2B5EF4-FFF2-40B4-BE49-F238E27FC236}">
                            <a16:creationId xmlns:a16="http://schemas.microsoft.com/office/drawing/2014/main" id="{AEBA35EB-82CD-1910-5BE7-0E5E5E4393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13728" y="56181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8" name="Freeform 1377">
                        <a:extLst>
                          <a:ext uri="{FF2B5EF4-FFF2-40B4-BE49-F238E27FC236}">
                            <a16:creationId xmlns:a16="http://schemas.microsoft.com/office/drawing/2014/main" id="{13E55154-C165-380E-CDA0-0DA96AE3C1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45160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3" name="Graphic 19">
                      <a:extLst>
                        <a:ext uri="{FF2B5EF4-FFF2-40B4-BE49-F238E27FC236}">
                          <a16:creationId xmlns:a16="http://schemas.microsoft.com/office/drawing/2014/main" id="{1EB53110-5958-4E02-4F79-23534F88184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29920" y="530423"/>
                      <a:ext cx="62864" cy="62786"/>
                      <a:chOff x="13329920" y="530423"/>
                      <a:chExt cx="62864" cy="62786"/>
                    </a:xfrm>
                  </p:grpSpPr>
                  <p:sp>
                    <p:nvSpPr>
                      <p:cNvPr id="445" name="Freeform 1379">
                        <a:extLst>
                          <a:ext uri="{FF2B5EF4-FFF2-40B4-BE49-F238E27FC236}">
                            <a16:creationId xmlns:a16="http://schemas.microsoft.com/office/drawing/2014/main" id="{0636D825-AC0C-6E44-421C-5F008593A3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29920" y="56181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6" name="Freeform 1380">
                        <a:extLst>
                          <a:ext uri="{FF2B5EF4-FFF2-40B4-BE49-F238E27FC236}">
                            <a16:creationId xmlns:a16="http://schemas.microsoft.com/office/drawing/2014/main" id="{0316AE5B-16A1-BFE4-E9BC-AF29D2449CC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61353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4" name="Graphic 19">
                      <a:extLst>
                        <a:ext uri="{FF2B5EF4-FFF2-40B4-BE49-F238E27FC236}">
                          <a16:creationId xmlns:a16="http://schemas.microsoft.com/office/drawing/2014/main" id="{226AC576-7EDE-DE93-EBCC-84C6241AA32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374688" y="530423"/>
                      <a:ext cx="62865" cy="62786"/>
                      <a:chOff x="13374688" y="530423"/>
                      <a:chExt cx="62865" cy="62786"/>
                    </a:xfrm>
                  </p:grpSpPr>
                  <p:sp>
                    <p:nvSpPr>
                      <p:cNvPr id="443" name="Freeform 1382">
                        <a:extLst>
                          <a:ext uri="{FF2B5EF4-FFF2-40B4-BE49-F238E27FC236}">
                            <a16:creationId xmlns:a16="http://schemas.microsoft.com/office/drawing/2014/main" id="{D4DD048D-4E70-88B4-83AC-A5BC302B1D5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374688" y="561817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4" name="Freeform 1383">
                        <a:extLst>
                          <a:ext uri="{FF2B5EF4-FFF2-40B4-BE49-F238E27FC236}">
                            <a16:creationId xmlns:a16="http://schemas.microsoft.com/office/drawing/2014/main" id="{9A90DB9C-8F5A-2938-0031-7686143AA1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06120" y="53042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5" name="Graphic 19">
                      <a:extLst>
                        <a:ext uri="{FF2B5EF4-FFF2-40B4-BE49-F238E27FC236}">
                          <a16:creationId xmlns:a16="http://schemas.microsoft.com/office/drawing/2014/main" id="{6F85539E-C963-1584-6E07-364B9E8626A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3740" y="541839"/>
                      <a:ext cx="62864" cy="62786"/>
                      <a:chOff x="13413740" y="541839"/>
                      <a:chExt cx="62864" cy="62786"/>
                    </a:xfrm>
                  </p:grpSpPr>
                  <p:sp>
                    <p:nvSpPr>
                      <p:cNvPr id="441" name="Freeform 1385">
                        <a:extLst>
                          <a:ext uri="{FF2B5EF4-FFF2-40B4-BE49-F238E27FC236}">
                            <a16:creationId xmlns:a16="http://schemas.microsoft.com/office/drawing/2014/main" id="{DAD62E28-E003-A3D5-68BB-132A206917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3740" y="57323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2" name="Freeform 1386">
                        <a:extLst>
                          <a:ext uri="{FF2B5EF4-FFF2-40B4-BE49-F238E27FC236}">
                            <a16:creationId xmlns:a16="http://schemas.microsoft.com/office/drawing/2014/main" id="{0A4ADCFA-6388-4330-C744-CB6B9CE71EE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517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6" name="Graphic 19">
                      <a:extLst>
                        <a:ext uri="{FF2B5EF4-FFF2-40B4-BE49-F238E27FC236}">
                          <a16:creationId xmlns:a16="http://schemas.microsoft.com/office/drawing/2014/main" id="{25DFD581-42B6-9C67-E7B0-E5BECB19DDB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17550" y="541839"/>
                      <a:ext cx="63817" cy="62786"/>
                      <a:chOff x="13417550" y="541839"/>
                      <a:chExt cx="63817" cy="62786"/>
                    </a:xfrm>
                  </p:grpSpPr>
                  <p:sp>
                    <p:nvSpPr>
                      <p:cNvPr id="439" name="Freeform 1388">
                        <a:extLst>
                          <a:ext uri="{FF2B5EF4-FFF2-40B4-BE49-F238E27FC236}">
                            <a16:creationId xmlns:a16="http://schemas.microsoft.com/office/drawing/2014/main" id="{78ED7F2D-4172-E0D3-84A3-26677D41ECE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17550" y="57323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40" name="Freeform 1389">
                        <a:extLst>
                          <a:ext uri="{FF2B5EF4-FFF2-40B4-BE49-F238E27FC236}">
                            <a16:creationId xmlns:a16="http://schemas.microsoft.com/office/drawing/2014/main" id="{C05074BF-A308-CC66-520D-40AA504C247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898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7" name="Graphic 19">
                      <a:extLst>
                        <a:ext uri="{FF2B5EF4-FFF2-40B4-BE49-F238E27FC236}">
                          <a16:creationId xmlns:a16="http://schemas.microsoft.com/office/drawing/2014/main" id="{E0F14D1B-D5CA-F67C-AA87-99BD0DEB65A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3265" y="541839"/>
                      <a:ext cx="63817" cy="62786"/>
                      <a:chOff x="13423265" y="541839"/>
                      <a:chExt cx="63817" cy="62786"/>
                    </a:xfrm>
                  </p:grpSpPr>
                  <p:sp>
                    <p:nvSpPr>
                      <p:cNvPr id="437" name="Freeform 1391">
                        <a:extLst>
                          <a:ext uri="{FF2B5EF4-FFF2-40B4-BE49-F238E27FC236}">
                            <a16:creationId xmlns:a16="http://schemas.microsoft.com/office/drawing/2014/main" id="{B9050AD7-93C1-ADBE-217E-E91D5371AE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3265" y="57323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8" name="Freeform 1392">
                        <a:extLst>
                          <a:ext uri="{FF2B5EF4-FFF2-40B4-BE49-F238E27FC236}">
                            <a16:creationId xmlns:a16="http://schemas.microsoft.com/office/drawing/2014/main" id="{DC5DC8F3-1F83-AD89-BF1D-0E6287C2492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54698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8" name="Graphic 19">
                      <a:extLst>
                        <a:ext uri="{FF2B5EF4-FFF2-40B4-BE49-F238E27FC236}">
                          <a16:creationId xmlns:a16="http://schemas.microsoft.com/office/drawing/2014/main" id="{96F927CB-409C-66E9-D5CD-80E924A8A3C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28980" y="541839"/>
                      <a:ext cx="62865" cy="62786"/>
                      <a:chOff x="13428980" y="541839"/>
                      <a:chExt cx="62865" cy="62786"/>
                    </a:xfrm>
                  </p:grpSpPr>
                  <p:sp>
                    <p:nvSpPr>
                      <p:cNvPr id="435" name="Freeform 1394">
                        <a:extLst>
                          <a:ext uri="{FF2B5EF4-FFF2-40B4-BE49-F238E27FC236}">
                            <a16:creationId xmlns:a16="http://schemas.microsoft.com/office/drawing/2014/main" id="{25EF3127-B6C8-5B93-DD58-1F49BBE5E4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28980" y="5732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6" name="Freeform 1395">
                        <a:extLst>
                          <a:ext uri="{FF2B5EF4-FFF2-40B4-BE49-F238E27FC236}">
                            <a16:creationId xmlns:a16="http://schemas.microsoft.com/office/drawing/2014/main" id="{A5132550-13D9-2604-B3D4-9F14C73C71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041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59" name="Graphic 19">
                      <a:extLst>
                        <a:ext uri="{FF2B5EF4-FFF2-40B4-BE49-F238E27FC236}">
                          <a16:creationId xmlns:a16="http://schemas.microsoft.com/office/drawing/2014/main" id="{FC2D7817-1CA2-FE58-ED32-881F8EF25D5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37553" y="541839"/>
                      <a:ext cx="62864" cy="62786"/>
                      <a:chOff x="13437553" y="541839"/>
                      <a:chExt cx="62864" cy="62786"/>
                    </a:xfrm>
                  </p:grpSpPr>
                  <p:sp>
                    <p:nvSpPr>
                      <p:cNvPr id="433" name="Freeform 1397">
                        <a:extLst>
                          <a:ext uri="{FF2B5EF4-FFF2-40B4-BE49-F238E27FC236}">
                            <a16:creationId xmlns:a16="http://schemas.microsoft.com/office/drawing/2014/main" id="{02B2F63E-9767-9FA1-244C-7001C64DA0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37553" y="57323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4" name="Freeform 1398">
                        <a:extLst>
                          <a:ext uri="{FF2B5EF4-FFF2-40B4-BE49-F238E27FC236}">
                            <a16:creationId xmlns:a16="http://schemas.microsoft.com/office/drawing/2014/main" id="{F7881618-D3FB-4188-794F-27AFDEB8B06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8985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0" name="Graphic 19">
                      <a:extLst>
                        <a:ext uri="{FF2B5EF4-FFF2-40B4-BE49-F238E27FC236}">
                          <a16:creationId xmlns:a16="http://schemas.microsoft.com/office/drawing/2014/main" id="{A4E1491B-1338-594D-6C5E-4586335C984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3268" y="541839"/>
                      <a:ext cx="62865" cy="62786"/>
                      <a:chOff x="13443268" y="541839"/>
                      <a:chExt cx="62865" cy="62786"/>
                    </a:xfrm>
                  </p:grpSpPr>
                  <p:sp>
                    <p:nvSpPr>
                      <p:cNvPr id="431" name="Freeform 1400">
                        <a:extLst>
                          <a:ext uri="{FF2B5EF4-FFF2-40B4-BE49-F238E27FC236}">
                            <a16:creationId xmlns:a16="http://schemas.microsoft.com/office/drawing/2014/main" id="{5E8D4965-A9DC-D304-CB19-CB39B96B499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3268" y="5732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2" name="Freeform 1401">
                        <a:extLst>
                          <a:ext uri="{FF2B5EF4-FFF2-40B4-BE49-F238E27FC236}">
                            <a16:creationId xmlns:a16="http://schemas.microsoft.com/office/drawing/2014/main" id="{FB49AFCE-67F5-B360-BDE8-FBC4B4A253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4700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1" name="Graphic 19">
                      <a:extLst>
                        <a:ext uri="{FF2B5EF4-FFF2-40B4-BE49-F238E27FC236}">
                          <a16:creationId xmlns:a16="http://schemas.microsoft.com/office/drawing/2014/main" id="{AEEDC96F-03E8-4CD1-3464-64FAA642F0E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48030" y="541839"/>
                      <a:ext cx="62865" cy="62786"/>
                      <a:chOff x="13448030" y="541839"/>
                      <a:chExt cx="62865" cy="62786"/>
                    </a:xfrm>
                  </p:grpSpPr>
                  <p:sp>
                    <p:nvSpPr>
                      <p:cNvPr id="429" name="Freeform 1403">
                        <a:extLst>
                          <a:ext uri="{FF2B5EF4-FFF2-40B4-BE49-F238E27FC236}">
                            <a16:creationId xmlns:a16="http://schemas.microsoft.com/office/drawing/2014/main" id="{F29973A5-ECCF-5B24-6402-2311E1D666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48030" y="57323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30" name="Freeform 1404">
                        <a:extLst>
                          <a:ext uri="{FF2B5EF4-FFF2-40B4-BE49-F238E27FC236}">
                            <a16:creationId xmlns:a16="http://schemas.microsoft.com/office/drawing/2014/main" id="{E21A9C85-E0B5-B72F-2322-570FAE2419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79463" y="541839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2" name="Graphic 19">
                      <a:extLst>
                        <a:ext uri="{FF2B5EF4-FFF2-40B4-BE49-F238E27FC236}">
                          <a16:creationId xmlns:a16="http://schemas.microsoft.com/office/drawing/2014/main" id="{6B10129A-A8BA-5B0B-0A24-C6A0F50D9A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68985" y="557060"/>
                      <a:ext cx="63817" cy="62786"/>
                      <a:chOff x="13468985" y="557060"/>
                      <a:chExt cx="63817" cy="62786"/>
                    </a:xfrm>
                  </p:grpSpPr>
                  <p:sp>
                    <p:nvSpPr>
                      <p:cNvPr id="427" name="Freeform 1406">
                        <a:extLst>
                          <a:ext uri="{FF2B5EF4-FFF2-40B4-BE49-F238E27FC236}">
                            <a16:creationId xmlns:a16="http://schemas.microsoft.com/office/drawing/2014/main" id="{894AF38E-7DEE-42BE-5631-ABD0E61DCF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68985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8" name="Freeform 1407">
                        <a:extLst>
                          <a:ext uri="{FF2B5EF4-FFF2-40B4-BE49-F238E27FC236}">
                            <a16:creationId xmlns:a16="http://schemas.microsoft.com/office/drawing/2014/main" id="{EE3BC055-B7F2-F89A-0B5D-4BE45252A3E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0041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3" name="Graphic 19">
                      <a:extLst>
                        <a:ext uri="{FF2B5EF4-FFF2-40B4-BE49-F238E27FC236}">
                          <a16:creationId xmlns:a16="http://schemas.microsoft.com/office/drawing/2014/main" id="{116F0CFE-31CC-06CE-5CE7-3488E35A7DB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3273" y="557060"/>
                      <a:ext cx="63817" cy="62786"/>
                      <a:chOff x="13483273" y="557060"/>
                      <a:chExt cx="63817" cy="62786"/>
                    </a:xfrm>
                  </p:grpSpPr>
                  <p:sp>
                    <p:nvSpPr>
                      <p:cNvPr id="425" name="Freeform 1409">
                        <a:extLst>
                          <a:ext uri="{FF2B5EF4-FFF2-40B4-BE49-F238E27FC236}">
                            <a16:creationId xmlns:a16="http://schemas.microsoft.com/office/drawing/2014/main" id="{98874BC4-963E-B339-13CB-858E79CD762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3273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6" name="Freeform 1410">
                        <a:extLst>
                          <a:ext uri="{FF2B5EF4-FFF2-40B4-BE49-F238E27FC236}">
                            <a16:creationId xmlns:a16="http://schemas.microsoft.com/office/drawing/2014/main" id="{C7E2972E-782A-49F5-E1AB-7B19FC00D5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470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4" name="Graphic 19">
                      <a:extLst>
                        <a:ext uri="{FF2B5EF4-FFF2-40B4-BE49-F238E27FC236}">
                          <a16:creationId xmlns:a16="http://schemas.microsoft.com/office/drawing/2014/main" id="{58B6E869-A026-F93D-E011-6F8C56B1257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88035" y="557060"/>
                      <a:ext cx="62865" cy="62786"/>
                      <a:chOff x="13488035" y="557060"/>
                      <a:chExt cx="62865" cy="62786"/>
                    </a:xfrm>
                  </p:grpSpPr>
                  <p:sp>
                    <p:nvSpPr>
                      <p:cNvPr id="423" name="Freeform 1412">
                        <a:extLst>
                          <a:ext uri="{FF2B5EF4-FFF2-40B4-BE49-F238E27FC236}">
                            <a16:creationId xmlns:a16="http://schemas.microsoft.com/office/drawing/2014/main" id="{70CAA3B7-20BD-72F0-2308-91B061D991E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88035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4" name="Freeform 1413">
                        <a:extLst>
                          <a:ext uri="{FF2B5EF4-FFF2-40B4-BE49-F238E27FC236}">
                            <a16:creationId xmlns:a16="http://schemas.microsoft.com/office/drawing/2014/main" id="{ECD742A5-4A0F-CC5D-C11F-ABA5F052C4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946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5" name="Graphic 19">
                      <a:extLst>
                        <a:ext uri="{FF2B5EF4-FFF2-40B4-BE49-F238E27FC236}">
                          <a16:creationId xmlns:a16="http://schemas.microsoft.com/office/drawing/2014/main" id="{D8E6D843-FBD5-9D3C-D9E2-F040D0994BB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491845" y="557060"/>
                      <a:ext cx="62864" cy="62786"/>
                      <a:chOff x="13491845" y="557060"/>
                      <a:chExt cx="62864" cy="62786"/>
                    </a:xfrm>
                  </p:grpSpPr>
                  <p:sp>
                    <p:nvSpPr>
                      <p:cNvPr id="421" name="Freeform 1415">
                        <a:extLst>
                          <a:ext uri="{FF2B5EF4-FFF2-40B4-BE49-F238E27FC236}">
                            <a16:creationId xmlns:a16="http://schemas.microsoft.com/office/drawing/2014/main" id="{CADF321C-8654-AB25-6262-BAA580023F1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491845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2" name="Freeform 1416">
                        <a:extLst>
                          <a:ext uri="{FF2B5EF4-FFF2-40B4-BE49-F238E27FC236}">
                            <a16:creationId xmlns:a16="http://schemas.microsoft.com/office/drawing/2014/main" id="{EC06E5C6-2D5C-D9EB-8EBB-5838973BB35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327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6" name="Graphic 19">
                      <a:extLst>
                        <a:ext uri="{FF2B5EF4-FFF2-40B4-BE49-F238E27FC236}">
                          <a16:creationId xmlns:a16="http://schemas.microsoft.com/office/drawing/2014/main" id="{1D5D7A56-0529-56B3-FA64-2D5221CAF70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16610" y="557060"/>
                      <a:ext cx="62865" cy="62786"/>
                      <a:chOff x="13516610" y="557060"/>
                      <a:chExt cx="62865" cy="62786"/>
                    </a:xfrm>
                  </p:grpSpPr>
                  <p:sp>
                    <p:nvSpPr>
                      <p:cNvPr id="419" name="Freeform 1418">
                        <a:extLst>
                          <a:ext uri="{FF2B5EF4-FFF2-40B4-BE49-F238E27FC236}">
                            <a16:creationId xmlns:a16="http://schemas.microsoft.com/office/drawing/2014/main" id="{07DBD85E-194C-437C-BEFB-7BBFC8CBCBB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16610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20" name="Freeform 1419">
                        <a:extLst>
                          <a:ext uri="{FF2B5EF4-FFF2-40B4-BE49-F238E27FC236}">
                            <a16:creationId xmlns:a16="http://schemas.microsoft.com/office/drawing/2014/main" id="{A74AA377-D227-FE4E-4BE2-E5B69CA68D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804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7" name="Graphic 19">
                      <a:extLst>
                        <a:ext uri="{FF2B5EF4-FFF2-40B4-BE49-F238E27FC236}">
                          <a16:creationId xmlns:a16="http://schemas.microsoft.com/office/drawing/2014/main" id="{11DE00A1-B781-FA60-C7A2-677F028FD10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22325" y="557060"/>
                      <a:ext cx="62865" cy="62786"/>
                      <a:chOff x="13522325" y="557060"/>
                      <a:chExt cx="62865" cy="62786"/>
                    </a:xfrm>
                  </p:grpSpPr>
                  <p:sp>
                    <p:nvSpPr>
                      <p:cNvPr id="417" name="Freeform 1421">
                        <a:extLst>
                          <a:ext uri="{FF2B5EF4-FFF2-40B4-BE49-F238E27FC236}">
                            <a16:creationId xmlns:a16="http://schemas.microsoft.com/office/drawing/2014/main" id="{4E6473A1-3F2F-B3B1-CFA6-F9FA6425C3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22325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8" name="Freeform 1422">
                        <a:extLst>
                          <a:ext uri="{FF2B5EF4-FFF2-40B4-BE49-F238E27FC236}">
                            <a16:creationId xmlns:a16="http://schemas.microsoft.com/office/drawing/2014/main" id="{5112F3AC-CE46-548F-1BEB-20898E9B08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5375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8" name="Graphic 19">
                      <a:extLst>
                        <a:ext uri="{FF2B5EF4-FFF2-40B4-BE49-F238E27FC236}">
                          <a16:creationId xmlns:a16="http://schemas.microsoft.com/office/drawing/2014/main" id="{2298381F-480E-9809-D1BA-17287BAE81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4708" y="557060"/>
                      <a:ext cx="63817" cy="62786"/>
                      <a:chOff x="13534708" y="557060"/>
                      <a:chExt cx="63817" cy="62786"/>
                    </a:xfrm>
                  </p:grpSpPr>
                  <p:sp>
                    <p:nvSpPr>
                      <p:cNvPr id="415" name="Freeform 1424">
                        <a:extLst>
                          <a:ext uri="{FF2B5EF4-FFF2-40B4-BE49-F238E27FC236}">
                            <a16:creationId xmlns:a16="http://schemas.microsoft.com/office/drawing/2014/main" id="{741ACDCE-B76D-758C-8A1A-CC77447642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4708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6" name="Freeform 1425">
                        <a:extLst>
                          <a:ext uri="{FF2B5EF4-FFF2-40B4-BE49-F238E27FC236}">
                            <a16:creationId xmlns:a16="http://schemas.microsoft.com/office/drawing/2014/main" id="{E03A3915-2CFE-D90B-4E13-CE8A22EFB52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614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69" name="Graphic 19">
                      <a:extLst>
                        <a:ext uri="{FF2B5EF4-FFF2-40B4-BE49-F238E27FC236}">
                          <a16:creationId xmlns:a16="http://schemas.microsoft.com/office/drawing/2014/main" id="{3D100554-33A0-B395-8DC4-11CC8F3C765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39470" y="557060"/>
                      <a:ext cx="63817" cy="62786"/>
                      <a:chOff x="13539470" y="557060"/>
                      <a:chExt cx="63817" cy="62786"/>
                    </a:xfrm>
                  </p:grpSpPr>
                  <p:sp>
                    <p:nvSpPr>
                      <p:cNvPr id="413" name="Freeform 1427">
                        <a:extLst>
                          <a:ext uri="{FF2B5EF4-FFF2-40B4-BE49-F238E27FC236}">
                            <a16:creationId xmlns:a16="http://schemas.microsoft.com/office/drawing/2014/main" id="{D9E6E4F8-0253-260C-2388-06A29F1C15D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3947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4" name="Freeform 1428">
                        <a:extLst>
                          <a:ext uri="{FF2B5EF4-FFF2-40B4-BE49-F238E27FC236}">
                            <a16:creationId xmlns:a16="http://schemas.microsoft.com/office/drawing/2014/main" id="{1BC6B6B8-D1DC-7876-78E4-3A028862FD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090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0" name="Graphic 19">
                      <a:extLst>
                        <a:ext uri="{FF2B5EF4-FFF2-40B4-BE49-F238E27FC236}">
                          <a16:creationId xmlns:a16="http://schemas.microsoft.com/office/drawing/2014/main" id="{1DE37DA3-82D3-B99E-419B-67331A966B9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45185" y="557060"/>
                      <a:ext cx="62865" cy="62786"/>
                      <a:chOff x="13545185" y="557060"/>
                      <a:chExt cx="62865" cy="62786"/>
                    </a:xfrm>
                  </p:grpSpPr>
                  <p:sp>
                    <p:nvSpPr>
                      <p:cNvPr id="411" name="Freeform 1430">
                        <a:extLst>
                          <a:ext uri="{FF2B5EF4-FFF2-40B4-BE49-F238E27FC236}">
                            <a16:creationId xmlns:a16="http://schemas.microsoft.com/office/drawing/2014/main" id="{F46EC178-51D3-C7E5-C190-415BEE360E8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45185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2" name="Freeform 1431">
                        <a:extLst>
                          <a:ext uri="{FF2B5EF4-FFF2-40B4-BE49-F238E27FC236}">
                            <a16:creationId xmlns:a16="http://schemas.microsoft.com/office/drawing/2014/main" id="{B1DA9E46-BFF9-50EC-3CE4-87C3EC38C74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661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1" name="Graphic 19">
                      <a:extLst>
                        <a:ext uri="{FF2B5EF4-FFF2-40B4-BE49-F238E27FC236}">
                          <a16:creationId xmlns:a16="http://schemas.microsoft.com/office/drawing/2014/main" id="{4BFC67D6-C2EC-3DB4-D33E-17295F4E4FF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62330" y="557060"/>
                      <a:ext cx="62865" cy="62786"/>
                      <a:chOff x="13562330" y="557060"/>
                      <a:chExt cx="62865" cy="62786"/>
                    </a:xfrm>
                  </p:grpSpPr>
                  <p:sp>
                    <p:nvSpPr>
                      <p:cNvPr id="409" name="Freeform 1433">
                        <a:extLst>
                          <a:ext uri="{FF2B5EF4-FFF2-40B4-BE49-F238E27FC236}">
                            <a16:creationId xmlns:a16="http://schemas.microsoft.com/office/drawing/2014/main" id="{C374B864-9A6C-D91F-4724-6C75D48D65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62330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10" name="Freeform 1434">
                        <a:extLst>
                          <a:ext uri="{FF2B5EF4-FFF2-40B4-BE49-F238E27FC236}">
                            <a16:creationId xmlns:a16="http://schemas.microsoft.com/office/drawing/2014/main" id="{A69D5B74-574A-6C5D-27E3-D591C04AE05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9376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2" name="Graphic 19">
                      <a:extLst>
                        <a:ext uri="{FF2B5EF4-FFF2-40B4-BE49-F238E27FC236}">
                          <a16:creationId xmlns:a16="http://schemas.microsoft.com/office/drawing/2014/main" id="{9C30DB0E-B107-A90B-AA33-BEFA1E126AB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578523" y="557060"/>
                      <a:ext cx="63817" cy="62786"/>
                      <a:chOff x="13578523" y="557060"/>
                      <a:chExt cx="63817" cy="62786"/>
                    </a:xfrm>
                  </p:grpSpPr>
                  <p:sp>
                    <p:nvSpPr>
                      <p:cNvPr id="407" name="Freeform 1436">
                        <a:extLst>
                          <a:ext uri="{FF2B5EF4-FFF2-40B4-BE49-F238E27FC236}">
                            <a16:creationId xmlns:a16="http://schemas.microsoft.com/office/drawing/2014/main" id="{91E0DF6C-E6DE-ED2D-E416-C27F117E4D9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578523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8" name="Freeform 1437">
                        <a:extLst>
                          <a:ext uri="{FF2B5EF4-FFF2-40B4-BE49-F238E27FC236}">
                            <a16:creationId xmlns:a16="http://schemas.microsoft.com/office/drawing/2014/main" id="{1D1FF7A8-535B-4A0A-B10C-A9EE189C42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995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3" name="Graphic 19">
                      <a:extLst>
                        <a:ext uri="{FF2B5EF4-FFF2-40B4-BE49-F238E27FC236}">
                          <a16:creationId xmlns:a16="http://schemas.microsoft.com/office/drawing/2014/main" id="{8CCD4C62-E2FD-3FFD-573D-67C66F85574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01383" y="557060"/>
                      <a:ext cx="62864" cy="62786"/>
                      <a:chOff x="13601383" y="557060"/>
                      <a:chExt cx="62864" cy="62786"/>
                    </a:xfrm>
                  </p:grpSpPr>
                  <p:sp>
                    <p:nvSpPr>
                      <p:cNvPr id="405" name="Freeform 1439">
                        <a:extLst>
                          <a:ext uri="{FF2B5EF4-FFF2-40B4-BE49-F238E27FC236}">
                            <a16:creationId xmlns:a16="http://schemas.microsoft.com/office/drawing/2014/main" id="{EFDAD56E-8E11-EF43-6F59-E19E946E99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1383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6" name="Freeform 1440">
                        <a:extLst>
                          <a:ext uri="{FF2B5EF4-FFF2-40B4-BE49-F238E27FC236}">
                            <a16:creationId xmlns:a16="http://schemas.microsoft.com/office/drawing/2014/main" id="{E8AFF649-99B1-DB6F-41E8-ADA785AC32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281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4" name="Graphic 19">
                      <a:extLst>
                        <a:ext uri="{FF2B5EF4-FFF2-40B4-BE49-F238E27FC236}">
                          <a16:creationId xmlns:a16="http://schemas.microsoft.com/office/drawing/2014/main" id="{EAEA711B-0B8E-A554-1F52-EE2B4562386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07098" y="557060"/>
                      <a:ext cx="63817" cy="62786"/>
                      <a:chOff x="13607098" y="557060"/>
                      <a:chExt cx="63817" cy="62786"/>
                    </a:xfrm>
                  </p:grpSpPr>
                  <p:sp>
                    <p:nvSpPr>
                      <p:cNvPr id="403" name="Freeform 1442">
                        <a:extLst>
                          <a:ext uri="{FF2B5EF4-FFF2-40B4-BE49-F238E27FC236}">
                            <a16:creationId xmlns:a16="http://schemas.microsoft.com/office/drawing/2014/main" id="{A754174E-4FC5-DAAE-C7AB-C0E82897A7C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07098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4" name="Freeform 1443">
                        <a:extLst>
                          <a:ext uri="{FF2B5EF4-FFF2-40B4-BE49-F238E27FC236}">
                            <a16:creationId xmlns:a16="http://schemas.microsoft.com/office/drawing/2014/main" id="{152D7F64-C4AE-46E7-EF23-4B0508D2EE4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948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5" name="Graphic 19">
                      <a:extLst>
                        <a:ext uri="{FF2B5EF4-FFF2-40B4-BE49-F238E27FC236}">
                          <a16:creationId xmlns:a16="http://schemas.microsoft.com/office/drawing/2014/main" id="{C948D232-1E43-A42C-C777-EC1E994738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2813" y="557060"/>
                      <a:ext cx="62865" cy="62786"/>
                      <a:chOff x="13612813" y="557060"/>
                      <a:chExt cx="62865" cy="62786"/>
                    </a:xfrm>
                  </p:grpSpPr>
                  <p:sp>
                    <p:nvSpPr>
                      <p:cNvPr id="401" name="Freeform 1445">
                        <a:extLst>
                          <a:ext uri="{FF2B5EF4-FFF2-40B4-BE49-F238E27FC236}">
                            <a16:creationId xmlns:a16="http://schemas.microsoft.com/office/drawing/2014/main" id="{37EE5E0F-BA2E-8C7F-3251-5144F07B090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2813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2" name="Freeform 1446">
                        <a:extLst>
                          <a:ext uri="{FF2B5EF4-FFF2-40B4-BE49-F238E27FC236}">
                            <a16:creationId xmlns:a16="http://schemas.microsoft.com/office/drawing/2014/main" id="{D0EE0E3E-9448-CDB5-2B98-745141659C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424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6" name="Graphic 19">
                      <a:extLst>
                        <a:ext uri="{FF2B5EF4-FFF2-40B4-BE49-F238E27FC236}">
                          <a16:creationId xmlns:a16="http://schemas.microsoft.com/office/drawing/2014/main" id="{F5A923FB-1F2C-F1F2-CA82-7EDDA0674E4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15670" y="557060"/>
                      <a:ext cx="63817" cy="62786"/>
                      <a:chOff x="13615670" y="557060"/>
                      <a:chExt cx="63817" cy="62786"/>
                    </a:xfrm>
                  </p:grpSpPr>
                  <p:sp>
                    <p:nvSpPr>
                      <p:cNvPr id="399" name="Freeform 1448">
                        <a:extLst>
                          <a:ext uri="{FF2B5EF4-FFF2-40B4-BE49-F238E27FC236}">
                            <a16:creationId xmlns:a16="http://schemas.microsoft.com/office/drawing/2014/main" id="{32D9C5CC-2540-F3F7-294E-ABBCB58B5C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1567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400" name="Freeform 1449">
                        <a:extLst>
                          <a:ext uri="{FF2B5EF4-FFF2-40B4-BE49-F238E27FC236}">
                            <a16:creationId xmlns:a16="http://schemas.microsoft.com/office/drawing/2014/main" id="{EA25C601-C05F-04BF-9F7C-E9857D8711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7103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7" name="Graphic 19">
                      <a:extLst>
                        <a:ext uri="{FF2B5EF4-FFF2-40B4-BE49-F238E27FC236}">
                          <a16:creationId xmlns:a16="http://schemas.microsoft.com/office/drawing/2014/main" id="{DA05A7C1-5B81-8D91-15EB-F8EA8BDA682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28053" y="557060"/>
                      <a:ext cx="63817" cy="62786"/>
                      <a:chOff x="13628053" y="557060"/>
                      <a:chExt cx="63817" cy="62786"/>
                    </a:xfrm>
                  </p:grpSpPr>
                  <p:sp>
                    <p:nvSpPr>
                      <p:cNvPr id="397" name="Freeform 1451">
                        <a:extLst>
                          <a:ext uri="{FF2B5EF4-FFF2-40B4-BE49-F238E27FC236}">
                            <a16:creationId xmlns:a16="http://schemas.microsoft.com/office/drawing/2014/main" id="{9A00C8D4-97AD-7889-EEDA-5280B572B7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28053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8" name="Freeform 1452">
                        <a:extLst>
                          <a:ext uri="{FF2B5EF4-FFF2-40B4-BE49-F238E27FC236}">
                            <a16:creationId xmlns:a16="http://schemas.microsoft.com/office/drawing/2014/main" id="{BF0B1FBE-CA5C-D6C4-6134-2A1E876AC6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0438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8" name="Graphic 19">
                      <a:extLst>
                        <a:ext uri="{FF2B5EF4-FFF2-40B4-BE49-F238E27FC236}">
                          <a16:creationId xmlns:a16="http://schemas.microsoft.com/office/drawing/2014/main" id="{D8368303-C0CE-FCC1-261A-398E1D59AFD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3768" y="557060"/>
                      <a:ext cx="62865" cy="62786"/>
                      <a:chOff x="13633768" y="557060"/>
                      <a:chExt cx="62865" cy="62786"/>
                    </a:xfrm>
                  </p:grpSpPr>
                  <p:sp>
                    <p:nvSpPr>
                      <p:cNvPr id="395" name="Freeform 1454">
                        <a:extLst>
                          <a:ext uri="{FF2B5EF4-FFF2-40B4-BE49-F238E27FC236}">
                            <a16:creationId xmlns:a16="http://schemas.microsoft.com/office/drawing/2014/main" id="{09BACD39-A18C-A7FC-E143-D54423C4211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3768" y="58845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6" name="Freeform 1455">
                        <a:extLst>
                          <a:ext uri="{FF2B5EF4-FFF2-40B4-BE49-F238E27FC236}">
                            <a16:creationId xmlns:a16="http://schemas.microsoft.com/office/drawing/2014/main" id="{EDBF2E2E-389F-27F4-D12C-8497E83EE0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65200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79" name="Graphic 19">
                      <a:extLst>
                        <a:ext uri="{FF2B5EF4-FFF2-40B4-BE49-F238E27FC236}">
                          <a16:creationId xmlns:a16="http://schemas.microsoft.com/office/drawing/2014/main" id="{AF2B895D-11FB-1EFD-E127-96B19A4A067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39483" y="557060"/>
                      <a:ext cx="62864" cy="62786"/>
                      <a:chOff x="13639483" y="557060"/>
                      <a:chExt cx="62864" cy="62786"/>
                    </a:xfrm>
                  </p:grpSpPr>
                  <p:sp>
                    <p:nvSpPr>
                      <p:cNvPr id="393" name="Freeform 1457">
                        <a:extLst>
                          <a:ext uri="{FF2B5EF4-FFF2-40B4-BE49-F238E27FC236}">
                            <a16:creationId xmlns:a16="http://schemas.microsoft.com/office/drawing/2014/main" id="{AE3A4483-6ABB-84CB-AFFC-9CEB11F3C6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39483" y="588453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4" name="Freeform 1458">
                        <a:extLst>
                          <a:ext uri="{FF2B5EF4-FFF2-40B4-BE49-F238E27FC236}">
                            <a16:creationId xmlns:a16="http://schemas.microsoft.com/office/drawing/2014/main" id="{DA6E6E97-617C-BB76-7B12-9A86C90F8D1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091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0" name="Graphic 19">
                      <a:extLst>
                        <a:ext uri="{FF2B5EF4-FFF2-40B4-BE49-F238E27FC236}">
                          <a16:creationId xmlns:a16="http://schemas.microsoft.com/office/drawing/2014/main" id="{C6B66A12-72E3-76B2-F261-D9A89DF5AF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49960" y="557060"/>
                      <a:ext cx="63817" cy="62786"/>
                      <a:chOff x="13649960" y="557060"/>
                      <a:chExt cx="63817" cy="62786"/>
                    </a:xfrm>
                  </p:grpSpPr>
                  <p:sp>
                    <p:nvSpPr>
                      <p:cNvPr id="391" name="Freeform 1460">
                        <a:extLst>
                          <a:ext uri="{FF2B5EF4-FFF2-40B4-BE49-F238E27FC236}">
                            <a16:creationId xmlns:a16="http://schemas.microsoft.com/office/drawing/2014/main" id="{14943553-57A4-528A-DC1E-CB76F63E25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9960" y="58845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2" name="Freeform 1461">
                        <a:extLst>
                          <a:ext uri="{FF2B5EF4-FFF2-40B4-BE49-F238E27FC236}">
                            <a16:creationId xmlns:a16="http://schemas.microsoft.com/office/drawing/2014/main" id="{7618F0A2-5FC6-83E6-B514-BD75FB0CAF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82345" y="55706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1" name="Graphic 19">
                      <a:extLst>
                        <a:ext uri="{FF2B5EF4-FFF2-40B4-BE49-F238E27FC236}">
                          <a16:creationId xmlns:a16="http://schemas.microsoft.com/office/drawing/2014/main" id="{EEC14722-08C5-3C9B-13D0-BF3B435DB54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0915" y="606528"/>
                      <a:ext cx="63817" cy="63737"/>
                      <a:chOff x="13670915" y="606528"/>
                      <a:chExt cx="63817" cy="63737"/>
                    </a:xfrm>
                  </p:grpSpPr>
                  <p:sp>
                    <p:nvSpPr>
                      <p:cNvPr id="389" name="Freeform 1463">
                        <a:extLst>
                          <a:ext uri="{FF2B5EF4-FFF2-40B4-BE49-F238E27FC236}">
                            <a16:creationId xmlns:a16="http://schemas.microsoft.com/office/drawing/2014/main" id="{3E68F080-F996-0537-5BDE-BA9CC9B4658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0915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0" name="Freeform 1464">
                        <a:extLst>
                          <a:ext uri="{FF2B5EF4-FFF2-40B4-BE49-F238E27FC236}">
                            <a16:creationId xmlns:a16="http://schemas.microsoft.com/office/drawing/2014/main" id="{6E129B53-A56E-8CDB-5D0B-9541140C03B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234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2" name="Graphic 19">
                      <a:extLst>
                        <a:ext uri="{FF2B5EF4-FFF2-40B4-BE49-F238E27FC236}">
                          <a16:creationId xmlns:a16="http://schemas.microsoft.com/office/drawing/2014/main" id="{03B0517F-7F50-8947-0EE8-82A0581936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4725" y="606528"/>
                      <a:ext cx="62865" cy="63737"/>
                      <a:chOff x="13674725" y="606528"/>
                      <a:chExt cx="62865" cy="63737"/>
                    </a:xfrm>
                  </p:grpSpPr>
                  <p:sp>
                    <p:nvSpPr>
                      <p:cNvPr id="387" name="Freeform 1466">
                        <a:extLst>
                          <a:ext uri="{FF2B5EF4-FFF2-40B4-BE49-F238E27FC236}">
                            <a16:creationId xmlns:a16="http://schemas.microsoft.com/office/drawing/2014/main" id="{2C66B576-B28A-7F2E-786F-1A56A086B1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4725" y="637922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8" name="Freeform 1467">
                        <a:extLst>
                          <a:ext uri="{FF2B5EF4-FFF2-40B4-BE49-F238E27FC236}">
                            <a16:creationId xmlns:a16="http://schemas.microsoft.com/office/drawing/2014/main" id="{AA817C71-AA74-66F0-DAA3-4E299DFB83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615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3" name="Graphic 19">
                      <a:extLst>
                        <a:ext uri="{FF2B5EF4-FFF2-40B4-BE49-F238E27FC236}">
                          <a16:creationId xmlns:a16="http://schemas.microsoft.com/office/drawing/2014/main" id="{CEC1C2C3-1FD6-193F-2900-2FF0C5CE864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677583" y="606528"/>
                      <a:ext cx="63817" cy="63737"/>
                      <a:chOff x="13677583" y="606528"/>
                      <a:chExt cx="63817" cy="63737"/>
                    </a:xfrm>
                  </p:grpSpPr>
                  <p:sp>
                    <p:nvSpPr>
                      <p:cNvPr id="385" name="Freeform 1469">
                        <a:extLst>
                          <a:ext uri="{FF2B5EF4-FFF2-40B4-BE49-F238E27FC236}">
                            <a16:creationId xmlns:a16="http://schemas.microsoft.com/office/drawing/2014/main" id="{0096988C-CCD0-29EB-C80B-97BED48F64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77583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6" name="Freeform 1470">
                        <a:extLst>
                          <a:ext uri="{FF2B5EF4-FFF2-40B4-BE49-F238E27FC236}">
                            <a16:creationId xmlns:a16="http://schemas.microsoft.com/office/drawing/2014/main" id="{CB342566-844A-A46B-8EB7-7065845992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996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4" name="Graphic 19">
                      <a:extLst>
                        <a:ext uri="{FF2B5EF4-FFF2-40B4-BE49-F238E27FC236}">
                          <a16:creationId xmlns:a16="http://schemas.microsoft.com/office/drawing/2014/main" id="{2428FBF4-9F5D-5147-CF3C-6C6043EE629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1395" y="606528"/>
                      <a:ext cx="63817" cy="63737"/>
                      <a:chOff x="13701395" y="606528"/>
                      <a:chExt cx="63817" cy="63737"/>
                    </a:xfrm>
                  </p:grpSpPr>
                  <p:sp>
                    <p:nvSpPr>
                      <p:cNvPr id="383" name="Freeform 1472">
                        <a:extLst>
                          <a:ext uri="{FF2B5EF4-FFF2-40B4-BE49-F238E27FC236}">
                            <a16:creationId xmlns:a16="http://schemas.microsoft.com/office/drawing/2014/main" id="{631EE802-24BA-8DA1-3F3B-8E76DDD2AA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1395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4" name="Freeform 1473">
                        <a:extLst>
                          <a:ext uri="{FF2B5EF4-FFF2-40B4-BE49-F238E27FC236}">
                            <a16:creationId xmlns:a16="http://schemas.microsoft.com/office/drawing/2014/main" id="{E556B047-5380-06CF-110D-235CA601E97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3780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5" name="Graphic 19">
                      <a:extLst>
                        <a:ext uri="{FF2B5EF4-FFF2-40B4-BE49-F238E27FC236}">
                          <a16:creationId xmlns:a16="http://schemas.microsoft.com/office/drawing/2014/main" id="{748520DB-C3A9-9488-70BB-C598919E1C0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04253" y="606528"/>
                      <a:ext cx="62864" cy="63737"/>
                      <a:chOff x="13704253" y="606528"/>
                      <a:chExt cx="62864" cy="63737"/>
                    </a:xfrm>
                  </p:grpSpPr>
                  <p:sp>
                    <p:nvSpPr>
                      <p:cNvPr id="381" name="Freeform 1475">
                        <a:extLst>
                          <a:ext uri="{FF2B5EF4-FFF2-40B4-BE49-F238E27FC236}">
                            <a16:creationId xmlns:a16="http://schemas.microsoft.com/office/drawing/2014/main" id="{FA379D00-1FCC-747B-8404-C40DBAB754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04253" y="6379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2" name="Freeform 1476">
                        <a:extLst>
                          <a:ext uri="{FF2B5EF4-FFF2-40B4-BE49-F238E27FC236}">
                            <a16:creationId xmlns:a16="http://schemas.microsoft.com/office/drawing/2014/main" id="{B94C19F9-0661-9D32-372E-E8F9A99D212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35685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6" name="Graphic 19">
                      <a:extLst>
                        <a:ext uri="{FF2B5EF4-FFF2-40B4-BE49-F238E27FC236}">
                          <a16:creationId xmlns:a16="http://schemas.microsoft.com/office/drawing/2014/main" id="{29EDCC8D-F189-6A63-9CAF-D68FE57328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0445" y="606528"/>
                      <a:ext cx="62864" cy="63737"/>
                      <a:chOff x="13720445" y="606528"/>
                      <a:chExt cx="62864" cy="63737"/>
                    </a:xfrm>
                  </p:grpSpPr>
                  <p:sp>
                    <p:nvSpPr>
                      <p:cNvPr id="379" name="Freeform 1478">
                        <a:extLst>
                          <a:ext uri="{FF2B5EF4-FFF2-40B4-BE49-F238E27FC236}">
                            <a16:creationId xmlns:a16="http://schemas.microsoft.com/office/drawing/2014/main" id="{A0D9BD8F-8F09-9BDF-B170-C546BB5CE31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0445" y="637922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0" name="Freeform 1479">
                        <a:extLst>
                          <a:ext uri="{FF2B5EF4-FFF2-40B4-BE49-F238E27FC236}">
                            <a16:creationId xmlns:a16="http://schemas.microsoft.com/office/drawing/2014/main" id="{1C175FEB-8F1C-9DA6-A7F0-A6BFE21918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1878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7" name="Graphic 19">
                      <a:extLst>
                        <a:ext uri="{FF2B5EF4-FFF2-40B4-BE49-F238E27FC236}">
                          <a16:creationId xmlns:a16="http://schemas.microsoft.com/office/drawing/2014/main" id="{ADF682C5-5EF1-E9AC-2E29-BC63EC6A7DB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21398" y="606528"/>
                      <a:ext cx="63817" cy="63737"/>
                      <a:chOff x="13721398" y="606528"/>
                      <a:chExt cx="63817" cy="63737"/>
                    </a:xfrm>
                  </p:grpSpPr>
                  <p:sp>
                    <p:nvSpPr>
                      <p:cNvPr id="377" name="Freeform 1481">
                        <a:extLst>
                          <a:ext uri="{FF2B5EF4-FFF2-40B4-BE49-F238E27FC236}">
                            <a16:creationId xmlns:a16="http://schemas.microsoft.com/office/drawing/2014/main" id="{5698E6D8-92A1-79EF-51F3-1EC8AC153F6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21398" y="637922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8" name="Freeform 1482">
                        <a:extLst>
                          <a:ext uri="{FF2B5EF4-FFF2-40B4-BE49-F238E27FC236}">
                            <a16:creationId xmlns:a16="http://schemas.microsoft.com/office/drawing/2014/main" id="{DCB582A5-043A-B276-9BA3-5A2CB28404A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3783" y="60652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8" name="Graphic 19">
                      <a:extLst>
                        <a:ext uri="{FF2B5EF4-FFF2-40B4-BE49-F238E27FC236}">
                          <a16:creationId xmlns:a16="http://schemas.microsoft.com/office/drawing/2014/main" id="{8458A87E-9BEF-1DA1-6E06-3684C7305DE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4735" y="624603"/>
                      <a:ext cx="63817" cy="63737"/>
                      <a:chOff x="13754735" y="624603"/>
                      <a:chExt cx="63817" cy="63737"/>
                    </a:xfrm>
                  </p:grpSpPr>
                  <p:sp>
                    <p:nvSpPr>
                      <p:cNvPr id="375" name="Freeform 1484">
                        <a:extLst>
                          <a:ext uri="{FF2B5EF4-FFF2-40B4-BE49-F238E27FC236}">
                            <a16:creationId xmlns:a16="http://schemas.microsoft.com/office/drawing/2014/main" id="{C9A6AF2C-CC35-46D0-8E18-0CDC748EBAF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4735" y="65599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6" name="Freeform 1485">
                        <a:extLst>
                          <a:ext uri="{FF2B5EF4-FFF2-40B4-BE49-F238E27FC236}">
                            <a16:creationId xmlns:a16="http://schemas.microsoft.com/office/drawing/2014/main" id="{391EE935-4D59-657F-66D0-8BBB2AC0BC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86168" y="6246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89" name="Graphic 19">
                      <a:extLst>
                        <a:ext uri="{FF2B5EF4-FFF2-40B4-BE49-F238E27FC236}">
                          <a16:creationId xmlns:a16="http://schemas.microsoft.com/office/drawing/2014/main" id="{3BF302D0-F6E1-9EE1-E2CA-0EBB98C04EC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59498" y="624603"/>
                      <a:ext cx="63817" cy="63737"/>
                      <a:chOff x="13759498" y="624603"/>
                      <a:chExt cx="63817" cy="63737"/>
                    </a:xfrm>
                  </p:grpSpPr>
                  <p:sp>
                    <p:nvSpPr>
                      <p:cNvPr id="373" name="Freeform 1487">
                        <a:extLst>
                          <a:ext uri="{FF2B5EF4-FFF2-40B4-BE49-F238E27FC236}">
                            <a16:creationId xmlns:a16="http://schemas.microsoft.com/office/drawing/2014/main" id="{73323588-86D4-DC0A-D7D6-6DCC6AEEF3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59498" y="655997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4" name="Freeform 1488">
                        <a:extLst>
                          <a:ext uri="{FF2B5EF4-FFF2-40B4-BE49-F238E27FC236}">
                            <a16:creationId xmlns:a16="http://schemas.microsoft.com/office/drawing/2014/main" id="{9F2C9112-9C8C-3691-F233-FFA71C192B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1883" y="62460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0" name="Graphic 19">
                      <a:extLst>
                        <a:ext uri="{FF2B5EF4-FFF2-40B4-BE49-F238E27FC236}">
                          <a16:creationId xmlns:a16="http://schemas.microsoft.com/office/drawing/2014/main" id="{20488D49-2FE0-BFD9-DE33-119BED9EA1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794740" y="638873"/>
                      <a:ext cx="62864" cy="63737"/>
                      <a:chOff x="13794740" y="638873"/>
                      <a:chExt cx="62864" cy="63737"/>
                    </a:xfrm>
                  </p:grpSpPr>
                  <p:sp>
                    <p:nvSpPr>
                      <p:cNvPr id="371" name="Freeform 1490">
                        <a:extLst>
                          <a:ext uri="{FF2B5EF4-FFF2-40B4-BE49-F238E27FC236}">
                            <a16:creationId xmlns:a16="http://schemas.microsoft.com/office/drawing/2014/main" id="{8A07A725-E6C1-697B-2B33-CA59049EB0E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794740" y="6702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2" name="Freeform 1491">
                        <a:extLst>
                          <a:ext uri="{FF2B5EF4-FFF2-40B4-BE49-F238E27FC236}">
                            <a16:creationId xmlns:a16="http://schemas.microsoft.com/office/drawing/2014/main" id="{6E64CEFD-C9E7-F4DF-AC42-ACED57B5B2D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26173" y="63887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1" name="Graphic 19">
                      <a:extLst>
                        <a:ext uri="{FF2B5EF4-FFF2-40B4-BE49-F238E27FC236}">
                          <a16:creationId xmlns:a16="http://schemas.microsoft.com/office/drawing/2014/main" id="{6D6E7142-9163-81A8-7EDE-82B3BDAEB08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10933" y="638873"/>
                      <a:ext cx="62864" cy="63737"/>
                      <a:chOff x="13810933" y="638873"/>
                      <a:chExt cx="62864" cy="63737"/>
                    </a:xfrm>
                  </p:grpSpPr>
                  <p:sp>
                    <p:nvSpPr>
                      <p:cNvPr id="369" name="Freeform 1493">
                        <a:extLst>
                          <a:ext uri="{FF2B5EF4-FFF2-40B4-BE49-F238E27FC236}">
                            <a16:creationId xmlns:a16="http://schemas.microsoft.com/office/drawing/2014/main" id="{68116475-D0DD-7BE9-80D9-E796FEE7B75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10933" y="6702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70" name="Freeform 1494">
                        <a:extLst>
                          <a:ext uri="{FF2B5EF4-FFF2-40B4-BE49-F238E27FC236}">
                            <a16:creationId xmlns:a16="http://schemas.microsoft.com/office/drawing/2014/main" id="{14685033-1AA1-0267-5757-25992F050C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42365" y="63887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2" name="Graphic 19">
                      <a:extLst>
                        <a:ext uri="{FF2B5EF4-FFF2-40B4-BE49-F238E27FC236}">
                          <a16:creationId xmlns:a16="http://schemas.microsoft.com/office/drawing/2014/main" id="{DCFA4462-6B89-98CA-8708-AC4E14A901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49033" y="638873"/>
                      <a:ext cx="62864" cy="63737"/>
                      <a:chOff x="13849033" y="638873"/>
                      <a:chExt cx="62864" cy="63737"/>
                    </a:xfrm>
                  </p:grpSpPr>
                  <p:sp>
                    <p:nvSpPr>
                      <p:cNvPr id="367" name="Freeform 1496">
                        <a:extLst>
                          <a:ext uri="{FF2B5EF4-FFF2-40B4-BE49-F238E27FC236}">
                            <a16:creationId xmlns:a16="http://schemas.microsoft.com/office/drawing/2014/main" id="{E41EA9AF-C21C-CD96-EA63-BEF8B4CBCC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49033" y="67026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8" name="Freeform 1497">
                        <a:extLst>
                          <a:ext uri="{FF2B5EF4-FFF2-40B4-BE49-F238E27FC236}">
                            <a16:creationId xmlns:a16="http://schemas.microsoft.com/office/drawing/2014/main" id="{11B2A7E6-5213-87A7-2B12-805B3D2FB03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0465" y="638873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3" name="Graphic 19">
                      <a:extLst>
                        <a:ext uri="{FF2B5EF4-FFF2-40B4-BE49-F238E27FC236}">
                          <a16:creationId xmlns:a16="http://schemas.microsoft.com/office/drawing/2014/main" id="{57C8CE51-A183-DF36-7FC3-D89D6D0BA3C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83323" y="658850"/>
                      <a:ext cx="62865" cy="63737"/>
                      <a:chOff x="13883323" y="658850"/>
                      <a:chExt cx="62865" cy="63737"/>
                    </a:xfrm>
                  </p:grpSpPr>
                  <p:sp>
                    <p:nvSpPr>
                      <p:cNvPr id="365" name="Freeform 1499">
                        <a:extLst>
                          <a:ext uri="{FF2B5EF4-FFF2-40B4-BE49-F238E27FC236}">
                            <a16:creationId xmlns:a16="http://schemas.microsoft.com/office/drawing/2014/main" id="{9F080360-9E8C-1375-D7C6-B6F5E18537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83323" y="69119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6" name="Freeform 1500">
                        <a:extLst>
                          <a:ext uri="{FF2B5EF4-FFF2-40B4-BE49-F238E27FC236}">
                            <a16:creationId xmlns:a16="http://schemas.microsoft.com/office/drawing/2014/main" id="{2CDA34CB-6DC4-89E7-6CD6-61EF3E98AFF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4755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4" name="Graphic 19">
                      <a:extLst>
                        <a:ext uri="{FF2B5EF4-FFF2-40B4-BE49-F238E27FC236}">
                          <a16:creationId xmlns:a16="http://schemas.microsoft.com/office/drawing/2014/main" id="{2195E9AF-DBCB-0E0A-E509-7E5950D49C3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94753" y="658850"/>
                      <a:ext cx="63817" cy="63737"/>
                      <a:chOff x="13894753" y="658850"/>
                      <a:chExt cx="63817" cy="63737"/>
                    </a:xfrm>
                  </p:grpSpPr>
                  <p:sp>
                    <p:nvSpPr>
                      <p:cNvPr id="363" name="Freeform 1502">
                        <a:extLst>
                          <a:ext uri="{FF2B5EF4-FFF2-40B4-BE49-F238E27FC236}">
                            <a16:creationId xmlns:a16="http://schemas.microsoft.com/office/drawing/2014/main" id="{5A7CADFA-9A7E-9DD9-A8F4-CB0C9E304D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4753" y="691195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4" name="Freeform 1503">
                        <a:extLst>
                          <a:ext uri="{FF2B5EF4-FFF2-40B4-BE49-F238E27FC236}">
                            <a16:creationId xmlns:a16="http://schemas.microsoft.com/office/drawing/2014/main" id="{C469BB3E-CD4A-D3E1-4785-3CE2A4C7B7C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7138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5" name="Graphic 19">
                      <a:extLst>
                        <a:ext uri="{FF2B5EF4-FFF2-40B4-BE49-F238E27FC236}">
                          <a16:creationId xmlns:a16="http://schemas.microsoft.com/office/drawing/2014/main" id="{B95D7DF1-B02D-4D27-8581-A6B7036F821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897610" y="658850"/>
                      <a:ext cx="62865" cy="63737"/>
                      <a:chOff x="13897610" y="658850"/>
                      <a:chExt cx="62865" cy="63737"/>
                    </a:xfrm>
                  </p:grpSpPr>
                  <p:sp>
                    <p:nvSpPr>
                      <p:cNvPr id="361" name="Freeform 1505">
                        <a:extLst>
                          <a:ext uri="{FF2B5EF4-FFF2-40B4-BE49-F238E27FC236}">
                            <a16:creationId xmlns:a16="http://schemas.microsoft.com/office/drawing/2014/main" id="{0546A410-71AD-8816-FD44-47D45F2A2A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897610" y="69119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2" name="Freeform 1506">
                        <a:extLst>
                          <a:ext uri="{FF2B5EF4-FFF2-40B4-BE49-F238E27FC236}">
                            <a16:creationId xmlns:a16="http://schemas.microsoft.com/office/drawing/2014/main" id="{ACA4EDAF-D4D4-293C-4BB0-7068746A540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29043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6" name="Graphic 19">
                      <a:extLst>
                        <a:ext uri="{FF2B5EF4-FFF2-40B4-BE49-F238E27FC236}">
                          <a16:creationId xmlns:a16="http://schemas.microsoft.com/office/drawing/2014/main" id="{5F8F9BF8-AB12-80F4-E7D8-C4E324E4FED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19518" y="658850"/>
                      <a:ext cx="62864" cy="63737"/>
                      <a:chOff x="13919518" y="658850"/>
                      <a:chExt cx="62864" cy="63737"/>
                    </a:xfrm>
                  </p:grpSpPr>
                  <p:sp>
                    <p:nvSpPr>
                      <p:cNvPr id="359" name="Freeform 1508">
                        <a:extLst>
                          <a:ext uri="{FF2B5EF4-FFF2-40B4-BE49-F238E27FC236}">
                            <a16:creationId xmlns:a16="http://schemas.microsoft.com/office/drawing/2014/main" id="{6D5318B7-C7D8-EF06-4512-A6DA37FB929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19518" y="691195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60" name="Freeform 1509">
                        <a:extLst>
                          <a:ext uri="{FF2B5EF4-FFF2-40B4-BE49-F238E27FC236}">
                            <a16:creationId xmlns:a16="http://schemas.microsoft.com/office/drawing/2014/main" id="{AC4049AC-9135-03C3-F2CD-E9D6A53C402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50950" y="6588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7" name="Graphic 19">
                      <a:extLst>
                        <a:ext uri="{FF2B5EF4-FFF2-40B4-BE49-F238E27FC236}">
                          <a16:creationId xmlns:a16="http://schemas.microsoft.com/office/drawing/2014/main" id="{35A60C6E-CD37-62AA-7CEE-AA27838A9F7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74763" y="702611"/>
                      <a:ext cx="62865" cy="63737"/>
                      <a:chOff x="13974763" y="702611"/>
                      <a:chExt cx="62865" cy="63737"/>
                    </a:xfrm>
                  </p:grpSpPr>
                  <p:sp>
                    <p:nvSpPr>
                      <p:cNvPr id="357" name="Freeform 1511">
                        <a:extLst>
                          <a:ext uri="{FF2B5EF4-FFF2-40B4-BE49-F238E27FC236}">
                            <a16:creationId xmlns:a16="http://schemas.microsoft.com/office/drawing/2014/main" id="{BCC61A2A-BC8B-7D8A-F851-39DC71B627F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74763" y="734955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8" name="Freeform 1512">
                        <a:extLst>
                          <a:ext uri="{FF2B5EF4-FFF2-40B4-BE49-F238E27FC236}">
                            <a16:creationId xmlns:a16="http://schemas.microsoft.com/office/drawing/2014/main" id="{454E4EC0-AA46-05D4-72E6-CCEFE7B61C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6195" y="70261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8" name="Graphic 19">
                      <a:extLst>
                        <a:ext uri="{FF2B5EF4-FFF2-40B4-BE49-F238E27FC236}">
                          <a16:creationId xmlns:a16="http://schemas.microsoft.com/office/drawing/2014/main" id="{48B02367-CECD-2665-A027-73FAE079B6A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0478" y="723540"/>
                      <a:ext cx="62865" cy="62786"/>
                      <a:chOff x="13980478" y="723540"/>
                      <a:chExt cx="62865" cy="62786"/>
                    </a:xfrm>
                  </p:grpSpPr>
                  <p:sp>
                    <p:nvSpPr>
                      <p:cNvPr id="355" name="Freeform 1514">
                        <a:extLst>
                          <a:ext uri="{FF2B5EF4-FFF2-40B4-BE49-F238E27FC236}">
                            <a16:creationId xmlns:a16="http://schemas.microsoft.com/office/drawing/2014/main" id="{2CC6E6A3-E3D7-734A-97CC-C115CD995D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0478" y="75493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6" name="Freeform 1515">
                        <a:extLst>
                          <a:ext uri="{FF2B5EF4-FFF2-40B4-BE49-F238E27FC236}">
                            <a16:creationId xmlns:a16="http://schemas.microsoft.com/office/drawing/2014/main" id="{CEB4DEE1-9DCC-A398-0E0A-F65C0DFAB9D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1910" y="72354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199" name="Graphic 19">
                      <a:extLst>
                        <a:ext uri="{FF2B5EF4-FFF2-40B4-BE49-F238E27FC236}">
                          <a16:creationId xmlns:a16="http://schemas.microsoft.com/office/drawing/2014/main" id="{190A1940-3B9F-FC77-5A99-5F17898A088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1430" y="746371"/>
                      <a:ext cx="63817" cy="63737"/>
                      <a:chOff x="13981430" y="746371"/>
                      <a:chExt cx="63817" cy="63737"/>
                    </a:xfrm>
                  </p:grpSpPr>
                  <p:sp>
                    <p:nvSpPr>
                      <p:cNvPr id="353" name="Freeform 1517">
                        <a:extLst>
                          <a:ext uri="{FF2B5EF4-FFF2-40B4-BE49-F238E27FC236}">
                            <a16:creationId xmlns:a16="http://schemas.microsoft.com/office/drawing/2014/main" id="{63C5718C-93D5-BE5E-910D-62B4C981DB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1430" y="778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4" name="Freeform 1518">
                        <a:extLst>
                          <a:ext uri="{FF2B5EF4-FFF2-40B4-BE49-F238E27FC236}">
                            <a16:creationId xmlns:a16="http://schemas.microsoft.com/office/drawing/2014/main" id="{89412951-D0D3-D0E9-4583-5339DFB75AF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3815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0" name="Graphic 19">
                      <a:extLst>
                        <a:ext uri="{FF2B5EF4-FFF2-40B4-BE49-F238E27FC236}">
                          <a16:creationId xmlns:a16="http://schemas.microsoft.com/office/drawing/2014/main" id="{97376E9B-E7E0-AE3C-AFD5-41E00EB4E1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3987145" y="746371"/>
                      <a:ext cx="63817" cy="63737"/>
                      <a:chOff x="13987145" y="746371"/>
                      <a:chExt cx="63817" cy="63737"/>
                    </a:xfrm>
                  </p:grpSpPr>
                  <p:sp>
                    <p:nvSpPr>
                      <p:cNvPr id="351" name="Freeform 1520">
                        <a:extLst>
                          <a:ext uri="{FF2B5EF4-FFF2-40B4-BE49-F238E27FC236}">
                            <a16:creationId xmlns:a16="http://schemas.microsoft.com/office/drawing/2014/main" id="{BA23CB9E-2257-4E07-F412-A536271F48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987145" y="778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2" name="Freeform 1521">
                        <a:extLst>
                          <a:ext uri="{FF2B5EF4-FFF2-40B4-BE49-F238E27FC236}">
                            <a16:creationId xmlns:a16="http://schemas.microsoft.com/office/drawing/2014/main" id="{F5282E40-B6CA-9D51-E6C7-79769BDE465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9530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1" name="Graphic 19">
                      <a:extLst>
                        <a:ext uri="{FF2B5EF4-FFF2-40B4-BE49-F238E27FC236}">
                          <a16:creationId xmlns:a16="http://schemas.microsoft.com/office/drawing/2014/main" id="{5D20D276-866B-25D9-72C4-27D678AF0FC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0480" y="746371"/>
                      <a:ext cx="62864" cy="63737"/>
                      <a:chOff x="14000480" y="746371"/>
                      <a:chExt cx="62864" cy="63737"/>
                    </a:xfrm>
                  </p:grpSpPr>
                  <p:sp>
                    <p:nvSpPr>
                      <p:cNvPr id="349" name="Freeform 1523">
                        <a:extLst>
                          <a:ext uri="{FF2B5EF4-FFF2-40B4-BE49-F238E27FC236}">
                            <a16:creationId xmlns:a16="http://schemas.microsoft.com/office/drawing/2014/main" id="{2DCDB48E-E460-35C4-029A-A361DC53E5D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0480" y="778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50" name="Freeform 1524">
                        <a:extLst>
                          <a:ext uri="{FF2B5EF4-FFF2-40B4-BE49-F238E27FC236}">
                            <a16:creationId xmlns:a16="http://schemas.microsoft.com/office/drawing/2014/main" id="{995B4D2A-BBC7-DBDD-3254-E2ACA0CB5FF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1913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2" name="Graphic 19">
                      <a:extLst>
                        <a:ext uri="{FF2B5EF4-FFF2-40B4-BE49-F238E27FC236}">
                          <a16:creationId xmlns:a16="http://schemas.microsoft.com/office/drawing/2014/main" id="{EADA81E2-5BA9-77F7-4B2E-576B8DED047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5243" y="746371"/>
                      <a:ext cx="62864" cy="63737"/>
                      <a:chOff x="14005243" y="746371"/>
                      <a:chExt cx="62864" cy="63737"/>
                    </a:xfrm>
                  </p:grpSpPr>
                  <p:sp>
                    <p:nvSpPr>
                      <p:cNvPr id="347" name="Freeform 1526">
                        <a:extLst>
                          <a:ext uri="{FF2B5EF4-FFF2-40B4-BE49-F238E27FC236}">
                            <a16:creationId xmlns:a16="http://schemas.microsoft.com/office/drawing/2014/main" id="{41911D16-0D1D-16A9-4FBE-E9D4DEB878F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5243" y="778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8" name="Freeform 1527">
                        <a:extLst>
                          <a:ext uri="{FF2B5EF4-FFF2-40B4-BE49-F238E27FC236}">
                            <a16:creationId xmlns:a16="http://schemas.microsoft.com/office/drawing/2014/main" id="{A72BFE43-0493-BB2E-5457-174AA16635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6675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3" name="Graphic 19">
                      <a:extLst>
                        <a:ext uri="{FF2B5EF4-FFF2-40B4-BE49-F238E27FC236}">
                          <a16:creationId xmlns:a16="http://schemas.microsoft.com/office/drawing/2014/main" id="{30276D6D-9DF3-08E8-9B78-4D56B2A1B5D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09053" y="746371"/>
                      <a:ext cx="62865" cy="63737"/>
                      <a:chOff x="14009053" y="746371"/>
                      <a:chExt cx="62865" cy="63737"/>
                    </a:xfrm>
                  </p:grpSpPr>
                  <p:sp>
                    <p:nvSpPr>
                      <p:cNvPr id="345" name="Freeform 1529">
                        <a:extLst>
                          <a:ext uri="{FF2B5EF4-FFF2-40B4-BE49-F238E27FC236}">
                            <a16:creationId xmlns:a16="http://schemas.microsoft.com/office/drawing/2014/main" id="{75A3600A-E741-5EBB-4AD9-7B27DFB370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09053" y="778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6" name="Freeform 1530">
                        <a:extLst>
                          <a:ext uri="{FF2B5EF4-FFF2-40B4-BE49-F238E27FC236}">
                            <a16:creationId xmlns:a16="http://schemas.microsoft.com/office/drawing/2014/main" id="{40DD3D38-92F1-2A2A-CCEB-C1914D2B2B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0485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4" name="Graphic 19">
                      <a:extLst>
                        <a:ext uri="{FF2B5EF4-FFF2-40B4-BE49-F238E27FC236}">
                          <a16:creationId xmlns:a16="http://schemas.microsoft.com/office/drawing/2014/main" id="{EAC49204-30CB-A68E-1E30-952EB83EE8B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19530" y="746371"/>
                      <a:ext cx="62864" cy="63737"/>
                      <a:chOff x="14019530" y="746371"/>
                      <a:chExt cx="62864" cy="63737"/>
                    </a:xfrm>
                  </p:grpSpPr>
                  <p:sp>
                    <p:nvSpPr>
                      <p:cNvPr id="343" name="Freeform 1532">
                        <a:extLst>
                          <a:ext uri="{FF2B5EF4-FFF2-40B4-BE49-F238E27FC236}">
                            <a16:creationId xmlns:a16="http://schemas.microsoft.com/office/drawing/2014/main" id="{248FE097-CEC8-3F81-F16E-F62F5A6C188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19530" y="778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4" name="Freeform 1533">
                        <a:extLst>
                          <a:ext uri="{FF2B5EF4-FFF2-40B4-BE49-F238E27FC236}">
                            <a16:creationId xmlns:a16="http://schemas.microsoft.com/office/drawing/2014/main" id="{61A41EA3-74F6-5384-2670-DF623B0E96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50963" y="746371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5" name="Graphic 19">
                      <a:extLst>
                        <a:ext uri="{FF2B5EF4-FFF2-40B4-BE49-F238E27FC236}">
                          <a16:creationId xmlns:a16="http://schemas.microsoft.com/office/drawing/2014/main" id="{C44EA0C2-D1E0-074A-55C1-8FDC1DB3442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28103" y="771105"/>
                      <a:ext cx="63817" cy="62786"/>
                      <a:chOff x="14028103" y="771105"/>
                      <a:chExt cx="63817" cy="62786"/>
                    </a:xfrm>
                  </p:grpSpPr>
                  <p:sp>
                    <p:nvSpPr>
                      <p:cNvPr id="341" name="Freeform 1535">
                        <a:extLst>
                          <a:ext uri="{FF2B5EF4-FFF2-40B4-BE49-F238E27FC236}">
                            <a16:creationId xmlns:a16="http://schemas.microsoft.com/office/drawing/2014/main" id="{0F2ADD4F-49E3-EBC0-DA87-E8E47FAE01D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28103" y="8024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2" name="Freeform 1536">
                        <a:extLst>
                          <a:ext uri="{FF2B5EF4-FFF2-40B4-BE49-F238E27FC236}">
                            <a16:creationId xmlns:a16="http://schemas.microsoft.com/office/drawing/2014/main" id="{F8630454-927C-BE7E-78D9-5734524272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0488" y="77110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6" name="Graphic 19">
                      <a:extLst>
                        <a:ext uri="{FF2B5EF4-FFF2-40B4-BE49-F238E27FC236}">
                          <a16:creationId xmlns:a16="http://schemas.microsoft.com/office/drawing/2014/main" id="{7769A567-88AA-5F49-7EF8-CB308385483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30960" y="771105"/>
                      <a:ext cx="62865" cy="62786"/>
                      <a:chOff x="14030960" y="771105"/>
                      <a:chExt cx="62865" cy="62786"/>
                    </a:xfrm>
                  </p:grpSpPr>
                  <p:sp>
                    <p:nvSpPr>
                      <p:cNvPr id="339" name="Freeform 1538">
                        <a:extLst>
                          <a:ext uri="{FF2B5EF4-FFF2-40B4-BE49-F238E27FC236}">
                            <a16:creationId xmlns:a16="http://schemas.microsoft.com/office/drawing/2014/main" id="{0AF15B0A-E16D-DB52-6DC9-F5D4D46108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30960" y="8024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40" name="Freeform 1539">
                        <a:extLst>
                          <a:ext uri="{FF2B5EF4-FFF2-40B4-BE49-F238E27FC236}">
                            <a16:creationId xmlns:a16="http://schemas.microsoft.com/office/drawing/2014/main" id="{EE1B962D-17F1-F413-16DD-BA4F53479D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62393" y="771105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7" name="Graphic 19">
                      <a:extLst>
                        <a:ext uri="{FF2B5EF4-FFF2-40B4-BE49-F238E27FC236}">
                          <a16:creationId xmlns:a16="http://schemas.microsoft.com/office/drawing/2014/main" id="{9578D812-9F8A-3D0D-B217-BF1CD89AE14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2390" y="771105"/>
                      <a:ext cx="62865" cy="63737"/>
                      <a:chOff x="14042390" y="771105"/>
                      <a:chExt cx="62865" cy="63737"/>
                    </a:xfrm>
                  </p:grpSpPr>
                  <p:sp>
                    <p:nvSpPr>
                      <p:cNvPr id="337" name="Freeform 1541">
                        <a:extLst>
                          <a:ext uri="{FF2B5EF4-FFF2-40B4-BE49-F238E27FC236}">
                            <a16:creationId xmlns:a16="http://schemas.microsoft.com/office/drawing/2014/main" id="{1D2A406B-E035-6A37-F6FC-B38E841DB6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2390" y="8024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8" name="Freeform 1542">
                        <a:extLst>
                          <a:ext uri="{FF2B5EF4-FFF2-40B4-BE49-F238E27FC236}">
                            <a16:creationId xmlns:a16="http://schemas.microsoft.com/office/drawing/2014/main" id="{F7E4094D-A7F6-B6CB-D110-8EA600371D9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3823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8" name="Graphic 19">
                      <a:extLst>
                        <a:ext uri="{FF2B5EF4-FFF2-40B4-BE49-F238E27FC236}">
                          <a16:creationId xmlns:a16="http://schemas.microsoft.com/office/drawing/2014/main" id="{D54161D2-2FE1-B80F-BC02-B22FA760BCF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4295" y="771105"/>
                      <a:ext cx="63817" cy="63737"/>
                      <a:chOff x="14044295" y="771105"/>
                      <a:chExt cx="63817" cy="63737"/>
                    </a:xfrm>
                  </p:grpSpPr>
                  <p:sp>
                    <p:nvSpPr>
                      <p:cNvPr id="335" name="Freeform 1544">
                        <a:extLst>
                          <a:ext uri="{FF2B5EF4-FFF2-40B4-BE49-F238E27FC236}">
                            <a16:creationId xmlns:a16="http://schemas.microsoft.com/office/drawing/2014/main" id="{1FB08471-E73A-74A2-28FC-7E83B76FCB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4295" y="8024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6" name="Freeform 1545">
                        <a:extLst>
                          <a:ext uri="{FF2B5EF4-FFF2-40B4-BE49-F238E27FC236}">
                            <a16:creationId xmlns:a16="http://schemas.microsoft.com/office/drawing/2014/main" id="{275FD1F6-CB62-707C-1122-F4EA4B5E771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6680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09" name="Graphic 19">
                      <a:extLst>
                        <a:ext uri="{FF2B5EF4-FFF2-40B4-BE49-F238E27FC236}">
                          <a16:creationId xmlns:a16="http://schemas.microsoft.com/office/drawing/2014/main" id="{B2B3119D-5070-DA0B-C19E-619FD8DE7D4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47153" y="771105"/>
                      <a:ext cx="63817" cy="63737"/>
                      <a:chOff x="14047153" y="771105"/>
                      <a:chExt cx="63817" cy="63737"/>
                    </a:xfrm>
                  </p:grpSpPr>
                  <p:sp>
                    <p:nvSpPr>
                      <p:cNvPr id="333" name="Freeform 1547">
                        <a:extLst>
                          <a:ext uri="{FF2B5EF4-FFF2-40B4-BE49-F238E27FC236}">
                            <a16:creationId xmlns:a16="http://schemas.microsoft.com/office/drawing/2014/main" id="{EB0096FF-23CE-CBB5-12CF-4866F529039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47153" y="802498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4" name="Freeform 1548">
                        <a:extLst>
                          <a:ext uri="{FF2B5EF4-FFF2-40B4-BE49-F238E27FC236}">
                            <a16:creationId xmlns:a16="http://schemas.microsoft.com/office/drawing/2014/main" id="{C1877F0F-CA73-6442-FEFB-4737C23BFA7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9538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0" name="Graphic 19">
                      <a:extLst>
                        <a:ext uri="{FF2B5EF4-FFF2-40B4-BE49-F238E27FC236}">
                          <a16:creationId xmlns:a16="http://schemas.microsoft.com/office/drawing/2014/main" id="{9E8EEEB0-8FC2-FA2B-A8D5-2867D3D905D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074775" y="771105"/>
                      <a:ext cx="62865" cy="63737"/>
                      <a:chOff x="14074775" y="771105"/>
                      <a:chExt cx="62865" cy="63737"/>
                    </a:xfrm>
                  </p:grpSpPr>
                  <p:sp>
                    <p:nvSpPr>
                      <p:cNvPr id="331" name="Freeform 1550">
                        <a:extLst>
                          <a:ext uri="{FF2B5EF4-FFF2-40B4-BE49-F238E27FC236}">
                            <a16:creationId xmlns:a16="http://schemas.microsoft.com/office/drawing/2014/main" id="{D1D29C0B-BC50-AACE-ADA1-EA315C58217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074775" y="802498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2" name="Freeform 1551">
                        <a:extLst>
                          <a:ext uri="{FF2B5EF4-FFF2-40B4-BE49-F238E27FC236}">
                            <a16:creationId xmlns:a16="http://schemas.microsoft.com/office/drawing/2014/main" id="{2C068E5B-3E55-3F9B-EA26-5D27612D44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06208" y="771105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1" name="Graphic 19">
                      <a:extLst>
                        <a:ext uri="{FF2B5EF4-FFF2-40B4-BE49-F238E27FC236}">
                          <a16:creationId xmlns:a16="http://schemas.microsoft.com/office/drawing/2014/main" id="{BC4C91EC-46B8-E6DB-45E5-285770AF402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25258" y="803450"/>
                      <a:ext cx="63817" cy="63737"/>
                      <a:chOff x="14125258" y="803450"/>
                      <a:chExt cx="63817" cy="63737"/>
                    </a:xfrm>
                  </p:grpSpPr>
                  <p:sp>
                    <p:nvSpPr>
                      <p:cNvPr id="329" name="Freeform 1553">
                        <a:extLst>
                          <a:ext uri="{FF2B5EF4-FFF2-40B4-BE49-F238E27FC236}">
                            <a16:creationId xmlns:a16="http://schemas.microsoft.com/office/drawing/2014/main" id="{00DB2A75-BA70-CEFF-B27C-2A12937E79B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25258" y="83579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30" name="Freeform 1554">
                        <a:extLst>
                          <a:ext uri="{FF2B5EF4-FFF2-40B4-BE49-F238E27FC236}">
                            <a16:creationId xmlns:a16="http://schemas.microsoft.com/office/drawing/2014/main" id="{76C166F1-D845-E05E-BD92-2982C64625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56690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2" name="Graphic 19">
                      <a:extLst>
                        <a:ext uri="{FF2B5EF4-FFF2-40B4-BE49-F238E27FC236}">
                          <a16:creationId xmlns:a16="http://schemas.microsoft.com/office/drawing/2014/main" id="{B280C980-0298-C864-9C53-3C3F065F4BD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81455" y="803450"/>
                      <a:ext cx="62864" cy="63737"/>
                      <a:chOff x="14181455" y="803450"/>
                      <a:chExt cx="62864" cy="63737"/>
                    </a:xfrm>
                  </p:grpSpPr>
                  <p:sp>
                    <p:nvSpPr>
                      <p:cNvPr id="327" name="Freeform 1556">
                        <a:extLst>
                          <a:ext uri="{FF2B5EF4-FFF2-40B4-BE49-F238E27FC236}">
                            <a16:creationId xmlns:a16="http://schemas.microsoft.com/office/drawing/2014/main" id="{DE0AE01F-72AC-6CFD-43B8-9B75E693EE5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81455" y="835794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8" name="Freeform 1557">
                        <a:extLst>
                          <a:ext uri="{FF2B5EF4-FFF2-40B4-BE49-F238E27FC236}">
                            <a16:creationId xmlns:a16="http://schemas.microsoft.com/office/drawing/2014/main" id="{D48CD567-F923-BD38-8182-FFAB099C506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12888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3" name="Graphic 19">
                      <a:extLst>
                        <a:ext uri="{FF2B5EF4-FFF2-40B4-BE49-F238E27FC236}">
                          <a16:creationId xmlns:a16="http://schemas.microsoft.com/office/drawing/2014/main" id="{DD4779FF-55E2-08E0-735B-5C3458D6643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183360" y="803450"/>
                      <a:ext cx="62865" cy="63737"/>
                      <a:chOff x="14183360" y="803450"/>
                      <a:chExt cx="62865" cy="63737"/>
                    </a:xfrm>
                  </p:grpSpPr>
                  <p:sp>
                    <p:nvSpPr>
                      <p:cNvPr id="325" name="Freeform 1559">
                        <a:extLst>
                          <a:ext uri="{FF2B5EF4-FFF2-40B4-BE49-F238E27FC236}">
                            <a16:creationId xmlns:a16="http://schemas.microsoft.com/office/drawing/2014/main" id="{D87E8F7A-3FC5-1BB7-AF89-B439A196251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183360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6" name="Freeform 1560">
                        <a:extLst>
                          <a:ext uri="{FF2B5EF4-FFF2-40B4-BE49-F238E27FC236}">
                            <a16:creationId xmlns:a16="http://schemas.microsoft.com/office/drawing/2014/main" id="{54C56C5B-C83E-0F22-D6B7-23935388BAF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14793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4" name="Graphic 19">
                      <a:extLst>
                        <a:ext uri="{FF2B5EF4-FFF2-40B4-BE49-F238E27FC236}">
                          <a16:creationId xmlns:a16="http://schemas.microsoft.com/office/drawing/2014/main" id="{A429BD0D-504B-4348-BC07-9325A8695C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08125" y="803450"/>
                      <a:ext cx="62865" cy="63737"/>
                      <a:chOff x="14208125" y="803450"/>
                      <a:chExt cx="62865" cy="63737"/>
                    </a:xfrm>
                  </p:grpSpPr>
                  <p:sp>
                    <p:nvSpPr>
                      <p:cNvPr id="323" name="Freeform 1562">
                        <a:extLst>
                          <a:ext uri="{FF2B5EF4-FFF2-40B4-BE49-F238E27FC236}">
                            <a16:creationId xmlns:a16="http://schemas.microsoft.com/office/drawing/2014/main" id="{A27F5447-0B88-C7ED-3F9E-434D2D2CC8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08125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4" name="Freeform 1563">
                        <a:extLst>
                          <a:ext uri="{FF2B5EF4-FFF2-40B4-BE49-F238E27FC236}">
                            <a16:creationId xmlns:a16="http://schemas.microsoft.com/office/drawing/2014/main" id="{7F6CDBC2-2DF7-0434-9F76-C8E9B560AC7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9558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5" name="Graphic 19">
                      <a:extLst>
                        <a:ext uri="{FF2B5EF4-FFF2-40B4-BE49-F238E27FC236}">
                          <a16:creationId xmlns:a16="http://schemas.microsoft.com/office/drawing/2014/main" id="{0DA0E72C-D267-A277-8FC3-E469DE8A6BE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12888" y="803450"/>
                      <a:ext cx="63817" cy="63737"/>
                      <a:chOff x="14212888" y="803450"/>
                      <a:chExt cx="63817" cy="63737"/>
                    </a:xfrm>
                  </p:grpSpPr>
                  <p:sp>
                    <p:nvSpPr>
                      <p:cNvPr id="321" name="Freeform 1565">
                        <a:extLst>
                          <a:ext uri="{FF2B5EF4-FFF2-40B4-BE49-F238E27FC236}">
                            <a16:creationId xmlns:a16="http://schemas.microsoft.com/office/drawing/2014/main" id="{FA356C7A-4B43-3D2D-EB7A-11AE90381CE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12888" y="835794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2" name="Freeform 1566">
                        <a:extLst>
                          <a:ext uri="{FF2B5EF4-FFF2-40B4-BE49-F238E27FC236}">
                            <a16:creationId xmlns:a16="http://schemas.microsoft.com/office/drawing/2014/main" id="{88E532BF-B972-63DF-4FA3-9A2ABCDC6FD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45273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6" name="Graphic 19">
                      <a:extLst>
                        <a:ext uri="{FF2B5EF4-FFF2-40B4-BE49-F238E27FC236}">
                          <a16:creationId xmlns:a16="http://schemas.microsoft.com/office/drawing/2014/main" id="{00D26760-447A-13DB-5B4A-0FF7D9DB8C3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0033" y="803450"/>
                      <a:ext cx="62865" cy="63737"/>
                      <a:chOff x="14230033" y="803450"/>
                      <a:chExt cx="62865" cy="63737"/>
                    </a:xfrm>
                  </p:grpSpPr>
                  <p:sp>
                    <p:nvSpPr>
                      <p:cNvPr id="319" name="Freeform 1568">
                        <a:extLst>
                          <a:ext uri="{FF2B5EF4-FFF2-40B4-BE49-F238E27FC236}">
                            <a16:creationId xmlns:a16="http://schemas.microsoft.com/office/drawing/2014/main" id="{7EA91A6C-0028-DC3A-3FC0-CC46CCF97B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0033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20" name="Freeform 1569">
                        <a:extLst>
                          <a:ext uri="{FF2B5EF4-FFF2-40B4-BE49-F238E27FC236}">
                            <a16:creationId xmlns:a16="http://schemas.microsoft.com/office/drawing/2014/main" id="{F932FFB2-7FBE-CD83-6629-A93919D8421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1465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7" name="Graphic 19">
                      <a:extLst>
                        <a:ext uri="{FF2B5EF4-FFF2-40B4-BE49-F238E27FC236}">
                          <a16:creationId xmlns:a16="http://schemas.microsoft.com/office/drawing/2014/main" id="{30183D00-DB01-D6C0-0CD0-E54615A64FC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232890" y="803450"/>
                      <a:ext cx="62865" cy="63737"/>
                      <a:chOff x="14232890" y="803450"/>
                      <a:chExt cx="62865" cy="63737"/>
                    </a:xfrm>
                  </p:grpSpPr>
                  <p:sp>
                    <p:nvSpPr>
                      <p:cNvPr id="317" name="Freeform 1571">
                        <a:extLst>
                          <a:ext uri="{FF2B5EF4-FFF2-40B4-BE49-F238E27FC236}">
                            <a16:creationId xmlns:a16="http://schemas.microsoft.com/office/drawing/2014/main" id="{9E3C7E3C-1FFA-8E00-5641-B06991F4145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32890" y="835794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8" name="Freeform 1572">
                        <a:extLst>
                          <a:ext uri="{FF2B5EF4-FFF2-40B4-BE49-F238E27FC236}">
                            <a16:creationId xmlns:a16="http://schemas.microsoft.com/office/drawing/2014/main" id="{8A3E4272-503C-5C25-5907-A561651DEF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264323" y="803450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8" name="Graphic 19">
                      <a:extLst>
                        <a:ext uri="{FF2B5EF4-FFF2-40B4-BE49-F238E27FC236}">
                          <a16:creationId xmlns:a16="http://schemas.microsoft.com/office/drawing/2014/main" id="{BFA969C3-0C6C-4BF7-516D-E8D5C71C363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17663" y="831038"/>
                      <a:ext cx="63817" cy="63737"/>
                      <a:chOff x="14317663" y="831038"/>
                      <a:chExt cx="63817" cy="63737"/>
                    </a:xfrm>
                  </p:grpSpPr>
                  <p:sp>
                    <p:nvSpPr>
                      <p:cNvPr id="315" name="Freeform 1574">
                        <a:extLst>
                          <a:ext uri="{FF2B5EF4-FFF2-40B4-BE49-F238E27FC236}">
                            <a16:creationId xmlns:a16="http://schemas.microsoft.com/office/drawing/2014/main" id="{AAB479F4-3B27-3B5A-A2CE-70C5EBEF3F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17663" y="86243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6" name="Freeform 1575">
                        <a:extLst>
                          <a:ext uri="{FF2B5EF4-FFF2-40B4-BE49-F238E27FC236}">
                            <a16:creationId xmlns:a16="http://schemas.microsoft.com/office/drawing/2014/main" id="{D126C57A-0BFD-F994-2C90-D93EEEC0FC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49095" y="831038"/>
                        <a:ext cx="9525" cy="63737"/>
                      </a:xfrm>
                      <a:custGeom>
                        <a:avLst/>
                        <a:gdLst>
                          <a:gd name="connsiteX0" fmla="*/ 0 w 9525"/>
                          <a:gd name="connsiteY0" fmla="*/ 63738 h 63737"/>
                          <a:gd name="connsiteX1" fmla="*/ 0 w 9525"/>
                          <a:gd name="connsiteY1" fmla="*/ 0 h 6373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3737">
                            <a:moveTo>
                              <a:pt x="0" y="63738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19" name="Graphic 19">
                      <a:extLst>
                        <a:ext uri="{FF2B5EF4-FFF2-40B4-BE49-F238E27FC236}">
                          <a16:creationId xmlns:a16="http://schemas.microsoft.com/office/drawing/2014/main" id="{9E939393-9AB9-6803-50A1-59E215C2389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0045" y="867188"/>
                      <a:ext cx="62865" cy="62786"/>
                      <a:chOff x="14330045" y="867188"/>
                      <a:chExt cx="62865" cy="62786"/>
                    </a:xfrm>
                  </p:grpSpPr>
                  <p:sp>
                    <p:nvSpPr>
                      <p:cNvPr id="313" name="Freeform 1577">
                        <a:extLst>
                          <a:ext uri="{FF2B5EF4-FFF2-40B4-BE49-F238E27FC236}">
                            <a16:creationId xmlns:a16="http://schemas.microsoft.com/office/drawing/2014/main" id="{F54CBF2B-F372-820C-F7AA-BF8952C679B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0045" y="89858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4" name="Freeform 1578">
                        <a:extLst>
                          <a:ext uri="{FF2B5EF4-FFF2-40B4-BE49-F238E27FC236}">
                            <a16:creationId xmlns:a16="http://schemas.microsoft.com/office/drawing/2014/main" id="{83850B2F-B591-8FB1-2D3F-761FE37073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1478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0" name="Graphic 19">
                      <a:extLst>
                        <a:ext uri="{FF2B5EF4-FFF2-40B4-BE49-F238E27FC236}">
                          <a16:creationId xmlns:a16="http://schemas.microsoft.com/office/drawing/2014/main" id="{787BD10D-28A1-2F3E-8634-90207DBFD58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33855" y="867188"/>
                      <a:ext cx="62864" cy="62786"/>
                      <a:chOff x="14333855" y="867188"/>
                      <a:chExt cx="62864" cy="62786"/>
                    </a:xfrm>
                  </p:grpSpPr>
                  <p:sp>
                    <p:nvSpPr>
                      <p:cNvPr id="311" name="Freeform 1580">
                        <a:extLst>
                          <a:ext uri="{FF2B5EF4-FFF2-40B4-BE49-F238E27FC236}">
                            <a16:creationId xmlns:a16="http://schemas.microsoft.com/office/drawing/2014/main" id="{A39CBD34-C016-C8F2-13D9-CE5D30F0902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33855" y="898581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2" name="Freeform 1581">
                        <a:extLst>
                          <a:ext uri="{FF2B5EF4-FFF2-40B4-BE49-F238E27FC236}">
                            <a16:creationId xmlns:a16="http://schemas.microsoft.com/office/drawing/2014/main" id="{DC2A1A88-1280-1543-9B2D-8E339CC16FE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5288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1" name="Graphic 19">
                      <a:extLst>
                        <a:ext uri="{FF2B5EF4-FFF2-40B4-BE49-F238E27FC236}">
                          <a16:creationId xmlns:a16="http://schemas.microsoft.com/office/drawing/2014/main" id="{2AAC50A3-4B40-1F8E-0FB3-26483C99F27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5763" y="867188"/>
                      <a:ext cx="63817" cy="62786"/>
                      <a:chOff x="14355763" y="867188"/>
                      <a:chExt cx="63817" cy="62786"/>
                    </a:xfrm>
                  </p:grpSpPr>
                  <p:sp>
                    <p:nvSpPr>
                      <p:cNvPr id="309" name="Freeform 1583">
                        <a:extLst>
                          <a:ext uri="{FF2B5EF4-FFF2-40B4-BE49-F238E27FC236}">
                            <a16:creationId xmlns:a16="http://schemas.microsoft.com/office/drawing/2014/main" id="{04E515ED-B628-FFE5-E53A-CF5281AFDAB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5763" y="89858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10" name="Freeform 1584">
                        <a:extLst>
                          <a:ext uri="{FF2B5EF4-FFF2-40B4-BE49-F238E27FC236}">
                            <a16:creationId xmlns:a16="http://schemas.microsoft.com/office/drawing/2014/main" id="{A27751DF-7755-3139-7311-B2A52D0D86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87195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2" name="Graphic 19">
                      <a:extLst>
                        <a:ext uri="{FF2B5EF4-FFF2-40B4-BE49-F238E27FC236}">
                          <a16:creationId xmlns:a16="http://schemas.microsoft.com/office/drawing/2014/main" id="{5390F84B-BADF-AE61-72AB-0D47350DB84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59573" y="867188"/>
                      <a:ext cx="63817" cy="62786"/>
                      <a:chOff x="14359573" y="867188"/>
                      <a:chExt cx="63817" cy="62786"/>
                    </a:xfrm>
                  </p:grpSpPr>
                  <p:sp>
                    <p:nvSpPr>
                      <p:cNvPr id="307" name="Freeform 1586">
                        <a:extLst>
                          <a:ext uri="{FF2B5EF4-FFF2-40B4-BE49-F238E27FC236}">
                            <a16:creationId xmlns:a16="http://schemas.microsoft.com/office/drawing/2014/main" id="{956F7BAF-15C4-9B55-59E2-547F12B6CC3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59573" y="898581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8" name="Freeform 1587">
                        <a:extLst>
                          <a:ext uri="{FF2B5EF4-FFF2-40B4-BE49-F238E27FC236}">
                            <a16:creationId xmlns:a16="http://schemas.microsoft.com/office/drawing/2014/main" id="{4E0A34EF-532C-2F47-FF13-BC37C7806ACD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1958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3" name="Graphic 19">
                      <a:extLst>
                        <a:ext uri="{FF2B5EF4-FFF2-40B4-BE49-F238E27FC236}">
                          <a16:creationId xmlns:a16="http://schemas.microsoft.com/office/drawing/2014/main" id="{A026773C-C87E-D582-8CE3-8EE18E7E2E0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365288" y="867188"/>
                      <a:ext cx="62865" cy="62786"/>
                      <a:chOff x="14365288" y="867188"/>
                      <a:chExt cx="62865" cy="62786"/>
                    </a:xfrm>
                  </p:grpSpPr>
                  <p:sp>
                    <p:nvSpPr>
                      <p:cNvPr id="305" name="Freeform 1589">
                        <a:extLst>
                          <a:ext uri="{FF2B5EF4-FFF2-40B4-BE49-F238E27FC236}">
                            <a16:creationId xmlns:a16="http://schemas.microsoft.com/office/drawing/2014/main" id="{2C494731-DD7A-FCEA-0683-E0A8DFE758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65288" y="898581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6" name="Freeform 1590">
                        <a:extLst>
                          <a:ext uri="{FF2B5EF4-FFF2-40B4-BE49-F238E27FC236}">
                            <a16:creationId xmlns:a16="http://schemas.microsoft.com/office/drawing/2014/main" id="{22264E5D-8827-010B-658C-78FF25177A0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396720" y="867188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4" name="Graphic 19">
                      <a:extLst>
                        <a:ext uri="{FF2B5EF4-FFF2-40B4-BE49-F238E27FC236}">
                          <a16:creationId xmlns:a16="http://schemas.microsoft.com/office/drawing/2014/main" id="{054258CB-2B82-1734-B167-658245B05FB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62443" y="900483"/>
                      <a:ext cx="62864" cy="62786"/>
                      <a:chOff x="14462443" y="900483"/>
                      <a:chExt cx="62864" cy="62786"/>
                    </a:xfrm>
                  </p:grpSpPr>
                  <p:sp>
                    <p:nvSpPr>
                      <p:cNvPr id="303" name="Freeform 1592">
                        <a:extLst>
                          <a:ext uri="{FF2B5EF4-FFF2-40B4-BE49-F238E27FC236}">
                            <a16:creationId xmlns:a16="http://schemas.microsoft.com/office/drawing/2014/main" id="{913D4055-42D0-F1A6-C86D-F9C370A76FC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62443" y="93187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4" name="Freeform 1593">
                        <a:extLst>
                          <a:ext uri="{FF2B5EF4-FFF2-40B4-BE49-F238E27FC236}">
                            <a16:creationId xmlns:a16="http://schemas.microsoft.com/office/drawing/2014/main" id="{760E77BF-A5FA-1137-E084-C17E761DB9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93875" y="90048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5" name="Graphic 19">
                      <a:extLst>
                        <a:ext uri="{FF2B5EF4-FFF2-40B4-BE49-F238E27FC236}">
                          <a16:creationId xmlns:a16="http://schemas.microsoft.com/office/drawing/2014/main" id="{CCF30715-52A0-D131-0AF7-C66EE3DE4496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471968" y="900483"/>
                      <a:ext cx="62864" cy="62786"/>
                      <a:chOff x="14471968" y="900483"/>
                      <a:chExt cx="62864" cy="62786"/>
                    </a:xfrm>
                  </p:grpSpPr>
                  <p:sp>
                    <p:nvSpPr>
                      <p:cNvPr id="301" name="Freeform 1595">
                        <a:extLst>
                          <a:ext uri="{FF2B5EF4-FFF2-40B4-BE49-F238E27FC236}">
                            <a16:creationId xmlns:a16="http://schemas.microsoft.com/office/drawing/2014/main" id="{BD976B63-817F-165B-5764-1F115C6D1D6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471968" y="931877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2" name="Freeform 1596">
                        <a:extLst>
                          <a:ext uri="{FF2B5EF4-FFF2-40B4-BE49-F238E27FC236}">
                            <a16:creationId xmlns:a16="http://schemas.microsoft.com/office/drawing/2014/main" id="{4B114B72-17C7-2C3F-1673-49CDBBAC0C3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03400" y="900483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7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7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6" name="Graphic 19">
                      <a:extLst>
                        <a:ext uri="{FF2B5EF4-FFF2-40B4-BE49-F238E27FC236}">
                          <a16:creationId xmlns:a16="http://schemas.microsoft.com/office/drawing/2014/main" id="{37D5EFF8-BAB6-7169-E198-D7607B4A324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34833" y="941390"/>
                      <a:ext cx="63817" cy="62786"/>
                      <a:chOff x="14534833" y="941390"/>
                      <a:chExt cx="63817" cy="62786"/>
                    </a:xfrm>
                  </p:grpSpPr>
                  <p:sp>
                    <p:nvSpPr>
                      <p:cNvPr id="299" name="Freeform 1598">
                        <a:extLst>
                          <a:ext uri="{FF2B5EF4-FFF2-40B4-BE49-F238E27FC236}">
                            <a16:creationId xmlns:a16="http://schemas.microsoft.com/office/drawing/2014/main" id="{22BA16BE-8925-1312-43BF-F50D3599C58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34833" y="9727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00" name="Freeform 1599">
                        <a:extLst>
                          <a:ext uri="{FF2B5EF4-FFF2-40B4-BE49-F238E27FC236}">
                            <a16:creationId xmlns:a16="http://schemas.microsoft.com/office/drawing/2014/main" id="{974A908C-3A8B-8BA1-3E42-9228F41F6E6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6265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7" name="Graphic 19">
                      <a:extLst>
                        <a:ext uri="{FF2B5EF4-FFF2-40B4-BE49-F238E27FC236}">
                          <a16:creationId xmlns:a16="http://schemas.microsoft.com/office/drawing/2014/main" id="{0EA008F8-E3BD-9D78-4ECC-266FEFE0EFE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50073" y="941390"/>
                      <a:ext cx="62865" cy="62786"/>
                      <a:chOff x="14550073" y="941390"/>
                      <a:chExt cx="62865" cy="62786"/>
                    </a:xfrm>
                  </p:grpSpPr>
                  <p:sp>
                    <p:nvSpPr>
                      <p:cNvPr id="297" name="Freeform 1601">
                        <a:extLst>
                          <a:ext uri="{FF2B5EF4-FFF2-40B4-BE49-F238E27FC236}">
                            <a16:creationId xmlns:a16="http://schemas.microsoft.com/office/drawing/2014/main" id="{B9836630-07E3-D76D-879D-8556BE73480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50073" y="9727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8" name="Freeform 1602">
                        <a:extLst>
                          <a:ext uri="{FF2B5EF4-FFF2-40B4-BE49-F238E27FC236}">
                            <a16:creationId xmlns:a16="http://schemas.microsoft.com/office/drawing/2014/main" id="{E3890D5C-94B8-AE5C-7901-08B0937D95F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1505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8" name="Graphic 19">
                      <a:extLst>
                        <a:ext uri="{FF2B5EF4-FFF2-40B4-BE49-F238E27FC236}">
                          <a16:creationId xmlns:a16="http://schemas.microsoft.com/office/drawing/2014/main" id="{0B7C08F7-BF8F-1AC6-24CF-0ED62D18DA2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66265" y="941390"/>
                      <a:ext cx="62865" cy="62786"/>
                      <a:chOff x="14566265" y="941390"/>
                      <a:chExt cx="62865" cy="62786"/>
                    </a:xfrm>
                  </p:grpSpPr>
                  <p:sp>
                    <p:nvSpPr>
                      <p:cNvPr id="295" name="Freeform 1604">
                        <a:extLst>
                          <a:ext uri="{FF2B5EF4-FFF2-40B4-BE49-F238E27FC236}">
                            <a16:creationId xmlns:a16="http://schemas.microsoft.com/office/drawing/2014/main" id="{AD11E0C9-ECC2-2019-1B6A-D38BFC52D51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66265" y="9727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6" name="Freeform 1605">
                        <a:extLst>
                          <a:ext uri="{FF2B5EF4-FFF2-40B4-BE49-F238E27FC236}">
                            <a16:creationId xmlns:a16="http://schemas.microsoft.com/office/drawing/2014/main" id="{68E26056-EFC6-3007-442C-7B7C23F746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7698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29" name="Graphic 19">
                      <a:extLst>
                        <a:ext uri="{FF2B5EF4-FFF2-40B4-BE49-F238E27FC236}">
                          <a16:creationId xmlns:a16="http://schemas.microsoft.com/office/drawing/2014/main" id="{53440788-0F4F-31EA-3022-FEEF7BF4951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70075" y="941390"/>
                      <a:ext cx="62865" cy="62786"/>
                      <a:chOff x="14570075" y="941390"/>
                      <a:chExt cx="62865" cy="62786"/>
                    </a:xfrm>
                  </p:grpSpPr>
                  <p:sp>
                    <p:nvSpPr>
                      <p:cNvPr id="293" name="Freeform 1607">
                        <a:extLst>
                          <a:ext uri="{FF2B5EF4-FFF2-40B4-BE49-F238E27FC236}">
                            <a16:creationId xmlns:a16="http://schemas.microsoft.com/office/drawing/2014/main" id="{87524D1B-FF4C-0A6B-CF26-3B7021FF063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70075" y="972783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4" name="Freeform 1608">
                        <a:extLst>
                          <a:ext uri="{FF2B5EF4-FFF2-40B4-BE49-F238E27FC236}">
                            <a16:creationId xmlns:a16="http://schemas.microsoft.com/office/drawing/2014/main" id="{B4FBA085-FAB2-48B0-DE9A-C31DDDDDED8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01508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0" name="Graphic 19">
                      <a:extLst>
                        <a:ext uri="{FF2B5EF4-FFF2-40B4-BE49-F238E27FC236}">
                          <a16:creationId xmlns:a16="http://schemas.microsoft.com/office/drawing/2014/main" id="{F5214A18-5EAC-21BE-AE37-B13DCAE1C0A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71980" y="941390"/>
                      <a:ext cx="63817" cy="62786"/>
                      <a:chOff x="14571980" y="941390"/>
                      <a:chExt cx="63817" cy="62786"/>
                    </a:xfrm>
                  </p:grpSpPr>
                  <p:sp>
                    <p:nvSpPr>
                      <p:cNvPr id="291" name="Freeform 1610">
                        <a:extLst>
                          <a:ext uri="{FF2B5EF4-FFF2-40B4-BE49-F238E27FC236}">
                            <a16:creationId xmlns:a16="http://schemas.microsoft.com/office/drawing/2014/main" id="{978B3DDD-8678-E7D9-5281-EDBB12DE6C7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71980" y="972783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2" name="Freeform 1611">
                        <a:extLst>
                          <a:ext uri="{FF2B5EF4-FFF2-40B4-BE49-F238E27FC236}">
                            <a16:creationId xmlns:a16="http://schemas.microsoft.com/office/drawing/2014/main" id="{0A146D29-3269-6284-A3D6-838F32C6EC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04365" y="941390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1" name="Graphic 19">
                      <a:extLst>
                        <a:ext uri="{FF2B5EF4-FFF2-40B4-BE49-F238E27FC236}">
                          <a16:creationId xmlns:a16="http://schemas.microsoft.com/office/drawing/2014/main" id="{0C182528-11B4-A598-A692-E7A3E85E92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87220" y="1001322"/>
                      <a:ext cx="62865" cy="62786"/>
                      <a:chOff x="14587220" y="1001322"/>
                      <a:chExt cx="62865" cy="62786"/>
                    </a:xfrm>
                  </p:grpSpPr>
                  <p:sp>
                    <p:nvSpPr>
                      <p:cNvPr id="289" name="Freeform 1613">
                        <a:extLst>
                          <a:ext uri="{FF2B5EF4-FFF2-40B4-BE49-F238E27FC236}">
                            <a16:creationId xmlns:a16="http://schemas.microsoft.com/office/drawing/2014/main" id="{DA4426A3-D081-751C-373A-12F9064818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87220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90" name="Freeform 1614">
                        <a:extLst>
                          <a:ext uri="{FF2B5EF4-FFF2-40B4-BE49-F238E27FC236}">
                            <a16:creationId xmlns:a16="http://schemas.microsoft.com/office/drawing/2014/main" id="{651B7740-E421-625D-D71A-F03FF77A76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1865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2" name="Graphic 19">
                      <a:extLst>
                        <a:ext uri="{FF2B5EF4-FFF2-40B4-BE49-F238E27FC236}">
                          <a16:creationId xmlns:a16="http://schemas.microsoft.com/office/drawing/2014/main" id="{01C9F3F7-8E25-025E-480F-039C6911E51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591030" y="1001322"/>
                      <a:ext cx="62864" cy="62786"/>
                      <a:chOff x="14591030" y="1001322"/>
                      <a:chExt cx="62864" cy="62786"/>
                    </a:xfrm>
                  </p:grpSpPr>
                  <p:sp>
                    <p:nvSpPr>
                      <p:cNvPr id="287" name="Freeform 1616">
                        <a:extLst>
                          <a:ext uri="{FF2B5EF4-FFF2-40B4-BE49-F238E27FC236}">
                            <a16:creationId xmlns:a16="http://schemas.microsoft.com/office/drawing/2014/main" id="{23F0CAA0-1D55-E8DA-22E4-9170E885210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591030" y="1032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8" name="Freeform 1617">
                        <a:extLst>
                          <a:ext uri="{FF2B5EF4-FFF2-40B4-BE49-F238E27FC236}">
                            <a16:creationId xmlns:a16="http://schemas.microsoft.com/office/drawing/2014/main" id="{73067EED-9C63-C2CC-AB0D-EC20A9B229F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2246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3" name="Graphic 19">
                      <a:extLst>
                        <a:ext uri="{FF2B5EF4-FFF2-40B4-BE49-F238E27FC236}">
                          <a16:creationId xmlns:a16="http://schemas.microsoft.com/office/drawing/2014/main" id="{AF79B29F-6FE3-5A81-A406-A5C6CBE17F4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36750" y="1001322"/>
                      <a:ext cx="63817" cy="62786"/>
                      <a:chOff x="14636750" y="1001322"/>
                      <a:chExt cx="63817" cy="62786"/>
                    </a:xfrm>
                  </p:grpSpPr>
                  <p:sp>
                    <p:nvSpPr>
                      <p:cNvPr id="285" name="Freeform 1619">
                        <a:extLst>
                          <a:ext uri="{FF2B5EF4-FFF2-40B4-BE49-F238E27FC236}">
                            <a16:creationId xmlns:a16="http://schemas.microsoft.com/office/drawing/2014/main" id="{EEF161F3-2AD5-D51B-9331-6DC2F47CAE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36750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6" name="Freeform 1620">
                        <a:extLst>
                          <a:ext uri="{FF2B5EF4-FFF2-40B4-BE49-F238E27FC236}">
                            <a16:creationId xmlns:a16="http://schemas.microsoft.com/office/drawing/2014/main" id="{5158245B-B116-65BF-C86F-EE15CCB7F4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6913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4" name="Graphic 19">
                      <a:extLst>
                        <a:ext uri="{FF2B5EF4-FFF2-40B4-BE49-F238E27FC236}">
                          <a16:creationId xmlns:a16="http://schemas.microsoft.com/office/drawing/2014/main" id="{015B84F7-7F3F-2709-0A7E-87159D4DDAD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42465" y="1001322"/>
                      <a:ext cx="62865" cy="62786"/>
                      <a:chOff x="14642465" y="1001322"/>
                      <a:chExt cx="62865" cy="62786"/>
                    </a:xfrm>
                  </p:grpSpPr>
                  <p:sp>
                    <p:nvSpPr>
                      <p:cNvPr id="283" name="Freeform 1622">
                        <a:extLst>
                          <a:ext uri="{FF2B5EF4-FFF2-40B4-BE49-F238E27FC236}">
                            <a16:creationId xmlns:a16="http://schemas.microsoft.com/office/drawing/2014/main" id="{C6616C33-4923-C870-A5E5-6D65A6E9A82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2465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4" name="Freeform 1623">
                        <a:extLst>
                          <a:ext uri="{FF2B5EF4-FFF2-40B4-BE49-F238E27FC236}">
                            <a16:creationId xmlns:a16="http://schemas.microsoft.com/office/drawing/2014/main" id="{F4A67FD0-167A-BF7E-9BEA-B91940EC7E0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7389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5" name="Graphic 19">
                      <a:extLst>
                        <a:ext uri="{FF2B5EF4-FFF2-40B4-BE49-F238E27FC236}">
                          <a16:creationId xmlns:a16="http://schemas.microsoft.com/office/drawing/2014/main" id="{85EAF27D-1FCE-A301-F698-2BA4BB5E47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47228" y="1001322"/>
                      <a:ext cx="63817" cy="62786"/>
                      <a:chOff x="14647228" y="1001322"/>
                      <a:chExt cx="63817" cy="62786"/>
                    </a:xfrm>
                  </p:grpSpPr>
                  <p:sp>
                    <p:nvSpPr>
                      <p:cNvPr id="281" name="Freeform 1625">
                        <a:extLst>
                          <a:ext uri="{FF2B5EF4-FFF2-40B4-BE49-F238E27FC236}">
                            <a16:creationId xmlns:a16="http://schemas.microsoft.com/office/drawing/2014/main" id="{9A46A2AA-5166-837A-6BFD-13E02FECE3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722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2" name="Freeform 1626">
                        <a:extLst>
                          <a:ext uri="{FF2B5EF4-FFF2-40B4-BE49-F238E27FC236}">
                            <a16:creationId xmlns:a16="http://schemas.microsoft.com/office/drawing/2014/main" id="{0646DDC8-E168-CB8E-DD57-C077E1FE7DA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7866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6" name="Graphic 19">
                      <a:extLst>
                        <a:ext uri="{FF2B5EF4-FFF2-40B4-BE49-F238E27FC236}">
                          <a16:creationId xmlns:a16="http://schemas.microsoft.com/office/drawing/2014/main" id="{3DE3727C-FD47-5D71-011F-0E8CE8A8E62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49133" y="1001322"/>
                      <a:ext cx="63817" cy="62786"/>
                      <a:chOff x="14649133" y="1001322"/>
                      <a:chExt cx="63817" cy="62786"/>
                    </a:xfrm>
                  </p:grpSpPr>
                  <p:sp>
                    <p:nvSpPr>
                      <p:cNvPr id="279" name="Freeform 1628">
                        <a:extLst>
                          <a:ext uri="{FF2B5EF4-FFF2-40B4-BE49-F238E27FC236}">
                            <a16:creationId xmlns:a16="http://schemas.microsoft.com/office/drawing/2014/main" id="{385BA613-7004-FD2C-5C56-C5355EF28BA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49133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80" name="Freeform 1629">
                        <a:extLst>
                          <a:ext uri="{FF2B5EF4-FFF2-40B4-BE49-F238E27FC236}">
                            <a16:creationId xmlns:a16="http://schemas.microsoft.com/office/drawing/2014/main" id="{6D2F5DC0-5AAC-18E9-E960-7AD51E9AEC9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8056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7" name="Graphic 19">
                      <a:extLst>
                        <a:ext uri="{FF2B5EF4-FFF2-40B4-BE49-F238E27FC236}">
                          <a16:creationId xmlns:a16="http://schemas.microsoft.com/office/drawing/2014/main" id="{F4E21051-4ABF-FF43-70C1-977EF96BDD6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658658" y="1001322"/>
                      <a:ext cx="63817" cy="62786"/>
                      <a:chOff x="14658658" y="1001322"/>
                      <a:chExt cx="63817" cy="62786"/>
                    </a:xfrm>
                  </p:grpSpPr>
                  <p:sp>
                    <p:nvSpPr>
                      <p:cNvPr id="277" name="Freeform 1631">
                        <a:extLst>
                          <a:ext uri="{FF2B5EF4-FFF2-40B4-BE49-F238E27FC236}">
                            <a16:creationId xmlns:a16="http://schemas.microsoft.com/office/drawing/2014/main" id="{0E2550A2-33BE-5342-E91A-075D1E9DEB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5865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8" name="Freeform 1632">
                        <a:extLst>
                          <a:ext uri="{FF2B5EF4-FFF2-40B4-BE49-F238E27FC236}">
                            <a16:creationId xmlns:a16="http://schemas.microsoft.com/office/drawing/2014/main" id="{10AF5A3F-C0D6-BAA3-5AD0-80F4448EEB3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69104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8" name="Graphic 19">
                      <a:extLst>
                        <a:ext uri="{FF2B5EF4-FFF2-40B4-BE49-F238E27FC236}">
                          <a16:creationId xmlns:a16="http://schemas.microsoft.com/office/drawing/2014/main" id="{54308606-B8D9-02C7-7561-B6490213C4C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20570" y="1001322"/>
                      <a:ext cx="62865" cy="62786"/>
                      <a:chOff x="14720570" y="1001322"/>
                      <a:chExt cx="62865" cy="62786"/>
                    </a:xfrm>
                  </p:grpSpPr>
                  <p:sp>
                    <p:nvSpPr>
                      <p:cNvPr id="275" name="Freeform 1634">
                        <a:extLst>
                          <a:ext uri="{FF2B5EF4-FFF2-40B4-BE49-F238E27FC236}">
                            <a16:creationId xmlns:a16="http://schemas.microsoft.com/office/drawing/2014/main" id="{BD38BC86-5F1A-1AA2-6DB7-46A04012E5A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20570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6" name="Freeform 1635">
                        <a:extLst>
                          <a:ext uri="{FF2B5EF4-FFF2-40B4-BE49-F238E27FC236}">
                            <a16:creationId xmlns:a16="http://schemas.microsoft.com/office/drawing/2014/main" id="{AD0E046A-A9BF-CAA1-2330-F2EECE96AD3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5200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39" name="Graphic 19">
                      <a:extLst>
                        <a:ext uri="{FF2B5EF4-FFF2-40B4-BE49-F238E27FC236}">
                          <a16:creationId xmlns:a16="http://schemas.microsoft.com/office/drawing/2014/main" id="{5FEAFDEF-7AA6-6284-1148-027C02CAFB6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722475" y="1001322"/>
                      <a:ext cx="62865" cy="62786"/>
                      <a:chOff x="14722475" y="1001322"/>
                      <a:chExt cx="62865" cy="62786"/>
                    </a:xfrm>
                  </p:grpSpPr>
                  <p:sp>
                    <p:nvSpPr>
                      <p:cNvPr id="273" name="Freeform 1637">
                        <a:extLst>
                          <a:ext uri="{FF2B5EF4-FFF2-40B4-BE49-F238E27FC236}">
                            <a16:creationId xmlns:a16="http://schemas.microsoft.com/office/drawing/2014/main" id="{79A83E93-C1EF-4E64-8591-AD78FB2135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22475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4" name="Freeform 1638">
                        <a:extLst>
                          <a:ext uri="{FF2B5EF4-FFF2-40B4-BE49-F238E27FC236}">
                            <a16:creationId xmlns:a16="http://schemas.microsoft.com/office/drawing/2014/main" id="{F111CFDA-8B4C-27D6-BA5B-49DB1DD7653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75390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0" name="Graphic 19">
                      <a:extLst>
                        <a:ext uri="{FF2B5EF4-FFF2-40B4-BE49-F238E27FC236}">
                          <a16:creationId xmlns:a16="http://schemas.microsoft.com/office/drawing/2014/main" id="{15ABF7A5-35C1-9527-DC6E-6DA311B8D3D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20595" y="1001322"/>
                      <a:ext cx="63817" cy="62786"/>
                      <a:chOff x="14920595" y="1001322"/>
                      <a:chExt cx="63817" cy="62786"/>
                    </a:xfrm>
                  </p:grpSpPr>
                  <p:sp>
                    <p:nvSpPr>
                      <p:cNvPr id="271" name="Freeform 1640">
                        <a:extLst>
                          <a:ext uri="{FF2B5EF4-FFF2-40B4-BE49-F238E27FC236}">
                            <a16:creationId xmlns:a16="http://schemas.microsoft.com/office/drawing/2014/main" id="{9465CB08-744F-CE71-ACE5-4E77D692AE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20595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2" name="Freeform 1641">
                        <a:extLst>
                          <a:ext uri="{FF2B5EF4-FFF2-40B4-BE49-F238E27FC236}">
                            <a16:creationId xmlns:a16="http://schemas.microsoft.com/office/drawing/2014/main" id="{EFF2B1BE-B86E-7AD4-25D5-969BE91E468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298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1" name="Graphic 19">
                      <a:extLst>
                        <a:ext uri="{FF2B5EF4-FFF2-40B4-BE49-F238E27FC236}">
                          <a16:creationId xmlns:a16="http://schemas.microsoft.com/office/drawing/2014/main" id="{A1076434-1581-CBB7-6B14-32977F83E57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4924405" y="1001322"/>
                      <a:ext cx="62864" cy="62786"/>
                      <a:chOff x="14924405" y="1001322"/>
                      <a:chExt cx="62864" cy="62786"/>
                    </a:xfrm>
                  </p:grpSpPr>
                  <p:sp>
                    <p:nvSpPr>
                      <p:cNvPr id="269" name="Freeform 1643">
                        <a:extLst>
                          <a:ext uri="{FF2B5EF4-FFF2-40B4-BE49-F238E27FC236}">
                            <a16:creationId xmlns:a16="http://schemas.microsoft.com/office/drawing/2014/main" id="{943C66D0-4496-CC51-A9DA-51DB6943C2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24405" y="1032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70" name="Freeform 1644">
                        <a:extLst>
                          <a:ext uri="{FF2B5EF4-FFF2-40B4-BE49-F238E27FC236}">
                            <a16:creationId xmlns:a16="http://schemas.microsoft.com/office/drawing/2014/main" id="{9C37087E-8038-D66A-27B8-E1107EDF4C3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495583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2" name="Graphic 19">
                      <a:extLst>
                        <a:ext uri="{FF2B5EF4-FFF2-40B4-BE49-F238E27FC236}">
                          <a16:creationId xmlns:a16="http://schemas.microsoft.com/office/drawing/2014/main" id="{28AB4C09-5C93-72FE-681B-387ADE040E3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27275" y="1001322"/>
                      <a:ext cx="62865" cy="62786"/>
                      <a:chOff x="15027275" y="1001322"/>
                      <a:chExt cx="62865" cy="62786"/>
                    </a:xfrm>
                  </p:grpSpPr>
                  <p:sp>
                    <p:nvSpPr>
                      <p:cNvPr id="267" name="Freeform 1646">
                        <a:extLst>
                          <a:ext uri="{FF2B5EF4-FFF2-40B4-BE49-F238E27FC236}">
                            <a16:creationId xmlns:a16="http://schemas.microsoft.com/office/drawing/2014/main" id="{FD248E0C-7B6E-C511-F3F5-7B93E3D82B6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27275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8" name="Freeform 1647">
                        <a:extLst>
                          <a:ext uri="{FF2B5EF4-FFF2-40B4-BE49-F238E27FC236}">
                            <a16:creationId xmlns:a16="http://schemas.microsoft.com/office/drawing/2014/main" id="{7BB94B6A-4D7F-060A-2C05-499DA1AE2E3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8708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3" name="Graphic 19">
                      <a:extLst>
                        <a:ext uri="{FF2B5EF4-FFF2-40B4-BE49-F238E27FC236}">
                          <a16:creationId xmlns:a16="http://schemas.microsoft.com/office/drawing/2014/main" id="{2FA5366B-849D-D478-C8B9-D25EF4654EC0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56803" y="1001322"/>
                      <a:ext cx="62865" cy="62786"/>
                      <a:chOff x="15056803" y="1001322"/>
                      <a:chExt cx="62865" cy="62786"/>
                    </a:xfrm>
                  </p:grpSpPr>
                  <p:sp>
                    <p:nvSpPr>
                      <p:cNvPr id="265" name="Freeform 1649">
                        <a:extLst>
                          <a:ext uri="{FF2B5EF4-FFF2-40B4-BE49-F238E27FC236}">
                            <a16:creationId xmlns:a16="http://schemas.microsoft.com/office/drawing/2014/main" id="{6933BDFD-DF7E-5F7A-AD50-C7485F2214FF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56803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6" name="Freeform 1650">
                        <a:extLst>
                          <a:ext uri="{FF2B5EF4-FFF2-40B4-BE49-F238E27FC236}">
                            <a16:creationId xmlns:a16="http://schemas.microsoft.com/office/drawing/2014/main" id="{61C0EAE6-EDDC-1C3C-9ED8-FFDEBF64AB7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8823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4" name="Graphic 19">
                      <a:extLst>
                        <a:ext uri="{FF2B5EF4-FFF2-40B4-BE49-F238E27FC236}">
                          <a16:creationId xmlns:a16="http://schemas.microsoft.com/office/drawing/2014/main" id="{5B72301E-35DA-BF4A-FD7F-111181529594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096808" y="1001322"/>
                      <a:ext cx="62865" cy="62786"/>
                      <a:chOff x="15096808" y="1001322"/>
                      <a:chExt cx="62865" cy="62786"/>
                    </a:xfrm>
                  </p:grpSpPr>
                  <p:sp>
                    <p:nvSpPr>
                      <p:cNvPr id="263" name="Freeform 1652">
                        <a:extLst>
                          <a:ext uri="{FF2B5EF4-FFF2-40B4-BE49-F238E27FC236}">
                            <a16:creationId xmlns:a16="http://schemas.microsoft.com/office/drawing/2014/main" id="{6470056D-5A2E-3B69-12CE-CAF561FFCA1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096808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4" name="Freeform 1653">
                        <a:extLst>
                          <a:ext uri="{FF2B5EF4-FFF2-40B4-BE49-F238E27FC236}">
                            <a16:creationId xmlns:a16="http://schemas.microsoft.com/office/drawing/2014/main" id="{71A4F566-2903-3C78-8080-76950FCFF4C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2824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5" name="Graphic 19">
                      <a:extLst>
                        <a:ext uri="{FF2B5EF4-FFF2-40B4-BE49-F238E27FC236}">
                          <a16:creationId xmlns:a16="http://schemas.microsoft.com/office/drawing/2014/main" id="{15B42BAA-E80A-13AB-62E7-452D004B4EDD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10143" y="1001322"/>
                      <a:ext cx="62864" cy="62786"/>
                      <a:chOff x="15110143" y="1001322"/>
                      <a:chExt cx="62864" cy="62786"/>
                    </a:xfrm>
                  </p:grpSpPr>
                  <p:sp>
                    <p:nvSpPr>
                      <p:cNvPr id="261" name="Freeform 1655">
                        <a:extLst>
                          <a:ext uri="{FF2B5EF4-FFF2-40B4-BE49-F238E27FC236}">
                            <a16:creationId xmlns:a16="http://schemas.microsoft.com/office/drawing/2014/main" id="{B9FC085A-8BCC-C9CC-BE2F-DAB3B628017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10143" y="1032716"/>
                        <a:ext cx="62864" cy="9513"/>
                      </a:xfrm>
                      <a:custGeom>
                        <a:avLst/>
                        <a:gdLst>
                          <a:gd name="connsiteX0" fmla="*/ 0 w 62864"/>
                          <a:gd name="connsiteY0" fmla="*/ 0 h 9513"/>
                          <a:gd name="connsiteX1" fmla="*/ 62865 w 62864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4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2" name="Freeform 1656">
                        <a:extLst>
                          <a:ext uri="{FF2B5EF4-FFF2-40B4-BE49-F238E27FC236}">
                            <a16:creationId xmlns:a16="http://schemas.microsoft.com/office/drawing/2014/main" id="{035C2B1C-EEAE-F3E9-2F39-31AF6F873F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4157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6" name="Graphic 19">
                      <a:extLst>
                        <a:ext uri="{FF2B5EF4-FFF2-40B4-BE49-F238E27FC236}">
                          <a16:creationId xmlns:a16="http://schemas.microsoft.com/office/drawing/2014/main" id="{77F06997-00FA-E857-C5BA-65E92BD65DE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12048" y="1001322"/>
                      <a:ext cx="63817" cy="62786"/>
                      <a:chOff x="15112048" y="1001322"/>
                      <a:chExt cx="63817" cy="62786"/>
                    </a:xfrm>
                  </p:grpSpPr>
                  <p:sp>
                    <p:nvSpPr>
                      <p:cNvPr id="259" name="Freeform 1658">
                        <a:extLst>
                          <a:ext uri="{FF2B5EF4-FFF2-40B4-BE49-F238E27FC236}">
                            <a16:creationId xmlns:a16="http://schemas.microsoft.com/office/drawing/2014/main" id="{E90BF436-B0BD-A530-2AD2-99E000AC4DF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1204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60" name="Freeform 1659">
                        <a:extLst>
                          <a:ext uri="{FF2B5EF4-FFF2-40B4-BE49-F238E27FC236}">
                            <a16:creationId xmlns:a16="http://schemas.microsoft.com/office/drawing/2014/main" id="{1F5BE9E7-F324-51AB-DC7F-1D94E2B4CE9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43480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7" name="Graphic 19">
                      <a:extLst>
                        <a:ext uri="{FF2B5EF4-FFF2-40B4-BE49-F238E27FC236}">
                          <a16:creationId xmlns:a16="http://schemas.microsoft.com/office/drawing/2014/main" id="{8D6AE0B3-AFCA-E8B1-3BC2-F49D6035EAE7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180628" y="1001322"/>
                      <a:ext cx="63817" cy="62786"/>
                      <a:chOff x="15180628" y="1001322"/>
                      <a:chExt cx="63817" cy="62786"/>
                    </a:xfrm>
                  </p:grpSpPr>
                  <p:sp>
                    <p:nvSpPr>
                      <p:cNvPr id="257" name="Freeform 1661">
                        <a:extLst>
                          <a:ext uri="{FF2B5EF4-FFF2-40B4-BE49-F238E27FC236}">
                            <a16:creationId xmlns:a16="http://schemas.microsoft.com/office/drawing/2014/main" id="{D8CE9EDC-70F7-DC71-43E1-D05DDF66618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180628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7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7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8" name="Freeform 1662">
                        <a:extLst>
                          <a:ext uri="{FF2B5EF4-FFF2-40B4-BE49-F238E27FC236}">
                            <a16:creationId xmlns:a16="http://schemas.microsoft.com/office/drawing/2014/main" id="{248BEE09-584E-88D5-FD14-6949D5559A2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13013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8" name="Graphic 19">
                      <a:extLst>
                        <a:ext uri="{FF2B5EF4-FFF2-40B4-BE49-F238E27FC236}">
                          <a16:creationId xmlns:a16="http://schemas.microsoft.com/office/drawing/2014/main" id="{3182080F-E47A-905F-EB3B-EEBA28347AB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216823" y="1001322"/>
                      <a:ext cx="62865" cy="62786"/>
                      <a:chOff x="15216823" y="1001322"/>
                      <a:chExt cx="62865" cy="62786"/>
                    </a:xfrm>
                  </p:grpSpPr>
                  <p:sp>
                    <p:nvSpPr>
                      <p:cNvPr id="255" name="Freeform 1664">
                        <a:extLst>
                          <a:ext uri="{FF2B5EF4-FFF2-40B4-BE49-F238E27FC236}">
                            <a16:creationId xmlns:a16="http://schemas.microsoft.com/office/drawing/2014/main" id="{D59673EB-5B24-132A-89FF-49BD80F0AD8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16823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6" name="Freeform 1665">
                        <a:extLst>
                          <a:ext uri="{FF2B5EF4-FFF2-40B4-BE49-F238E27FC236}">
                            <a16:creationId xmlns:a16="http://schemas.microsoft.com/office/drawing/2014/main" id="{3ADC01A9-A6A6-BF7E-CCF9-661C2FF3EF5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4825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49" name="Graphic 19">
                      <a:extLst>
                        <a:ext uri="{FF2B5EF4-FFF2-40B4-BE49-F238E27FC236}">
                          <a16:creationId xmlns:a16="http://schemas.microsoft.com/office/drawing/2014/main" id="{39C2C130-8801-27F9-DDD7-0F0FE346A98C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273973" y="1001322"/>
                      <a:ext cx="62865" cy="62786"/>
                      <a:chOff x="15273973" y="1001322"/>
                      <a:chExt cx="62865" cy="62786"/>
                    </a:xfrm>
                  </p:grpSpPr>
                  <p:sp>
                    <p:nvSpPr>
                      <p:cNvPr id="253" name="Freeform 1667">
                        <a:extLst>
                          <a:ext uri="{FF2B5EF4-FFF2-40B4-BE49-F238E27FC236}">
                            <a16:creationId xmlns:a16="http://schemas.microsoft.com/office/drawing/2014/main" id="{A28E6ED2-4862-3ED6-3EEB-9A43E5D1AC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73973" y="1032716"/>
                        <a:ext cx="62865" cy="9513"/>
                      </a:xfrm>
                      <a:custGeom>
                        <a:avLst/>
                        <a:gdLst>
                          <a:gd name="connsiteX0" fmla="*/ 0 w 62865"/>
                          <a:gd name="connsiteY0" fmla="*/ 0 h 9513"/>
                          <a:gd name="connsiteX1" fmla="*/ 62865 w 62865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2865" h="9513">
                            <a:moveTo>
                              <a:pt x="0" y="0"/>
                            </a:moveTo>
                            <a:lnTo>
                              <a:pt x="62865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4" name="Freeform 1668">
                        <a:extLst>
                          <a:ext uri="{FF2B5EF4-FFF2-40B4-BE49-F238E27FC236}">
                            <a16:creationId xmlns:a16="http://schemas.microsoft.com/office/drawing/2014/main" id="{2A63C901-498D-0C34-ECF2-4A8AEA1F9F0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0540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250" name="Graphic 19">
                      <a:extLst>
                        <a:ext uri="{FF2B5EF4-FFF2-40B4-BE49-F238E27FC236}">
                          <a16:creationId xmlns:a16="http://schemas.microsoft.com/office/drawing/2014/main" id="{4F95959E-E7FB-0FCB-E3E0-0FDC14C339D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15292070" y="1001322"/>
                      <a:ext cx="63817" cy="62786"/>
                      <a:chOff x="15292070" y="1001322"/>
                      <a:chExt cx="63817" cy="62786"/>
                    </a:xfrm>
                  </p:grpSpPr>
                  <p:sp>
                    <p:nvSpPr>
                      <p:cNvPr id="251" name="Freeform 1670">
                        <a:extLst>
                          <a:ext uri="{FF2B5EF4-FFF2-40B4-BE49-F238E27FC236}">
                            <a16:creationId xmlns:a16="http://schemas.microsoft.com/office/drawing/2014/main" id="{1C0A98EA-3CFF-7376-E1AB-BC73578943C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292070" y="1032716"/>
                        <a:ext cx="63817" cy="9513"/>
                      </a:xfrm>
                      <a:custGeom>
                        <a:avLst/>
                        <a:gdLst>
                          <a:gd name="connsiteX0" fmla="*/ 0 w 63817"/>
                          <a:gd name="connsiteY0" fmla="*/ 0 h 9513"/>
                          <a:gd name="connsiteX1" fmla="*/ 63818 w 63817"/>
                          <a:gd name="connsiteY1" fmla="*/ 0 h 951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63817" h="9513">
                            <a:moveTo>
                              <a:pt x="0" y="0"/>
                            </a:moveTo>
                            <a:lnTo>
                              <a:pt x="63818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252" name="Freeform 1671">
                        <a:extLst>
                          <a:ext uri="{FF2B5EF4-FFF2-40B4-BE49-F238E27FC236}">
                            <a16:creationId xmlns:a16="http://schemas.microsoft.com/office/drawing/2014/main" id="{9217A294-9E7F-6AAE-8823-5418355390A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5324455" y="1001322"/>
                        <a:ext cx="9525" cy="62786"/>
                      </a:xfrm>
                      <a:custGeom>
                        <a:avLst/>
                        <a:gdLst>
                          <a:gd name="connsiteX0" fmla="*/ 0 w 9525"/>
                          <a:gd name="connsiteY0" fmla="*/ 62786 h 62786"/>
                          <a:gd name="connsiteX1" fmla="*/ 0 w 9525"/>
                          <a:gd name="connsiteY1" fmla="*/ 0 h 62786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</a:cxnLst>
                        <a:rect l="l" t="t" r="r" b="b"/>
                        <a:pathLst>
                          <a:path w="9525" h="62786">
                            <a:moveTo>
                              <a:pt x="0" y="62786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 cap="flat">
                        <a:solidFill>
                          <a:srgbClr val="C4D600"/>
                        </a:solidFill>
                        <a:prstDash val="solid"/>
                        <a:miter/>
                      </a:ln>
                    </p:spPr>
                    <p:txBody>
                      <a:bodyPr rtlCol="0" anchor="ctr"/>
                      <a:lstStyle/>
                      <a:p>
                        <a:pPr marL="0" marR="0" lvl="0" indent="0" algn="l" defTabSz="609585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lang="en-US" sz="24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endParaRPr>
                      </a:p>
                    </p:txBody>
                  </p:sp>
                </p:grpSp>
              </p:grpSp>
            </p:grp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70236308-9620-C19B-207C-3F5BADE1FBB2}"/>
                  </a:ext>
                </a:extLst>
              </p:cNvPr>
              <p:cNvGrpSpPr/>
              <p:nvPr/>
            </p:nvGrpSpPr>
            <p:grpSpPr>
              <a:xfrm>
                <a:off x="527139" y="1058090"/>
                <a:ext cx="374189" cy="2056610"/>
                <a:chOff x="599002" y="1019345"/>
                <a:chExt cx="374189" cy="2056610"/>
              </a:xfrm>
            </p:grpSpPr>
            <p:sp>
              <p:nvSpPr>
                <p:cNvPr id="66" name="TextBox 65">
                  <a:extLst>
                    <a:ext uri="{FF2B5EF4-FFF2-40B4-BE49-F238E27FC236}">
                      <a16:creationId xmlns:a16="http://schemas.microsoft.com/office/drawing/2014/main" id="{E8D27116-A2D3-0B9E-0A15-8266AC7072A6}"/>
                    </a:ext>
                  </a:extLst>
                </p:cNvPr>
                <p:cNvSpPr txBox="1"/>
                <p:nvPr/>
              </p:nvSpPr>
              <p:spPr>
                <a:xfrm>
                  <a:off x="599002" y="1019345"/>
                  <a:ext cx="374186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0</a:t>
                  </a:r>
                </a:p>
              </p:txBody>
            </p:sp>
            <p:sp>
              <p:nvSpPr>
                <p:cNvPr id="67" name="TextBox 66">
                  <a:extLst>
                    <a:ext uri="{FF2B5EF4-FFF2-40B4-BE49-F238E27FC236}">
                      <a16:creationId xmlns:a16="http://schemas.microsoft.com/office/drawing/2014/main" id="{E8EA4B07-42E5-6B3D-5B4A-7AD5EC305E29}"/>
                    </a:ext>
                  </a:extLst>
                </p:cNvPr>
                <p:cNvSpPr txBox="1"/>
                <p:nvPr/>
              </p:nvSpPr>
              <p:spPr>
                <a:xfrm>
                  <a:off x="723730" y="1402998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0</a:t>
                  </a:r>
                </a:p>
              </p:txBody>
            </p:sp>
            <p:sp>
              <p:nvSpPr>
                <p:cNvPr id="68" name="TextBox 67">
                  <a:extLst>
                    <a:ext uri="{FF2B5EF4-FFF2-40B4-BE49-F238E27FC236}">
                      <a16:creationId xmlns:a16="http://schemas.microsoft.com/office/drawing/2014/main" id="{AEEFB6A0-0A58-5CF6-3C40-56E9B2306E9C}"/>
                    </a:ext>
                  </a:extLst>
                </p:cNvPr>
                <p:cNvSpPr txBox="1"/>
                <p:nvPr/>
              </p:nvSpPr>
              <p:spPr>
                <a:xfrm>
                  <a:off x="723729" y="1786652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0</a:t>
                  </a:r>
                </a:p>
              </p:txBody>
            </p:sp>
            <p:sp>
              <p:nvSpPr>
                <p:cNvPr id="69" name="TextBox 68">
                  <a:extLst>
                    <a:ext uri="{FF2B5EF4-FFF2-40B4-BE49-F238E27FC236}">
                      <a16:creationId xmlns:a16="http://schemas.microsoft.com/office/drawing/2014/main" id="{E880D586-F072-6242-3045-DB627A32E2B4}"/>
                    </a:ext>
                  </a:extLst>
                </p:cNvPr>
                <p:cNvSpPr txBox="1"/>
                <p:nvPr/>
              </p:nvSpPr>
              <p:spPr>
                <a:xfrm>
                  <a:off x="723729" y="2170305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0</a:t>
                  </a:r>
                </a:p>
              </p:txBody>
            </p:sp>
            <p:sp>
              <p:nvSpPr>
                <p:cNvPr id="70" name="TextBox 69">
                  <a:extLst>
                    <a:ext uri="{FF2B5EF4-FFF2-40B4-BE49-F238E27FC236}">
                      <a16:creationId xmlns:a16="http://schemas.microsoft.com/office/drawing/2014/main" id="{2D5299E8-9C85-163F-087B-EC34DC58C37C}"/>
                    </a:ext>
                  </a:extLst>
                </p:cNvPr>
                <p:cNvSpPr txBox="1"/>
                <p:nvPr/>
              </p:nvSpPr>
              <p:spPr>
                <a:xfrm>
                  <a:off x="723729" y="2553957"/>
                  <a:ext cx="249459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0</a:t>
                  </a:r>
                </a:p>
              </p:txBody>
            </p:sp>
            <p:sp>
              <p:nvSpPr>
                <p:cNvPr id="71" name="TextBox 70">
                  <a:extLst>
                    <a:ext uri="{FF2B5EF4-FFF2-40B4-BE49-F238E27FC236}">
                      <a16:creationId xmlns:a16="http://schemas.microsoft.com/office/drawing/2014/main" id="{2C0C7E6A-9169-BBD4-0420-78B2164B7996}"/>
                    </a:ext>
                  </a:extLst>
                </p:cNvPr>
                <p:cNvSpPr txBox="1"/>
                <p:nvPr/>
              </p:nvSpPr>
              <p:spPr>
                <a:xfrm>
                  <a:off x="848461" y="2937610"/>
                  <a:ext cx="124730" cy="13834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ctr" anchorCtr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BCB7E0AE-6D27-29EF-0CB4-8058C9DEB71E}"/>
                  </a:ext>
                </a:extLst>
              </p:cNvPr>
              <p:cNvSpPr txBox="1"/>
              <p:nvPr/>
            </p:nvSpPr>
            <p:spPr>
              <a:xfrm rot="16200000">
                <a:off x="-560915" y="1862740"/>
                <a:ext cx="2018108" cy="451848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FS (%)</a:t>
                </a: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46C42D55-BFA1-608F-7515-58B68616EDEB}"/>
                  </a:ext>
                </a:extLst>
              </p:cNvPr>
              <p:cNvSpPr txBox="1"/>
              <p:nvPr/>
            </p:nvSpPr>
            <p:spPr>
              <a:xfrm>
                <a:off x="954447" y="3101112"/>
                <a:ext cx="275831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0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0EC8AD9-66CC-4BDF-8B20-EF152C72DE98}"/>
                  </a:ext>
                </a:extLst>
              </p:cNvPr>
              <p:cNvSpPr txBox="1"/>
              <p:nvPr/>
            </p:nvSpPr>
            <p:spPr>
              <a:xfrm>
                <a:off x="8416522" y="1573257"/>
                <a:ext cx="760611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O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A05646A7-C836-AF92-61C8-505DE483A6F1}"/>
                  </a:ext>
                </a:extLst>
              </p:cNvPr>
              <p:cNvSpPr txBox="1"/>
              <p:nvPr/>
            </p:nvSpPr>
            <p:spPr>
              <a:xfrm>
                <a:off x="8104364" y="1926325"/>
                <a:ext cx="584108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760E6F89-6A35-6CCC-E11B-0CC4B271A3D5}"/>
                  </a:ext>
                </a:extLst>
              </p:cNvPr>
              <p:cNvSpPr txBox="1"/>
              <p:nvPr/>
            </p:nvSpPr>
            <p:spPr>
              <a:xfrm>
                <a:off x="8237829" y="2092386"/>
                <a:ext cx="1123029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CR/BR</a:t>
                </a:r>
              </a:p>
            </p:txBody>
          </p:sp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12B6051F-EA69-4E15-4731-1D045249FA2D}"/>
                  </a:ext>
                </a:extLst>
              </p:cNvPr>
              <p:cNvGrpSpPr/>
              <p:nvPr/>
            </p:nvGrpSpPr>
            <p:grpSpPr>
              <a:xfrm>
                <a:off x="951871" y="2513020"/>
                <a:ext cx="4491524" cy="465740"/>
                <a:chOff x="2177837" y="-1538457"/>
                <a:chExt cx="4491524" cy="465740"/>
              </a:xfrm>
            </p:grpSpPr>
            <p:sp>
              <p:nvSpPr>
                <p:cNvPr id="60" name="TextBox 59">
                  <a:extLst>
                    <a:ext uri="{FF2B5EF4-FFF2-40B4-BE49-F238E27FC236}">
                      <a16:creationId xmlns:a16="http://schemas.microsoft.com/office/drawing/2014/main" id="{085A9A23-64EC-22B8-25F4-BF7A27EBA862}"/>
                    </a:ext>
                  </a:extLst>
                </p:cNvPr>
                <p:cNvSpPr txBox="1"/>
                <p:nvPr/>
              </p:nvSpPr>
              <p:spPr>
                <a:xfrm>
                  <a:off x="4038247" y="-1538457"/>
                  <a:ext cx="1337187" cy="18446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HR (95% CI)</a:t>
                  </a:r>
                </a:p>
              </p:txBody>
            </p:sp>
            <p:sp>
              <p:nvSpPr>
                <p:cNvPr id="61" name="TextBox 60">
                  <a:extLst>
                    <a:ext uri="{FF2B5EF4-FFF2-40B4-BE49-F238E27FC236}">
                      <a16:creationId xmlns:a16="http://schemas.microsoft.com/office/drawing/2014/main" id="{46E089B5-9E93-E30A-4F4E-46B83AE0074D}"/>
                    </a:ext>
                  </a:extLst>
                </p:cNvPr>
                <p:cNvSpPr txBox="1"/>
                <p:nvPr/>
              </p:nvSpPr>
              <p:spPr>
                <a:xfrm>
                  <a:off x="5623921" y="-1538457"/>
                  <a:ext cx="925346" cy="184460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1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 value</a:t>
                  </a:r>
                </a:p>
              </p:txBody>
            </p:sp>
            <p:cxnSp>
              <p:nvCxnSpPr>
                <p:cNvPr id="62" name="Straight Connector 61">
                  <a:extLst>
                    <a:ext uri="{FF2B5EF4-FFF2-40B4-BE49-F238E27FC236}">
                      <a16:creationId xmlns:a16="http://schemas.microsoft.com/office/drawing/2014/main" id="{8161B5C8-FEC3-0377-422E-2EB13102B6F6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3888649" y="-1383191"/>
                  <a:ext cx="2780712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F4444"/>
                  </a:solidFill>
                  <a:prstDash val="solid"/>
                </a:ln>
                <a:effectLst/>
              </p:spPr>
            </p:cxnSp>
            <p:sp>
              <p:nvSpPr>
                <p:cNvPr id="63" name="TextBox 62">
                  <a:extLst>
                    <a:ext uri="{FF2B5EF4-FFF2-40B4-BE49-F238E27FC236}">
                      <a16:creationId xmlns:a16="http://schemas.microsoft.com/office/drawing/2014/main" id="{CD50A3C1-27F8-1937-A6B6-56CC8708C066}"/>
                    </a:ext>
                  </a:extLst>
                </p:cNvPr>
                <p:cNvSpPr txBox="1"/>
                <p:nvPr/>
              </p:nvSpPr>
              <p:spPr>
                <a:xfrm>
                  <a:off x="5548612" y="-1372465"/>
                  <a:ext cx="1075963" cy="299748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1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=0.0038</a:t>
                  </a:r>
                  <a:b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</a:br>
                  <a:r>
                    <a:rPr kumimoji="0" lang="en-US" sz="1000" b="1" i="1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P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&lt;0.0001</a:t>
                  </a:r>
                </a:p>
              </p:txBody>
            </p:sp>
            <p:sp>
              <p:nvSpPr>
                <p:cNvPr id="64" name="TextBox 63">
                  <a:extLst>
                    <a:ext uri="{FF2B5EF4-FFF2-40B4-BE49-F238E27FC236}">
                      <a16:creationId xmlns:a16="http://schemas.microsoft.com/office/drawing/2014/main" id="{36D31C49-FB29-C663-DC7C-DDEF94A3A213}"/>
                    </a:ext>
                  </a:extLst>
                </p:cNvPr>
                <p:cNvSpPr txBox="1"/>
                <p:nvPr/>
              </p:nvSpPr>
              <p:spPr>
                <a:xfrm>
                  <a:off x="3797026" y="-1372465"/>
                  <a:ext cx="1819629" cy="27581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65 (0.49 to 0.87)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42 (0.30 to 0.59)</a:t>
                  </a:r>
                </a:p>
              </p:txBody>
            </p:sp>
            <p:sp>
              <p:nvSpPr>
                <p:cNvPr id="65" name="TextBox 64">
                  <a:extLst>
                    <a:ext uri="{FF2B5EF4-FFF2-40B4-BE49-F238E27FC236}">
                      <a16:creationId xmlns:a16="http://schemas.microsoft.com/office/drawing/2014/main" id="{4746F0DD-1DA5-A6CD-8C5A-C598034A1E4D}"/>
                    </a:ext>
                  </a:extLst>
                </p:cNvPr>
                <p:cNvSpPr txBox="1"/>
                <p:nvPr/>
              </p:nvSpPr>
              <p:spPr>
                <a:xfrm>
                  <a:off x="2177837" y="-1372465"/>
                  <a:ext cx="1701959" cy="27581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 vs FCR/BR</a:t>
                  </a:r>
                </a:p>
                <a:p>
                  <a:pPr marL="0" marR="0" lvl="0" indent="0" algn="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O vs FCR/BR</a:t>
                  </a:r>
                </a:p>
              </p:txBody>
            </p:sp>
          </p:grpSp>
          <p:cxnSp>
            <p:nvCxnSpPr>
              <p:cNvPr id="43" name="Straight Connector 42">
                <a:extLst>
                  <a:ext uri="{FF2B5EF4-FFF2-40B4-BE49-F238E27FC236}">
                    <a16:creationId xmlns:a16="http://schemas.microsoft.com/office/drawing/2014/main" id="{149D393C-456E-16F2-F09A-997A1609D57F}"/>
                  </a:ext>
                </a:extLst>
              </p:cNvPr>
              <p:cNvCxnSpPr/>
              <p:nvPr/>
            </p:nvCxnSpPr>
            <p:spPr>
              <a:xfrm flipV="1">
                <a:off x="5719069" y="1269899"/>
                <a:ext cx="182880" cy="86360"/>
              </a:xfrm>
              <a:prstGeom prst="line">
                <a:avLst/>
              </a:prstGeom>
              <a:noFill/>
              <a:ln w="15875" cap="flat" cmpd="sng" algn="ctr">
                <a:solidFill>
                  <a:srgbClr val="830051"/>
                </a:solidFill>
                <a:prstDash val="solid"/>
              </a:ln>
              <a:effectLst/>
            </p:spPr>
          </p:cxn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F2CE2114-6F79-2978-B0EC-AD8557A5E002}"/>
                  </a:ext>
                </a:extLst>
              </p:cNvPr>
              <p:cNvSpPr txBox="1"/>
              <p:nvPr/>
            </p:nvSpPr>
            <p:spPr>
              <a:xfrm>
                <a:off x="5853564" y="1109508"/>
                <a:ext cx="908873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83.1%</a:t>
                </a:r>
              </a:p>
            </p:txBody>
          </p:sp>
          <p:cxnSp>
            <p:nvCxnSpPr>
              <p:cNvPr id="45" name="Straight Connector 44">
                <a:extLst>
                  <a:ext uri="{FF2B5EF4-FFF2-40B4-BE49-F238E27FC236}">
                    <a16:creationId xmlns:a16="http://schemas.microsoft.com/office/drawing/2014/main" id="{64EA0504-290A-8C66-DA83-CA096E09733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6491" y="1534034"/>
                <a:ext cx="258365" cy="20560"/>
              </a:xfrm>
              <a:prstGeom prst="line">
                <a:avLst/>
              </a:prstGeom>
              <a:noFill/>
              <a:ln w="15875" cap="flat" cmpd="sng" algn="ctr">
                <a:solidFill>
                  <a:srgbClr val="68D2DF"/>
                </a:solidFill>
                <a:prstDash val="solid"/>
              </a:ln>
              <a:effectLst/>
            </p:spPr>
          </p:cxnSp>
          <p:sp>
            <p:nvSpPr>
              <p:cNvPr id="46" name="TextBox 45">
                <a:extLst>
                  <a:ext uri="{FF2B5EF4-FFF2-40B4-BE49-F238E27FC236}">
                    <a16:creationId xmlns:a16="http://schemas.microsoft.com/office/drawing/2014/main" id="{E3E7451F-F813-1428-727C-CB69987C4A9B}"/>
                  </a:ext>
                </a:extLst>
              </p:cNvPr>
              <p:cNvSpPr txBox="1"/>
              <p:nvPr/>
            </p:nvSpPr>
            <p:spPr>
              <a:xfrm>
                <a:off x="5919545" y="1472071"/>
                <a:ext cx="908873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76.5%</a:t>
                </a:r>
              </a:p>
            </p:txBody>
          </p:sp>
          <p:cxnSp>
            <p:nvCxnSpPr>
              <p:cNvPr id="47" name="Straight Connector 46">
                <a:extLst>
                  <a:ext uri="{FF2B5EF4-FFF2-40B4-BE49-F238E27FC236}">
                    <a16:creationId xmlns:a16="http://schemas.microsoft.com/office/drawing/2014/main" id="{28F7EBE0-D488-EEE5-B953-DEE530854A95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714513" y="1856877"/>
                <a:ext cx="191158" cy="145736"/>
              </a:xfrm>
              <a:prstGeom prst="line">
                <a:avLst/>
              </a:prstGeom>
              <a:noFill/>
              <a:ln w="15875" cap="flat" cmpd="sng" algn="ctr">
                <a:solidFill>
                  <a:srgbClr val="C4D600"/>
                </a:solidFill>
                <a:prstDash val="solid"/>
              </a:ln>
              <a:effectLst/>
            </p:spPr>
          </p:cxn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A7B03C5E-952C-6AF7-3519-7D81949B92C7}"/>
                  </a:ext>
                </a:extLst>
              </p:cNvPr>
              <p:cNvSpPr txBox="1"/>
              <p:nvPr/>
            </p:nvSpPr>
            <p:spPr>
              <a:xfrm>
                <a:off x="5831133" y="1940248"/>
                <a:ext cx="908873" cy="20751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6.5%</a:t>
                </a:r>
              </a:p>
            </p:txBody>
          </p:sp>
          <p:sp>
            <p:nvSpPr>
              <p:cNvPr id="49" name="TextBox 48">
                <a:extLst>
                  <a:ext uri="{FF2B5EF4-FFF2-40B4-BE49-F238E27FC236}">
                    <a16:creationId xmlns:a16="http://schemas.microsoft.com/office/drawing/2014/main" id="{6398FB4F-5564-0B47-8EA3-3EE205A0F15B}"/>
                  </a:ext>
                </a:extLst>
              </p:cNvPr>
              <p:cNvSpPr txBox="1"/>
              <p:nvPr/>
            </p:nvSpPr>
            <p:spPr>
              <a:xfrm>
                <a:off x="1711345" y="3101112"/>
                <a:ext cx="275831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</a:t>
                </a:r>
              </a:p>
            </p:txBody>
          </p:sp>
          <p:sp>
            <p:nvSpPr>
              <p:cNvPr id="50" name="TextBox 49">
                <a:extLst>
                  <a:ext uri="{FF2B5EF4-FFF2-40B4-BE49-F238E27FC236}">
                    <a16:creationId xmlns:a16="http://schemas.microsoft.com/office/drawing/2014/main" id="{9705780B-239F-190B-E5FD-500205180DE1}"/>
                  </a:ext>
                </a:extLst>
              </p:cNvPr>
              <p:cNvSpPr txBox="1"/>
              <p:nvPr/>
            </p:nvSpPr>
            <p:spPr>
              <a:xfrm>
                <a:off x="2388163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2</a:t>
                </a:r>
              </a:p>
            </p:txBody>
          </p:sp>
          <p:sp>
            <p:nvSpPr>
              <p:cNvPr id="51" name="TextBox 50">
                <a:extLst>
                  <a:ext uri="{FF2B5EF4-FFF2-40B4-BE49-F238E27FC236}">
                    <a16:creationId xmlns:a16="http://schemas.microsoft.com/office/drawing/2014/main" id="{A03111DF-BFA6-AA05-0493-D8DE49B2B2DB}"/>
                  </a:ext>
                </a:extLst>
              </p:cNvPr>
              <p:cNvSpPr txBox="1"/>
              <p:nvPr/>
            </p:nvSpPr>
            <p:spPr>
              <a:xfrm>
                <a:off x="3145674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18</a:t>
                </a:r>
              </a:p>
            </p:txBody>
          </p:sp>
          <p:sp>
            <p:nvSpPr>
              <p:cNvPr id="52" name="TextBox 51">
                <a:extLst>
                  <a:ext uri="{FF2B5EF4-FFF2-40B4-BE49-F238E27FC236}">
                    <a16:creationId xmlns:a16="http://schemas.microsoft.com/office/drawing/2014/main" id="{E986F0DC-356B-E822-5AB7-4E41C5A64294}"/>
                  </a:ext>
                </a:extLst>
              </p:cNvPr>
              <p:cNvSpPr txBox="1"/>
              <p:nvPr/>
            </p:nvSpPr>
            <p:spPr>
              <a:xfrm>
                <a:off x="3911350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24</a:t>
                </a:r>
              </a:p>
            </p:txBody>
          </p:sp>
          <p:sp>
            <p:nvSpPr>
              <p:cNvPr id="53" name="TextBox 52">
                <a:extLst>
                  <a:ext uri="{FF2B5EF4-FFF2-40B4-BE49-F238E27FC236}">
                    <a16:creationId xmlns:a16="http://schemas.microsoft.com/office/drawing/2014/main" id="{18C9FC95-3FAC-54EE-70AB-ACA32552B1FE}"/>
                  </a:ext>
                </a:extLst>
              </p:cNvPr>
              <p:cNvSpPr txBox="1"/>
              <p:nvPr/>
            </p:nvSpPr>
            <p:spPr>
              <a:xfrm>
                <a:off x="4680778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0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2C99D5B8-903A-5A03-8188-434BAA488899}"/>
                  </a:ext>
                </a:extLst>
              </p:cNvPr>
              <p:cNvSpPr txBox="1"/>
              <p:nvPr/>
            </p:nvSpPr>
            <p:spPr>
              <a:xfrm>
                <a:off x="5435685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36</a:t>
                </a:r>
              </a:p>
            </p:txBody>
          </p:sp>
          <p:sp>
            <p:nvSpPr>
              <p:cNvPr id="55" name="TextBox 54">
                <a:extLst>
                  <a:ext uri="{FF2B5EF4-FFF2-40B4-BE49-F238E27FC236}">
                    <a16:creationId xmlns:a16="http://schemas.microsoft.com/office/drawing/2014/main" id="{F44398D8-9862-9756-039B-1A98B940F14E}"/>
                  </a:ext>
                </a:extLst>
              </p:cNvPr>
              <p:cNvSpPr txBox="1"/>
              <p:nvPr/>
            </p:nvSpPr>
            <p:spPr>
              <a:xfrm>
                <a:off x="6202507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2</a:t>
                </a:r>
              </a:p>
            </p:txBody>
          </p:sp>
          <p:sp>
            <p:nvSpPr>
              <p:cNvPr id="56" name="TextBox 55">
                <a:extLst>
                  <a:ext uri="{FF2B5EF4-FFF2-40B4-BE49-F238E27FC236}">
                    <a16:creationId xmlns:a16="http://schemas.microsoft.com/office/drawing/2014/main" id="{01961195-6847-2DCF-1802-1520D1C4388A}"/>
                  </a:ext>
                </a:extLst>
              </p:cNvPr>
              <p:cNvSpPr txBox="1"/>
              <p:nvPr/>
            </p:nvSpPr>
            <p:spPr>
              <a:xfrm>
                <a:off x="6964892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48</a:t>
                </a:r>
              </a:p>
            </p:txBody>
          </p:sp>
          <p:sp>
            <p:nvSpPr>
              <p:cNvPr id="57" name="TextBox 56">
                <a:extLst>
                  <a:ext uri="{FF2B5EF4-FFF2-40B4-BE49-F238E27FC236}">
                    <a16:creationId xmlns:a16="http://schemas.microsoft.com/office/drawing/2014/main" id="{D955470A-BC1E-9970-2E60-D69E0828A59B}"/>
                  </a:ext>
                </a:extLst>
              </p:cNvPr>
              <p:cNvSpPr txBox="1"/>
              <p:nvPr/>
            </p:nvSpPr>
            <p:spPr>
              <a:xfrm>
                <a:off x="7723801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54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A5C97631-82A0-CA7D-A2AD-FF1B2E6071B2}"/>
                  </a:ext>
                </a:extLst>
              </p:cNvPr>
              <p:cNvSpPr txBox="1"/>
              <p:nvPr/>
            </p:nvSpPr>
            <p:spPr>
              <a:xfrm>
                <a:off x="8477369" y="3101112"/>
                <a:ext cx="439159" cy="207517"/>
              </a:xfrm>
              <a:prstGeom prst="rect">
                <a:avLst/>
              </a:prstGeom>
              <a:noFill/>
            </p:spPr>
            <p:txBody>
              <a:bodyPr wrap="square" lIns="36576" rIns="36576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0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1C01C86D-DEB4-F5E3-B096-5CB328A15261}"/>
                  </a:ext>
                </a:extLst>
              </p:cNvPr>
              <p:cNvSpPr txBox="1"/>
              <p:nvPr/>
            </p:nvSpPr>
            <p:spPr>
              <a:xfrm>
                <a:off x="987103" y="3245545"/>
                <a:ext cx="7818759" cy="212167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onths from Randomization</a:t>
                </a:r>
              </a:p>
            </p:txBody>
          </p:sp>
        </p:grpSp>
        <p:grpSp>
          <p:nvGrpSpPr>
            <p:cNvPr id="1702" name="Group 1701">
              <a:extLst>
                <a:ext uri="{FF2B5EF4-FFF2-40B4-BE49-F238E27FC236}">
                  <a16:creationId xmlns:a16="http://schemas.microsoft.com/office/drawing/2014/main" id="{C2ADE9A7-B7F5-0F60-81D9-C62A65591B7D}"/>
                </a:ext>
              </a:extLst>
            </p:cNvPr>
            <p:cNvGrpSpPr/>
            <p:nvPr/>
          </p:nvGrpSpPr>
          <p:grpSpPr>
            <a:xfrm>
              <a:off x="6042609" y="2066789"/>
              <a:ext cx="6237432" cy="3298216"/>
              <a:chOff x="354833" y="1346923"/>
              <a:chExt cx="11837166" cy="3276410"/>
            </a:xfrm>
          </p:grpSpPr>
          <p:cxnSp>
            <p:nvCxnSpPr>
              <p:cNvPr id="1703" name="Straight Connector 1702">
                <a:extLst>
                  <a:ext uri="{FF2B5EF4-FFF2-40B4-BE49-F238E27FC236}">
                    <a16:creationId xmlns:a16="http://schemas.microsoft.com/office/drawing/2014/main" id="{E63A8FD9-42E0-3DAB-2399-57D90806308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392177" y="1436371"/>
                <a:ext cx="0" cy="2677291"/>
              </a:xfrm>
              <a:prstGeom prst="line">
                <a:avLst/>
              </a:prstGeom>
              <a:noFill/>
              <a:ln w="19050" cap="flat" cmpd="sng" algn="ctr">
                <a:solidFill>
                  <a:srgbClr val="3F4444"/>
                </a:solidFill>
                <a:prstDash val="dash"/>
              </a:ln>
              <a:effectLst/>
            </p:spPr>
          </p:cxnSp>
          <p:grpSp>
            <p:nvGrpSpPr>
              <p:cNvPr id="1704" name="Group 1703">
                <a:extLst>
                  <a:ext uri="{FF2B5EF4-FFF2-40B4-BE49-F238E27FC236}">
                    <a16:creationId xmlns:a16="http://schemas.microsoft.com/office/drawing/2014/main" id="{8781C382-A268-D275-DEF2-C3E3C7DDDE2B}"/>
                  </a:ext>
                </a:extLst>
              </p:cNvPr>
              <p:cNvGrpSpPr/>
              <p:nvPr/>
            </p:nvGrpSpPr>
            <p:grpSpPr>
              <a:xfrm>
                <a:off x="1463137" y="4121577"/>
                <a:ext cx="9895664" cy="49399"/>
                <a:chOff x="1087957" y="3242933"/>
                <a:chExt cx="7624574" cy="37049"/>
              </a:xfrm>
            </p:grpSpPr>
            <p:sp>
              <p:nvSpPr>
                <p:cNvPr id="2849" name="Freeform 5726">
                  <a:extLst>
                    <a:ext uri="{FF2B5EF4-FFF2-40B4-BE49-F238E27FC236}">
                      <a16:creationId xmlns:a16="http://schemas.microsoft.com/office/drawing/2014/main" id="{B85376F3-3AF8-4BC6-C54A-C8D7ABEA4E8A}"/>
                    </a:ext>
                  </a:extLst>
                </p:cNvPr>
                <p:cNvSpPr/>
                <p:nvPr/>
              </p:nvSpPr>
              <p:spPr>
                <a:xfrm>
                  <a:off x="1087957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0" name="Freeform 5727">
                  <a:extLst>
                    <a:ext uri="{FF2B5EF4-FFF2-40B4-BE49-F238E27FC236}">
                      <a16:creationId xmlns:a16="http://schemas.microsoft.com/office/drawing/2014/main" id="{F5423450-DFCF-10AA-BB6D-8BAC068754A6}"/>
                    </a:ext>
                  </a:extLst>
                </p:cNvPr>
                <p:cNvSpPr/>
                <p:nvPr/>
              </p:nvSpPr>
              <p:spPr>
                <a:xfrm>
                  <a:off x="1849936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1" name="Freeform 5728">
                  <a:extLst>
                    <a:ext uri="{FF2B5EF4-FFF2-40B4-BE49-F238E27FC236}">
                      <a16:creationId xmlns:a16="http://schemas.microsoft.com/office/drawing/2014/main" id="{233EF2DE-5D8B-96A8-7286-B38DB5A53AEA}"/>
                    </a:ext>
                  </a:extLst>
                </p:cNvPr>
                <p:cNvSpPr/>
                <p:nvPr/>
              </p:nvSpPr>
              <p:spPr>
                <a:xfrm>
                  <a:off x="2610724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2" name="Freeform 5729">
                  <a:extLst>
                    <a:ext uri="{FF2B5EF4-FFF2-40B4-BE49-F238E27FC236}">
                      <a16:creationId xmlns:a16="http://schemas.microsoft.com/office/drawing/2014/main" id="{3C15DCAC-2752-BC87-A40E-65DDEF911213}"/>
                    </a:ext>
                  </a:extLst>
                </p:cNvPr>
                <p:cNvSpPr/>
                <p:nvPr/>
              </p:nvSpPr>
              <p:spPr>
                <a:xfrm>
                  <a:off x="3371512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3" name="Freeform 5730">
                  <a:extLst>
                    <a:ext uri="{FF2B5EF4-FFF2-40B4-BE49-F238E27FC236}">
                      <a16:creationId xmlns:a16="http://schemas.microsoft.com/office/drawing/2014/main" id="{12E7D428-A694-4236-B1F1-84E8A79965DC}"/>
                    </a:ext>
                  </a:extLst>
                </p:cNvPr>
                <p:cNvSpPr/>
                <p:nvPr/>
              </p:nvSpPr>
              <p:spPr>
                <a:xfrm>
                  <a:off x="4133493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4" name="Freeform 5731">
                  <a:extLst>
                    <a:ext uri="{FF2B5EF4-FFF2-40B4-BE49-F238E27FC236}">
                      <a16:creationId xmlns:a16="http://schemas.microsoft.com/office/drawing/2014/main" id="{477C9298-0110-FDAC-F4F0-C318B1D31FB3}"/>
                    </a:ext>
                  </a:extLst>
                </p:cNvPr>
                <p:cNvSpPr/>
                <p:nvPr/>
              </p:nvSpPr>
              <p:spPr>
                <a:xfrm>
                  <a:off x="4894281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5" name="Freeform 5732">
                  <a:extLst>
                    <a:ext uri="{FF2B5EF4-FFF2-40B4-BE49-F238E27FC236}">
                      <a16:creationId xmlns:a16="http://schemas.microsoft.com/office/drawing/2014/main" id="{B124D77B-D55E-CBAD-1F48-C72D39BFC859}"/>
                    </a:ext>
                  </a:extLst>
                </p:cNvPr>
                <p:cNvSpPr/>
                <p:nvPr/>
              </p:nvSpPr>
              <p:spPr>
                <a:xfrm>
                  <a:off x="5656261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6" name="Freeform 5733">
                  <a:extLst>
                    <a:ext uri="{FF2B5EF4-FFF2-40B4-BE49-F238E27FC236}">
                      <a16:creationId xmlns:a16="http://schemas.microsoft.com/office/drawing/2014/main" id="{3CABE774-A030-D899-43EA-23D269965D89}"/>
                    </a:ext>
                  </a:extLst>
                </p:cNvPr>
                <p:cNvSpPr/>
                <p:nvPr/>
              </p:nvSpPr>
              <p:spPr>
                <a:xfrm>
                  <a:off x="6417049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7" name="Freeform 5734">
                  <a:extLst>
                    <a:ext uri="{FF2B5EF4-FFF2-40B4-BE49-F238E27FC236}">
                      <a16:creationId xmlns:a16="http://schemas.microsoft.com/office/drawing/2014/main" id="{7219E033-72A3-71E6-84A1-FE5E258889E7}"/>
                    </a:ext>
                  </a:extLst>
                </p:cNvPr>
                <p:cNvSpPr/>
                <p:nvPr/>
              </p:nvSpPr>
              <p:spPr>
                <a:xfrm>
                  <a:off x="7179030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8" name="Freeform 5735">
                  <a:extLst>
                    <a:ext uri="{FF2B5EF4-FFF2-40B4-BE49-F238E27FC236}">
                      <a16:creationId xmlns:a16="http://schemas.microsoft.com/office/drawing/2014/main" id="{97E318E9-4ACB-545E-4423-31DBBE621261}"/>
                    </a:ext>
                  </a:extLst>
                </p:cNvPr>
                <p:cNvSpPr/>
                <p:nvPr/>
              </p:nvSpPr>
              <p:spPr>
                <a:xfrm>
                  <a:off x="7939818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2859" name="Freeform 5736">
                  <a:extLst>
                    <a:ext uri="{FF2B5EF4-FFF2-40B4-BE49-F238E27FC236}">
                      <a16:creationId xmlns:a16="http://schemas.microsoft.com/office/drawing/2014/main" id="{971FB713-F8F6-AEE0-2E72-C08FAEDC374A}"/>
                    </a:ext>
                  </a:extLst>
                </p:cNvPr>
                <p:cNvSpPr/>
                <p:nvPr/>
              </p:nvSpPr>
              <p:spPr>
                <a:xfrm>
                  <a:off x="8700606" y="3242933"/>
                  <a:ext cx="11925" cy="37049"/>
                </a:xfrm>
                <a:custGeom>
                  <a:avLst/>
                  <a:gdLst>
                    <a:gd name="connsiteX0" fmla="*/ 0 w 9525"/>
                    <a:gd name="connsiteY0" fmla="*/ 37050 h 37049"/>
                    <a:gd name="connsiteX1" fmla="*/ 0 w 9525"/>
                    <a:gd name="connsiteY1" fmla="*/ 0 h 3704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9525" h="37049">
                      <a:moveTo>
                        <a:pt x="0" y="37050"/>
                      </a:moveTo>
                      <a:lnTo>
                        <a:pt x="0" y="0"/>
                      </a:lnTo>
                    </a:path>
                  </a:pathLst>
                </a:custGeom>
                <a:ln w="9525" cap="rnd">
                  <a:solidFill>
                    <a:srgbClr val="3F4444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05" name="Freeform 5725">
                <a:extLst>
                  <a:ext uri="{FF2B5EF4-FFF2-40B4-BE49-F238E27FC236}">
                    <a16:creationId xmlns:a16="http://schemas.microsoft.com/office/drawing/2014/main" id="{05AF2150-289E-8B51-CCEC-0497DC540155}"/>
                  </a:ext>
                </a:extLst>
              </p:cNvPr>
              <p:cNvSpPr/>
              <p:nvPr/>
            </p:nvSpPr>
            <p:spPr>
              <a:xfrm>
                <a:off x="1254178" y="4068106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6" name="Freeform 5737">
                <a:extLst>
                  <a:ext uri="{FF2B5EF4-FFF2-40B4-BE49-F238E27FC236}">
                    <a16:creationId xmlns:a16="http://schemas.microsoft.com/office/drawing/2014/main" id="{8C989440-BAA6-43CE-2E01-4922E1E72367}"/>
                  </a:ext>
                </a:extLst>
              </p:cNvPr>
              <p:cNvSpPr/>
              <p:nvPr/>
            </p:nvSpPr>
            <p:spPr>
              <a:xfrm>
                <a:off x="1254178" y="3550610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7" name="Freeform 5738">
                <a:extLst>
                  <a:ext uri="{FF2B5EF4-FFF2-40B4-BE49-F238E27FC236}">
                    <a16:creationId xmlns:a16="http://schemas.microsoft.com/office/drawing/2014/main" id="{76300EFC-E124-0F15-D251-C4C2A7732978}"/>
                  </a:ext>
                </a:extLst>
              </p:cNvPr>
              <p:cNvSpPr/>
              <p:nvPr/>
            </p:nvSpPr>
            <p:spPr>
              <a:xfrm>
                <a:off x="1254178" y="3034276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8" name="Freeform 5739">
                <a:extLst>
                  <a:ext uri="{FF2B5EF4-FFF2-40B4-BE49-F238E27FC236}">
                    <a16:creationId xmlns:a16="http://schemas.microsoft.com/office/drawing/2014/main" id="{CBB3F90C-3578-8345-2A5D-31A1BAB99354}"/>
                  </a:ext>
                </a:extLst>
              </p:cNvPr>
              <p:cNvSpPr/>
              <p:nvPr/>
            </p:nvSpPr>
            <p:spPr>
              <a:xfrm>
                <a:off x="1254178" y="2517943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09" name="Freeform 5740">
                <a:extLst>
                  <a:ext uri="{FF2B5EF4-FFF2-40B4-BE49-F238E27FC236}">
                    <a16:creationId xmlns:a16="http://schemas.microsoft.com/office/drawing/2014/main" id="{D2A7619B-3B89-9693-EF8D-BF3BE1596A4B}"/>
                  </a:ext>
                </a:extLst>
              </p:cNvPr>
              <p:cNvSpPr/>
              <p:nvPr/>
            </p:nvSpPr>
            <p:spPr>
              <a:xfrm>
                <a:off x="1254178" y="2001610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0" name="Freeform 5741">
                <a:extLst>
                  <a:ext uri="{FF2B5EF4-FFF2-40B4-BE49-F238E27FC236}">
                    <a16:creationId xmlns:a16="http://schemas.microsoft.com/office/drawing/2014/main" id="{43E86600-ED18-236C-2C93-FA1ED76D2A31}"/>
                  </a:ext>
                </a:extLst>
              </p:cNvPr>
              <p:cNvSpPr/>
              <p:nvPr/>
            </p:nvSpPr>
            <p:spPr>
              <a:xfrm>
                <a:off x="1254178" y="1485276"/>
                <a:ext cx="62007" cy="11629"/>
              </a:xfrm>
              <a:custGeom>
                <a:avLst/>
                <a:gdLst>
                  <a:gd name="connsiteX0" fmla="*/ 0 w 37147"/>
                  <a:gd name="connsiteY0" fmla="*/ 0 h 9500"/>
                  <a:gd name="connsiteX1" fmla="*/ 37148 w 3714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37147" h="9500">
                    <a:moveTo>
                      <a:pt x="0" y="0"/>
                    </a:moveTo>
                    <a:lnTo>
                      <a:pt x="3714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11" name="Graphic 26">
                <a:extLst>
                  <a:ext uri="{FF2B5EF4-FFF2-40B4-BE49-F238E27FC236}">
                    <a16:creationId xmlns:a16="http://schemas.microsoft.com/office/drawing/2014/main" id="{B7BAA4B0-A1E0-0495-B21A-4F9E6E8C4521}"/>
                  </a:ext>
                </a:extLst>
              </p:cNvPr>
              <p:cNvGrpSpPr/>
              <p:nvPr/>
            </p:nvGrpSpPr>
            <p:grpSpPr>
              <a:xfrm>
                <a:off x="1475517" y="1475973"/>
                <a:ext cx="9095529" cy="1395496"/>
                <a:chOff x="9774554" y="-2271450"/>
                <a:chExt cx="5597842" cy="1140000"/>
              </a:xfrm>
              <a:noFill/>
            </p:grpSpPr>
            <p:grpSp>
              <p:nvGrpSpPr>
                <p:cNvPr id="2469" name="Graphic 26">
                  <a:extLst>
                    <a:ext uri="{FF2B5EF4-FFF2-40B4-BE49-F238E27FC236}">
                      <a16:creationId xmlns:a16="http://schemas.microsoft.com/office/drawing/2014/main" id="{6AC26708-4BF3-8DA8-4370-4DEEFE47B2AE}"/>
                    </a:ext>
                  </a:extLst>
                </p:cNvPr>
                <p:cNvGrpSpPr/>
                <p:nvPr/>
              </p:nvGrpSpPr>
              <p:grpSpPr>
                <a:xfrm>
                  <a:off x="10346055" y="-2271450"/>
                  <a:ext cx="5026342" cy="1140000"/>
                  <a:chOff x="10346055" y="-2271450"/>
                  <a:chExt cx="5026342" cy="1140000"/>
                </a:xfrm>
              </p:grpSpPr>
              <p:grpSp>
                <p:nvGrpSpPr>
                  <p:cNvPr id="2471" name="Graphic 26">
                    <a:extLst>
                      <a:ext uri="{FF2B5EF4-FFF2-40B4-BE49-F238E27FC236}">
                        <a16:creationId xmlns:a16="http://schemas.microsoft.com/office/drawing/2014/main" id="{FB7AC9A4-9732-E685-E30C-32993A0C51AF}"/>
                      </a:ext>
                    </a:extLst>
                  </p:cNvPr>
                  <p:cNvGrpSpPr/>
                  <p:nvPr/>
                </p:nvGrpSpPr>
                <p:grpSpPr>
                  <a:xfrm>
                    <a:off x="10346055" y="-2271450"/>
                    <a:ext cx="62865" cy="62700"/>
                    <a:chOff x="10346055" y="-2271450"/>
                    <a:chExt cx="62865" cy="62700"/>
                  </a:xfrm>
                </p:grpSpPr>
                <p:sp>
                  <p:nvSpPr>
                    <p:cNvPr id="2847" name="Freeform 7832">
                      <a:extLst>
                        <a:ext uri="{FF2B5EF4-FFF2-40B4-BE49-F238E27FC236}">
                          <a16:creationId xmlns:a16="http://schemas.microsoft.com/office/drawing/2014/main" id="{670AEEFE-95C2-9D8C-E040-CBA5355AD6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346055" y="-22401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8" name="Freeform 7833">
                      <a:extLst>
                        <a:ext uri="{FF2B5EF4-FFF2-40B4-BE49-F238E27FC236}">
                          <a16:creationId xmlns:a16="http://schemas.microsoft.com/office/drawing/2014/main" id="{AEAC07EE-F1E5-D5F7-9DE6-4303921ECB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377487" y="-22714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2" name="Graphic 26">
                    <a:extLst>
                      <a:ext uri="{FF2B5EF4-FFF2-40B4-BE49-F238E27FC236}">
                        <a16:creationId xmlns:a16="http://schemas.microsoft.com/office/drawing/2014/main" id="{46D058F3-5480-64B7-6678-E39D0BE1156E}"/>
                      </a:ext>
                    </a:extLst>
                  </p:cNvPr>
                  <p:cNvGrpSpPr/>
                  <p:nvPr/>
                </p:nvGrpSpPr>
                <p:grpSpPr>
                  <a:xfrm>
                    <a:off x="10493692" y="-2249600"/>
                    <a:ext cx="62865" cy="62700"/>
                    <a:chOff x="10493692" y="-2249600"/>
                    <a:chExt cx="62865" cy="62700"/>
                  </a:xfrm>
                </p:grpSpPr>
                <p:sp>
                  <p:nvSpPr>
                    <p:cNvPr id="2845" name="Freeform 7830">
                      <a:extLst>
                        <a:ext uri="{FF2B5EF4-FFF2-40B4-BE49-F238E27FC236}">
                          <a16:creationId xmlns:a16="http://schemas.microsoft.com/office/drawing/2014/main" id="{A9B325D7-D994-6EBC-37C2-80774073D6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93692" y="-22182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6" name="Freeform 7831">
                      <a:extLst>
                        <a:ext uri="{FF2B5EF4-FFF2-40B4-BE49-F238E27FC236}">
                          <a16:creationId xmlns:a16="http://schemas.microsoft.com/office/drawing/2014/main" id="{0F68C3E9-7794-28A6-CF97-80D413D5DF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25125" y="-2249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3" name="Graphic 26">
                    <a:extLst>
                      <a:ext uri="{FF2B5EF4-FFF2-40B4-BE49-F238E27FC236}">
                        <a16:creationId xmlns:a16="http://schemas.microsoft.com/office/drawing/2014/main" id="{4A515DE3-5DF9-9D33-1493-541889416EE2}"/>
                      </a:ext>
                    </a:extLst>
                  </p:cNvPr>
                  <p:cNvGrpSpPr/>
                  <p:nvPr/>
                </p:nvGrpSpPr>
                <p:grpSpPr>
                  <a:xfrm>
                    <a:off x="10688955" y="-2234400"/>
                    <a:ext cx="63817" cy="62699"/>
                    <a:chOff x="10688955" y="-2234400"/>
                    <a:chExt cx="63817" cy="62699"/>
                  </a:xfrm>
                </p:grpSpPr>
                <p:sp>
                  <p:nvSpPr>
                    <p:cNvPr id="2843" name="Freeform 7828">
                      <a:extLst>
                        <a:ext uri="{FF2B5EF4-FFF2-40B4-BE49-F238E27FC236}">
                          <a16:creationId xmlns:a16="http://schemas.microsoft.com/office/drawing/2014/main" id="{4E44EB92-F88A-4EA2-6856-DDB7232D83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88955" y="-22030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4" name="Freeform 7829">
                      <a:extLst>
                        <a:ext uri="{FF2B5EF4-FFF2-40B4-BE49-F238E27FC236}">
                          <a16:creationId xmlns:a16="http://schemas.microsoft.com/office/drawing/2014/main" id="{3455455B-B00E-CBA6-93C4-11C02F43E4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20387" y="-2234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4" name="Graphic 26">
                    <a:extLst>
                      <a:ext uri="{FF2B5EF4-FFF2-40B4-BE49-F238E27FC236}">
                        <a16:creationId xmlns:a16="http://schemas.microsoft.com/office/drawing/2014/main" id="{B4E48618-30A7-B618-5D48-6DEE0125445B}"/>
                      </a:ext>
                    </a:extLst>
                  </p:cNvPr>
                  <p:cNvGrpSpPr/>
                  <p:nvPr/>
                </p:nvGrpSpPr>
                <p:grpSpPr>
                  <a:xfrm>
                    <a:off x="10918507" y="-2210650"/>
                    <a:ext cx="62864" cy="62699"/>
                    <a:chOff x="10918507" y="-2210650"/>
                    <a:chExt cx="62864" cy="62699"/>
                  </a:xfrm>
                </p:grpSpPr>
                <p:sp>
                  <p:nvSpPr>
                    <p:cNvPr id="2841" name="Freeform 7826">
                      <a:extLst>
                        <a:ext uri="{FF2B5EF4-FFF2-40B4-BE49-F238E27FC236}">
                          <a16:creationId xmlns:a16="http://schemas.microsoft.com/office/drawing/2014/main" id="{55E31252-970B-5309-1D7E-2A589DF994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918507" y="-21793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2" name="Freeform 7827">
                      <a:extLst>
                        <a:ext uri="{FF2B5EF4-FFF2-40B4-BE49-F238E27FC236}">
                          <a16:creationId xmlns:a16="http://schemas.microsoft.com/office/drawing/2014/main" id="{DFDB6E14-CA07-8C57-175C-9D3DD4A0B8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949940" y="-22106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5" name="Graphic 26">
                    <a:extLst>
                      <a:ext uri="{FF2B5EF4-FFF2-40B4-BE49-F238E27FC236}">
                        <a16:creationId xmlns:a16="http://schemas.microsoft.com/office/drawing/2014/main" id="{32A43CED-A475-2F9F-35FB-F176C0199CF6}"/>
                      </a:ext>
                    </a:extLst>
                  </p:cNvPr>
                  <p:cNvGrpSpPr/>
                  <p:nvPr/>
                </p:nvGrpSpPr>
                <p:grpSpPr>
                  <a:xfrm>
                    <a:off x="11193780" y="-2183100"/>
                    <a:ext cx="62865" cy="62700"/>
                    <a:chOff x="11193780" y="-2183100"/>
                    <a:chExt cx="62865" cy="62700"/>
                  </a:xfrm>
                </p:grpSpPr>
                <p:sp>
                  <p:nvSpPr>
                    <p:cNvPr id="2839" name="Freeform 7824">
                      <a:extLst>
                        <a:ext uri="{FF2B5EF4-FFF2-40B4-BE49-F238E27FC236}">
                          <a16:creationId xmlns:a16="http://schemas.microsoft.com/office/drawing/2014/main" id="{6F5F021D-C0E6-3D6B-E418-84E5C10812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93780" y="-21517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40" name="Freeform 7825">
                      <a:extLst>
                        <a:ext uri="{FF2B5EF4-FFF2-40B4-BE49-F238E27FC236}">
                          <a16:creationId xmlns:a16="http://schemas.microsoft.com/office/drawing/2014/main" id="{6847B0AB-F5AA-CEBC-FFC6-0092AA1B1E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25212" y="-21831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6" name="Graphic 26">
                    <a:extLst>
                      <a:ext uri="{FF2B5EF4-FFF2-40B4-BE49-F238E27FC236}">
                        <a16:creationId xmlns:a16="http://schemas.microsoft.com/office/drawing/2014/main" id="{68D64F76-DA98-AB77-F638-1F7FC8EF544F}"/>
                      </a:ext>
                    </a:extLst>
                  </p:cNvPr>
                  <p:cNvGrpSpPr/>
                  <p:nvPr/>
                </p:nvGrpSpPr>
                <p:grpSpPr>
                  <a:xfrm>
                    <a:off x="11301412" y="-2183100"/>
                    <a:ext cx="62864" cy="62700"/>
                    <a:chOff x="11301412" y="-2183100"/>
                    <a:chExt cx="62864" cy="62700"/>
                  </a:xfrm>
                </p:grpSpPr>
                <p:sp>
                  <p:nvSpPr>
                    <p:cNvPr id="2837" name="Freeform 7822">
                      <a:extLst>
                        <a:ext uri="{FF2B5EF4-FFF2-40B4-BE49-F238E27FC236}">
                          <a16:creationId xmlns:a16="http://schemas.microsoft.com/office/drawing/2014/main" id="{4F5E0303-12CC-FF89-0394-DC4FD0ED8C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01412" y="-2151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8" name="Freeform 7823">
                      <a:extLst>
                        <a:ext uri="{FF2B5EF4-FFF2-40B4-BE49-F238E27FC236}">
                          <a16:creationId xmlns:a16="http://schemas.microsoft.com/office/drawing/2014/main" id="{5ECDF560-C9AC-D004-874F-08DF6195CB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32845" y="-21831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7" name="Graphic 26">
                    <a:extLst>
                      <a:ext uri="{FF2B5EF4-FFF2-40B4-BE49-F238E27FC236}">
                        <a16:creationId xmlns:a16="http://schemas.microsoft.com/office/drawing/2014/main" id="{6AAC1B04-3382-078A-1E2C-1B69AF6473CC}"/>
                      </a:ext>
                    </a:extLst>
                  </p:cNvPr>
                  <p:cNvGrpSpPr/>
                  <p:nvPr/>
                </p:nvGrpSpPr>
                <p:grpSpPr>
                  <a:xfrm>
                    <a:off x="11321415" y="-2172650"/>
                    <a:ext cx="62864" cy="63649"/>
                    <a:chOff x="11321415" y="-2172650"/>
                    <a:chExt cx="62864" cy="63649"/>
                  </a:xfrm>
                </p:grpSpPr>
                <p:sp>
                  <p:nvSpPr>
                    <p:cNvPr id="2835" name="Freeform 7820">
                      <a:extLst>
                        <a:ext uri="{FF2B5EF4-FFF2-40B4-BE49-F238E27FC236}">
                          <a16:creationId xmlns:a16="http://schemas.microsoft.com/office/drawing/2014/main" id="{2C531AEC-B327-8FFC-24EC-062F4AC119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21415" y="-21413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6" name="Freeform 7821">
                      <a:extLst>
                        <a:ext uri="{FF2B5EF4-FFF2-40B4-BE49-F238E27FC236}">
                          <a16:creationId xmlns:a16="http://schemas.microsoft.com/office/drawing/2014/main" id="{475A9318-E3F8-4CA4-E737-C85316967C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52847" y="-21726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8" name="Graphic 26">
                    <a:extLst>
                      <a:ext uri="{FF2B5EF4-FFF2-40B4-BE49-F238E27FC236}">
                        <a16:creationId xmlns:a16="http://schemas.microsoft.com/office/drawing/2014/main" id="{AEFB358C-593E-4172-1DF0-8D1AE924B995}"/>
                      </a:ext>
                    </a:extLst>
                  </p:cNvPr>
                  <p:cNvGrpSpPr/>
                  <p:nvPr/>
                </p:nvGrpSpPr>
                <p:grpSpPr>
                  <a:xfrm>
                    <a:off x="11329987" y="-2172650"/>
                    <a:ext cx="62864" cy="63649"/>
                    <a:chOff x="11329987" y="-2172650"/>
                    <a:chExt cx="62864" cy="63649"/>
                  </a:xfrm>
                </p:grpSpPr>
                <p:sp>
                  <p:nvSpPr>
                    <p:cNvPr id="2833" name="Freeform 7818">
                      <a:extLst>
                        <a:ext uri="{FF2B5EF4-FFF2-40B4-BE49-F238E27FC236}">
                          <a16:creationId xmlns:a16="http://schemas.microsoft.com/office/drawing/2014/main" id="{3374A3E5-FC6D-F1C6-23EF-EFA37A8C8E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29987" y="-21413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4" name="Freeform 7819">
                      <a:extLst>
                        <a:ext uri="{FF2B5EF4-FFF2-40B4-BE49-F238E27FC236}">
                          <a16:creationId xmlns:a16="http://schemas.microsoft.com/office/drawing/2014/main" id="{068A81FB-6290-65BB-095C-D98DA65142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61420" y="-21726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79" name="Graphic 26">
                    <a:extLst>
                      <a:ext uri="{FF2B5EF4-FFF2-40B4-BE49-F238E27FC236}">
                        <a16:creationId xmlns:a16="http://schemas.microsoft.com/office/drawing/2014/main" id="{08C1EA34-387C-D861-A4D5-0ADE04E6084C}"/>
                      </a:ext>
                    </a:extLst>
                  </p:cNvPr>
                  <p:cNvGrpSpPr/>
                  <p:nvPr/>
                </p:nvGrpSpPr>
                <p:grpSpPr>
                  <a:xfrm>
                    <a:off x="11334750" y="-2137500"/>
                    <a:ext cx="62864" cy="62700"/>
                    <a:chOff x="11334750" y="-2137500"/>
                    <a:chExt cx="62864" cy="62700"/>
                  </a:xfrm>
                </p:grpSpPr>
                <p:sp>
                  <p:nvSpPr>
                    <p:cNvPr id="2831" name="Freeform 7816">
                      <a:extLst>
                        <a:ext uri="{FF2B5EF4-FFF2-40B4-BE49-F238E27FC236}">
                          <a16:creationId xmlns:a16="http://schemas.microsoft.com/office/drawing/2014/main" id="{D781C4BD-1A5E-E8E9-7C37-56E626B94E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34750" y="-21061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2" name="Freeform 7817">
                      <a:extLst>
                        <a:ext uri="{FF2B5EF4-FFF2-40B4-BE49-F238E27FC236}">
                          <a16:creationId xmlns:a16="http://schemas.microsoft.com/office/drawing/2014/main" id="{113481B7-B5DF-2ABD-CD37-CE7CD89DE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66182" y="-21375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0" name="Graphic 26">
                    <a:extLst>
                      <a:ext uri="{FF2B5EF4-FFF2-40B4-BE49-F238E27FC236}">
                        <a16:creationId xmlns:a16="http://schemas.microsoft.com/office/drawing/2014/main" id="{AA3CA961-975F-513B-CD81-03B5626EFDC7}"/>
                      </a:ext>
                    </a:extLst>
                  </p:cNvPr>
                  <p:cNvGrpSpPr/>
                  <p:nvPr/>
                </p:nvGrpSpPr>
                <p:grpSpPr>
                  <a:xfrm>
                    <a:off x="11421427" y="-2116600"/>
                    <a:ext cx="62864" cy="62699"/>
                    <a:chOff x="11421427" y="-2116600"/>
                    <a:chExt cx="62864" cy="62699"/>
                  </a:xfrm>
                </p:grpSpPr>
                <p:sp>
                  <p:nvSpPr>
                    <p:cNvPr id="2829" name="Freeform 7814">
                      <a:extLst>
                        <a:ext uri="{FF2B5EF4-FFF2-40B4-BE49-F238E27FC236}">
                          <a16:creationId xmlns:a16="http://schemas.microsoft.com/office/drawing/2014/main" id="{7B7E25DF-3EAD-859E-AA9C-DDA7700A5B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21427" y="-2085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30" name="Freeform 7815">
                      <a:extLst>
                        <a:ext uri="{FF2B5EF4-FFF2-40B4-BE49-F238E27FC236}">
                          <a16:creationId xmlns:a16="http://schemas.microsoft.com/office/drawing/2014/main" id="{6104D2A1-0416-92BC-9851-F5BC834CDF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52860" y="-21166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1" name="Graphic 26">
                    <a:extLst>
                      <a:ext uri="{FF2B5EF4-FFF2-40B4-BE49-F238E27FC236}">
                        <a16:creationId xmlns:a16="http://schemas.microsoft.com/office/drawing/2014/main" id="{D5F6BC85-BBC6-F0DF-88BF-CA51C8896FF8}"/>
                      </a:ext>
                    </a:extLst>
                  </p:cNvPr>
                  <p:cNvGrpSpPr/>
                  <p:nvPr/>
                </p:nvGrpSpPr>
                <p:grpSpPr>
                  <a:xfrm>
                    <a:off x="11425237" y="-2116600"/>
                    <a:ext cx="62864" cy="62699"/>
                    <a:chOff x="11425237" y="-2116600"/>
                    <a:chExt cx="62864" cy="62699"/>
                  </a:xfrm>
                </p:grpSpPr>
                <p:sp>
                  <p:nvSpPr>
                    <p:cNvPr id="2827" name="Freeform 7812">
                      <a:extLst>
                        <a:ext uri="{FF2B5EF4-FFF2-40B4-BE49-F238E27FC236}">
                          <a16:creationId xmlns:a16="http://schemas.microsoft.com/office/drawing/2014/main" id="{AC1F419F-B321-A4C5-B72A-281070D99F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25237" y="-2085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8" name="Freeform 7813">
                      <a:extLst>
                        <a:ext uri="{FF2B5EF4-FFF2-40B4-BE49-F238E27FC236}">
                          <a16:creationId xmlns:a16="http://schemas.microsoft.com/office/drawing/2014/main" id="{5D14FAE6-3F91-1293-BB08-7042DC3327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56670" y="-21166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2" name="Graphic 26">
                    <a:extLst>
                      <a:ext uri="{FF2B5EF4-FFF2-40B4-BE49-F238E27FC236}">
                        <a16:creationId xmlns:a16="http://schemas.microsoft.com/office/drawing/2014/main" id="{8491E0B8-DFFE-F026-8A4C-42CFCE488D20}"/>
                      </a:ext>
                    </a:extLst>
                  </p:cNvPr>
                  <p:cNvGrpSpPr/>
                  <p:nvPr/>
                </p:nvGrpSpPr>
                <p:grpSpPr>
                  <a:xfrm>
                    <a:off x="11602402" y="-2089050"/>
                    <a:ext cx="62864" cy="62700"/>
                    <a:chOff x="11602402" y="-2089050"/>
                    <a:chExt cx="62864" cy="62700"/>
                  </a:xfrm>
                </p:grpSpPr>
                <p:sp>
                  <p:nvSpPr>
                    <p:cNvPr id="2825" name="Freeform 7810">
                      <a:extLst>
                        <a:ext uri="{FF2B5EF4-FFF2-40B4-BE49-F238E27FC236}">
                          <a16:creationId xmlns:a16="http://schemas.microsoft.com/office/drawing/2014/main" id="{2436A78B-6143-6AAD-50D8-65CA767397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02402" y="-2057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6" name="Freeform 7811">
                      <a:extLst>
                        <a:ext uri="{FF2B5EF4-FFF2-40B4-BE49-F238E27FC236}">
                          <a16:creationId xmlns:a16="http://schemas.microsoft.com/office/drawing/2014/main" id="{03861951-9052-D623-37F2-B1123F868A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33835" y="-2089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3" name="Graphic 26">
                    <a:extLst>
                      <a:ext uri="{FF2B5EF4-FFF2-40B4-BE49-F238E27FC236}">
                        <a16:creationId xmlns:a16="http://schemas.microsoft.com/office/drawing/2014/main" id="{5A7A4C35-40B9-138E-7524-A35575CB3B2C}"/>
                      </a:ext>
                    </a:extLst>
                  </p:cNvPr>
                  <p:cNvGrpSpPr/>
                  <p:nvPr/>
                </p:nvGrpSpPr>
                <p:grpSpPr>
                  <a:xfrm>
                    <a:off x="11604307" y="-2089050"/>
                    <a:ext cx="63817" cy="62700"/>
                    <a:chOff x="11604307" y="-2089050"/>
                    <a:chExt cx="63817" cy="62700"/>
                  </a:xfrm>
                </p:grpSpPr>
                <p:sp>
                  <p:nvSpPr>
                    <p:cNvPr id="2823" name="Freeform 7808">
                      <a:extLst>
                        <a:ext uri="{FF2B5EF4-FFF2-40B4-BE49-F238E27FC236}">
                          <a16:creationId xmlns:a16="http://schemas.microsoft.com/office/drawing/2014/main" id="{25847BA9-E556-F409-EF8C-59C634B9E7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04307" y="-2057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4" name="Freeform 7809">
                      <a:extLst>
                        <a:ext uri="{FF2B5EF4-FFF2-40B4-BE49-F238E27FC236}">
                          <a16:creationId xmlns:a16="http://schemas.microsoft.com/office/drawing/2014/main" id="{EC94969E-E1DC-079F-C9A8-886000BEB4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36692" y="-2089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4" name="Graphic 26">
                    <a:extLst>
                      <a:ext uri="{FF2B5EF4-FFF2-40B4-BE49-F238E27FC236}">
                        <a16:creationId xmlns:a16="http://schemas.microsoft.com/office/drawing/2014/main" id="{7A18DE65-18D6-8F01-AFF8-668EC7B370A6}"/>
                      </a:ext>
                    </a:extLst>
                  </p:cNvPr>
                  <p:cNvGrpSpPr/>
                  <p:nvPr/>
                </p:nvGrpSpPr>
                <p:grpSpPr>
                  <a:xfrm>
                    <a:off x="11626215" y="-2089050"/>
                    <a:ext cx="62864" cy="62700"/>
                    <a:chOff x="11626215" y="-2089050"/>
                    <a:chExt cx="62864" cy="62700"/>
                  </a:xfrm>
                </p:grpSpPr>
                <p:sp>
                  <p:nvSpPr>
                    <p:cNvPr id="2821" name="Freeform 7806">
                      <a:extLst>
                        <a:ext uri="{FF2B5EF4-FFF2-40B4-BE49-F238E27FC236}">
                          <a16:creationId xmlns:a16="http://schemas.microsoft.com/office/drawing/2014/main" id="{93794553-F7F8-6874-0F1C-DC6EB6E4EE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26215" y="-2057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2" name="Freeform 7807">
                      <a:extLst>
                        <a:ext uri="{FF2B5EF4-FFF2-40B4-BE49-F238E27FC236}">
                          <a16:creationId xmlns:a16="http://schemas.microsoft.com/office/drawing/2014/main" id="{0F72472C-735E-CDFE-003D-3A53FEDFB4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57647" y="-2089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5" name="Graphic 26">
                    <a:extLst>
                      <a:ext uri="{FF2B5EF4-FFF2-40B4-BE49-F238E27FC236}">
                        <a16:creationId xmlns:a16="http://schemas.microsoft.com/office/drawing/2014/main" id="{BBE8F114-F3E8-D478-C280-836D1E281904}"/>
                      </a:ext>
                    </a:extLst>
                  </p:cNvPr>
                  <p:cNvGrpSpPr/>
                  <p:nvPr/>
                </p:nvGrpSpPr>
                <p:grpSpPr>
                  <a:xfrm>
                    <a:off x="11942445" y="-2026350"/>
                    <a:ext cx="62864" cy="62699"/>
                    <a:chOff x="11942445" y="-2026350"/>
                    <a:chExt cx="62864" cy="62699"/>
                  </a:xfrm>
                </p:grpSpPr>
                <p:sp>
                  <p:nvSpPr>
                    <p:cNvPr id="2819" name="Freeform 7804">
                      <a:extLst>
                        <a:ext uri="{FF2B5EF4-FFF2-40B4-BE49-F238E27FC236}">
                          <a16:creationId xmlns:a16="http://schemas.microsoft.com/office/drawing/2014/main" id="{D3ABFC38-E01F-7879-76B2-1923BC9382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42445" y="-1995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20" name="Freeform 7805">
                      <a:extLst>
                        <a:ext uri="{FF2B5EF4-FFF2-40B4-BE49-F238E27FC236}">
                          <a16:creationId xmlns:a16="http://schemas.microsoft.com/office/drawing/2014/main" id="{BB9AD1E2-EC46-F3A9-81E9-DF3CED60DA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73877" y="-2026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6" name="Graphic 26">
                    <a:extLst>
                      <a:ext uri="{FF2B5EF4-FFF2-40B4-BE49-F238E27FC236}">
                        <a16:creationId xmlns:a16="http://schemas.microsoft.com/office/drawing/2014/main" id="{8F6441F6-CF3F-AA4A-F601-8379E97E3EBF}"/>
                      </a:ext>
                    </a:extLst>
                  </p:cNvPr>
                  <p:cNvGrpSpPr/>
                  <p:nvPr/>
                </p:nvGrpSpPr>
                <p:grpSpPr>
                  <a:xfrm>
                    <a:off x="12206287" y="-1972200"/>
                    <a:ext cx="62865" cy="62700"/>
                    <a:chOff x="12206287" y="-1972200"/>
                    <a:chExt cx="62865" cy="62700"/>
                  </a:xfrm>
                </p:grpSpPr>
                <p:sp>
                  <p:nvSpPr>
                    <p:cNvPr id="2817" name="Freeform 7802">
                      <a:extLst>
                        <a:ext uri="{FF2B5EF4-FFF2-40B4-BE49-F238E27FC236}">
                          <a16:creationId xmlns:a16="http://schemas.microsoft.com/office/drawing/2014/main" id="{4BC49520-2EB4-38F7-FB73-DD4467283E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206287" y="-1940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8" name="Freeform 7803">
                      <a:extLst>
                        <a:ext uri="{FF2B5EF4-FFF2-40B4-BE49-F238E27FC236}">
                          <a16:creationId xmlns:a16="http://schemas.microsoft.com/office/drawing/2014/main" id="{E1C91D64-76E9-2C25-EAD0-DB9C6315F2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237720" y="-19722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7" name="Graphic 26">
                    <a:extLst>
                      <a:ext uri="{FF2B5EF4-FFF2-40B4-BE49-F238E27FC236}">
                        <a16:creationId xmlns:a16="http://schemas.microsoft.com/office/drawing/2014/main" id="{A3708393-2AEF-AC26-5DBE-9068A2B093F4}"/>
                      </a:ext>
                    </a:extLst>
                  </p:cNvPr>
                  <p:cNvGrpSpPr/>
                  <p:nvPr/>
                </p:nvGrpSpPr>
                <p:grpSpPr>
                  <a:xfrm>
                    <a:off x="12340590" y="-1951300"/>
                    <a:ext cx="63817" cy="62700"/>
                    <a:chOff x="12340590" y="-1951300"/>
                    <a:chExt cx="63817" cy="62700"/>
                  </a:xfrm>
                </p:grpSpPr>
                <p:sp>
                  <p:nvSpPr>
                    <p:cNvPr id="2815" name="Freeform 7800">
                      <a:extLst>
                        <a:ext uri="{FF2B5EF4-FFF2-40B4-BE49-F238E27FC236}">
                          <a16:creationId xmlns:a16="http://schemas.microsoft.com/office/drawing/2014/main" id="{990B715C-41A2-4839-8964-FC4DBB32E5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340590" y="-191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6" name="Freeform 7801">
                      <a:extLst>
                        <a:ext uri="{FF2B5EF4-FFF2-40B4-BE49-F238E27FC236}">
                          <a16:creationId xmlns:a16="http://schemas.microsoft.com/office/drawing/2014/main" id="{0AEC13C4-3B82-C771-087E-7AAD95EFD2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372022" y="-195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8" name="Graphic 26">
                    <a:extLst>
                      <a:ext uri="{FF2B5EF4-FFF2-40B4-BE49-F238E27FC236}">
                        <a16:creationId xmlns:a16="http://schemas.microsoft.com/office/drawing/2014/main" id="{D972D361-BA09-ECEF-28BC-6F8DD50173A7}"/>
                      </a:ext>
                    </a:extLst>
                  </p:cNvPr>
                  <p:cNvGrpSpPr/>
                  <p:nvPr/>
                </p:nvGrpSpPr>
                <p:grpSpPr>
                  <a:xfrm>
                    <a:off x="12427267" y="-1938000"/>
                    <a:ext cx="62865" cy="63650"/>
                    <a:chOff x="12427267" y="-1938000"/>
                    <a:chExt cx="62865" cy="63650"/>
                  </a:xfrm>
                </p:grpSpPr>
                <p:sp>
                  <p:nvSpPr>
                    <p:cNvPr id="2813" name="Freeform 7798">
                      <a:extLst>
                        <a:ext uri="{FF2B5EF4-FFF2-40B4-BE49-F238E27FC236}">
                          <a16:creationId xmlns:a16="http://schemas.microsoft.com/office/drawing/2014/main" id="{DD83462C-6AAD-453B-9554-6975142F2A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27267" y="-19066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4" name="Freeform 7799">
                      <a:extLst>
                        <a:ext uri="{FF2B5EF4-FFF2-40B4-BE49-F238E27FC236}">
                          <a16:creationId xmlns:a16="http://schemas.microsoft.com/office/drawing/2014/main" id="{8688AD79-6284-C45F-4B5B-6B9A019461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58700" y="-19380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89" name="Graphic 26">
                    <a:extLst>
                      <a:ext uri="{FF2B5EF4-FFF2-40B4-BE49-F238E27FC236}">
                        <a16:creationId xmlns:a16="http://schemas.microsoft.com/office/drawing/2014/main" id="{31CC887C-D9E2-06C0-8089-0D40593B77DC}"/>
                      </a:ext>
                    </a:extLst>
                  </p:cNvPr>
                  <p:cNvGrpSpPr/>
                  <p:nvPr/>
                </p:nvGrpSpPr>
                <p:grpSpPr>
                  <a:xfrm>
                    <a:off x="12499657" y="-1910450"/>
                    <a:ext cx="63817" cy="63650"/>
                    <a:chOff x="12499657" y="-1910450"/>
                    <a:chExt cx="63817" cy="63650"/>
                  </a:xfrm>
                </p:grpSpPr>
                <p:sp>
                  <p:nvSpPr>
                    <p:cNvPr id="2811" name="Freeform 7796">
                      <a:extLst>
                        <a:ext uri="{FF2B5EF4-FFF2-40B4-BE49-F238E27FC236}">
                          <a16:creationId xmlns:a16="http://schemas.microsoft.com/office/drawing/2014/main" id="{BBD6F22C-99F3-6EAA-45D4-80A2999709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499657" y="-18791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2" name="Freeform 7797">
                      <a:extLst>
                        <a:ext uri="{FF2B5EF4-FFF2-40B4-BE49-F238E27FC236}">
                          <a16:creationId xmlns:a16="http://schemas.microsoft.com/office/drawing/2014/main" id="{FA3E9480-96BD-516E-2A25-A7674CA89F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32042" y="-19104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0" name="Graphic 26">
                    <a:extLst>
                      <a:ext uri="{FF2B5EF4-FFF2-40B4-BE49-F238E27FC236}">
                        <a16:creationId xmlns:a16="http://schemas.microsoft.com/office/drawing/2014/main" id="{5DD5C42F-D97C-D3BA-299E-80D0BD6D4D5E}"/>
                      </a:ext>
                    </a:extLst>
                  </p:cNvPr>
                  <p:cNvGrpSpPr/>
                  <p:nvPr/>
                </p:nvGrpSpPr>
                <p:grpSpPr>
                  <a:xfrm>
                    <a:off x="12662535" y="-1848700"/>
                    <a:ext cx="62865" cy="63649"/>
                    <a:chOff x="12662535" y="-1848700"/>
                    <a:chExt cx="62865" cy="63649"/>
                  </a:xfrm>
                </p:grpSpPr>
                <p:sp>
                  <p:nvSpPr>
                    <p:cNvPr id="2809" name="Freeform 7794">
                      <a:extLst>
                        <a:ext uri="{FF2B5EF4-FFF2-40B4-BE49-F238E27FC236}">
                          <a16:creationId xmlns:a16="http://schemas.microsoft.com/office/drawing/2014/main" id="{7D0B62EE-563D-9F76-367E-E688C6990A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62535" y="-18164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10" name="Freeform 7795">
                      <a:extLst>
                        <a:ext uri="{FF2B5EF4-FFF2-40B4-BE49-F238E27FC236}">
                          <a16:creationId xmlns:a16="http://schemas.microsoft.com/office/drawing/2014/main" id="{5AEF5FD5-AE6D-FF1A-38D3-0447FE94A9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693967" y="-18487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1" name="Graphic 26">
                    <a:extLst>
                      <a:ext uri="{FF2B5EF4-FFF2-40B4-BE49-F238E27FC236}">
                        <a16:creationId xmlns:a16="http://schemas.microsoft.com/office/drawing/2014/main" id="{CAB8BF01-46CE-51F8-26D1-D0DA3710C69B}"/>
                      </a:ext>
                    </a:extLst>
                  </p:cNvPr>
                  <p:cNvGrpSpPr/>
                  <p:nvPr/>
                </p:nvGrpSpPr>
                <p:grpSpPr>
                  <a:xfrm>
                    <a:off x="13211175" y="-1719500"/>
                    <a:ext cx="62865" cy="63650"/>
                    <a:chOff x="13211175" y="-1719500"/>
                    <a:chExt cx="62865" cy="63650"/>
                  </a:xfrm>
                </p:grpSpPr>
                <p:sp>
                  <p:nvSpPr>
                    <p:cNvPr id="2807" name="Freeform 7792">
                      <a:extLst>
                        <a:ext uri="{FF2B5EF4-FFF2-40B4-BE49-F238E27FC236}">
                          <a16:creationId xmlns:a16="http://schemas.microsoft.com/office/drawing/2014/main" id="{AB680494-D90F-A8F4-16A1-127146CD80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11175" y="-1688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8" name="Freeform 7793">
                      <a:extLst>
                        <a:ext uri="{FF2B5EF4-FFF2-40B4-BE49-F238E27FC236}">
                          <a16:creationId xmlns:a16="http://schemas.microsoft.com/office/drawing/2014/main" id="{06F5C33B-BBEF-DE5E-CEC0-18A38ED372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42607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2" name="Graphic 26">
                    <a:extLst>
                      <a:ext uri="{FF2B5EF4-FFF2-40B4-BE49-F238E27FC236}">
                        <a16:creationId xmlns:a16="http://schemas.microsoft.com/office/drawing/2014/main" id="{F5B2E5BF-A6FF-88A4-24EE-88F090B1E6FB}"/>
                      </a:ext>
                    </a:extLst>
                  </p:cNvPr>
                  <p:cNvGrpSpPr/>
                  <p:nvPr/>
                </p:nvGrpSpPr>
                <p:grpSpPr>
                  <a:xfrm>
                    <a:off x="13215937" y="-1719500"/>
                    <a:ext cx="62865" cy="63650"/>
                    <a:chOff x="13215937" y="-1719500"/>
                    <a:chExt cx="62865" cy="63650"/>
                  </a:xfrm>
                </p:grpSpPr>
                <p:sp>
                  <p:nvSpPr>
                    <p:cNvPr id="2805" name="Freeform 7790">
                      <a:extLst>
                        <a:ext uri="{FF2B5EF4-FFF2-40B4-BE49-F238E27FC236}">
                          <a16:creationId xmlns:a16="http://schemas.microsoft.com/office/drawing/2014/main" id="{76B06630-A65B-D069-4916-BD4F6FBCA4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15937" y="-1688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6" name="Freeform 7791">
                      <a:extLst>
                        <a:ext uri="{FF2B5EF4-FFF2-40B4-BE49-F238E27FC236}">
                          <a16:creationId xmlns:a16="http://schemas.microsoft.com/office/drawing/2014/main" id="{BC1BD287-6448-0916-6634-A2C1C6F3A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47370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3" name="Graphic 26">
                    <a:extLst>
                      <a:ext uri="{FF2B5EF4-FFF2-40B4-BE49-F238E27FC236}">
                        <a16:creationId xmlns:a16="http://schemas.microsoft.com/office/drawing/2014/main" id="{617D072E-29B1-7D20-E706-7AD751FCFA4F}"/>
                      </a:ext>
                    </a:extLst>
                  </p:cNvPr>
                  <p:cNvGrpSpPr/>
                  <p:nvPr/>
                </p:nvGrpSpPr>
                <p:grpSpPr>
                  <a:xfrm>
                    <a:off x="13221652" y="-1719500"/>
                    <a:ext cx="63817" cy="63650"/>
                    <a:chOff x="13221652" y="-1719500"/>
                    <a:chExt cx="63817" cy="63650"/>
                  </a:xfrm>
                </p:grpSpPr>
                <p:sp>
                  <p:nvSpPr>
                    <p:cNvPr id="2803" name="Freeform 7788">
                      <a:extLst>
                        <a:ext uri="{FF2B5EF4-FFF2-40B4-BE49-F238E27FC236}">
                          <a16:creationId xmlns:a16="http://schemas.microsoft.com/office/drawing/2014/main" id="{1954E64D-5C6B-96C5-CF8D-BC26D39C73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21652" y="-1688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4" name="Freeform 7789">
                      <a:extLst>
                        <a:ext uri="{FF2B5EF4-FFF2-40B4-BE49-F238E27FC236}">
                          <a16:creationId xmlns:a16="http://schemas.microsoft.com/office/drawing/2014/main" id="{0107D350-23EE-D11E-1DC4-05CFCBCE935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54037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4" name="Graphic 26">
                    <a:extLst>
                      <a:ext uri="{FF2B5EF4-FFF2-40B4-BE49-F238E27FC236}">
                        <a16:creationId xmlns:a16="http://schemas.microsoft.com/office/drawing/2014/main" id="{DEB6B00F-3B52-901D-5F3B-2907D7C7EC69}"/>
                      </a:ext>
                    </a:extLst>
                  </p:cNvPr>
                  <p:cNvGrpSpPr/>
                  <p:nvPr/>
                </p:nvGrpSpPr>
                <p:grpSpPr>
                  <a:xfrm>
                    <a:off x="13230225" y="-1719500"/>
                    <a:ext cx="62865" cy="63650"/>
                    <a:chOff x="13230225" y="-1719500"/>
                    <a:chExt cx="62865" cy="63650"/>
                  </a:xfrm>
                </p:grpSpPr>
                <p:sp>
                  <p:nvSpPr>
                    <p:cNvPr id="2801" name="Freeform 7786">
                      <a:extLst>
                        <a:ext uri="{FF2B5EF4-FFF2-40B4-BE49-F238E27FC236}">
                          <a16:creationId xmlns:a16="http://schemas.microsoft.com/office/drawing/2014/main" id="{EC87FE86-B8BF-DEA3-E3C2-E51BC5C015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0225" y="-1688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2" name="Freeform 7787">
                      <a:extLst>
                        <a:ext uri="{FF2B5EF4-FFF2-40B4-BE49-F238E27FC236}">
                          <a16:creationId xmlns:a16="http://schemas.microsoft.com/office/drawing/2014/main" id="{4FEBFC3A-D47B-EDC1-B30B-ADD492775B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61657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5" name="Graphic 26">
                    <a:extLst>
                      <a:ext uri="{FF2B5EF4-FFF2-40B4-BE49-F238E27FC236}">
                        <a16:creationId xmlns:a16="http://schemas.microsoft.com/office/drawing/2014/main" id="{36F8B92C-AF5E-B673-DA5A-A37FECE0102B}"/>
                      </a:ext>
                    </a:extLst>
                  </p:cNvPr>
                  <p:cNvGrpSpPr/>
                  <p:nvPr/>
                </p:nvGrpSpPr>
                <p:grpSpPr>
                  <a:xfrm>
                    <a:off x="13234035" y="-1719500"/>
                    <a:ext cx="63817" cy="63650"/>
                    <a:chOff x="13234035" y="-1719500"/>
                    <a:chExt cx="63817" cy="63650"/>
                  </a:xfrm>
                </p:grpSpPr>
                <p:sp>
                  <p:nvSpPr>
                    <p:cNvPr id="2799" name="Freeform 7784">
                      <a:extLst>
                        <a:ext uri="{FF2B5EF4-FFF2-40B4-BE49-F238E27FC236}">
                          <a16:creationId xmlns:a16="http://schemas.microsoft.com/office/drawing/2014/main" id="{80AE1A6E-21BC-355A-4983-27EDBC99A9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4035" y="-1688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800" name="Freeform 7785">
                      <a:extLst>
                        <a:ext uri="{FF2B5EF4-FFF2-40B4-BE49-F238E27FC236}">
                          <a16:creationId xmlns:a16="http://schemas.microsoft.com/office/drawing/2014/main" id="{D9914B84-9ADB-448F-6C9E-D91CED479A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66420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6" name="Graphic 26">
                    <a:extLst>
                      <a:ext uri="{FF2B5EF4-FFF2-40B4-BE49-F238E27FC236}">
                        <a16:creationId xmlns:a16="http://schemas.microsoft.com/office/drawing/2014/main" id="{2FFCAF0A-14F3-0AFA-B896-85F4F395265D}"/>
                      </a:ext>
                    </a:extLst>
                  </p:cNvPr>
                  <p:cNvGrpSpPr/>
                  <p:nvPr/>
                </p:nvGrpSpPr>
                <p:grpSpPr>
                  <a:xfrm>
                    <a:off x="13288327" y="-1719500"/>
                    <a:ext cx="62864" cy="63650"/>
                    <a:chOff x="13288327" y="-1719500"/>
                    <a:chExt cx="62864" cy="63650"/>
                  </a:xfrm>
                </p:grpSpPr>
                <p:sp>
                  <p:nvSpPr>
                    <p:cNvPr id="2797" name="Freeform 7782">
                      <a:extLst>
                        <a:ext uri="{FF2B5EF4-FFF2-40B4-BE49-F238E27FC236}">
                          <a16:creationId xmlns:a16="http://schemas.microsoft.com/office/drawing/2014/main" id="{5143B3D1-011C-E071-6E71-9D787F5988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8327" y="-16881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8" name="Freeform 7783">
                      <a:extLst>
                        <a:ext uri="{FF2B5EF4-FFF2-40B4-BE49-F238E27FC236}">
                          <a16:creationId xmlns:a16="http://schemas.microsoft.com/office/drawing/2014/main" id="{E60E8579-1F4B-CF9C-903A-F258CE8F0D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9760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7" name="Graphic 26">
                    <a:extLst>
                      <a:ext uri="{FF2B5EF4-FFF2-40B4-BE49-F238E27FC236}">
                        <a16:creationId xmlns:a16="http://schemas.microsoft.com/office/drawing/2014/main" id="{5F330D81-3C47-EDA5-5195-0F88F5B346DE}"/>
                      </a:ext>
                    </a:extLst>
                  </p:cNvPr>
                  <p:cNvGrpSpPr/>
                  <p:nvPr/>
                </p:nvGrpSpPr>
                <p:grpSpPr>
                  <a:xfrm>
                    <a:off x="13285470" y="-1719500"/>
                    <a:ext cx="62864" cy="63650"/>
                    <a:chOff x="13285470" y="-1719500"/>
                    <a:chExt cx="62864" cy="63650"/>
                  </a:xfrm>
                </p:grpSpPr>
                <p:sp>
                  <p:nvSpPr>
                    <p:cNvPr id="2795" name="Freeform 7780">
                      <a:extLst>
                        <a:ext uri="{FF2B5EF4-FFF2-40B4-BE49-F238E27FC236}">
                          <a16:creationId xmlns:a16="http://schemas.microsoft.com/office/drawing/2014/main" id="{F48437BE-96D7-7012-3B02-00E11A534A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5470" y="-16881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6" name="Freeform 7781">
                      <a:extLst>
                        <a:ext uri="{FF2B5EF4-FFF2-40B4-BE49-F238E27FC236}">
                          <a16:creationId xmlns:a16="http://schemas.microsoft.com/office/drawing/2014/main" id="{CFDF3450-DD6A-6C9C-DE02-8160D70CEB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6902" y="-17195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8" name="Graphic 26">
                    <a:extLst>
                      <a:ext uri="{FF2B5EF4-FFF2-40B4-BE49-F238E27FC236}">
                        <a16:creationId xmlns:a16="http://schemas.microsoft.com/office/drawing/2014/main" id="{B09FD51D-8D6C-7214-8774-B15BA63C395D}"/>
                      </a:ext>
                    </a:extLst>
                  </p:cNvPr>
                  <p:cNvGrpSpPr/>
                  <p:nvPr/>
                </p:nvGrpSpPr>
                <p:grpSpPr>
                  <a:xfrm>
                    <a:off x="13314045" y="-1708100"/>
                    <a:ext cx="62864" cy="62699"/>
                    <a:chOff x="13314045" y="-1708100"/>
                    <a:chExt cx="62864" cy="62699"/>
                  </a:xfrm>
                </p:grpSpPr>
                <p:sp>
                  <p:nvSpPr>
                    <p:cNvPr id="2793" name="Freeform 7778">
                      <a:extLst>
                        <a:ext uri="{FF2B5EF4-FFF2-40B4-BE49-F238E27FC236}">
                          <a16:creationId xmlns:a16="http://schemas.microsoft.com/office/drawing/2014/main" id="{FECEF6B4-6AF3-E7E9-02A0-A62BFEE6D3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4045" y="-1676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4" name="Freeform 7779">
                      <a:extLst>
                        <a:ext uri="{FF2B5EF4-FFF2-40B4-BE49-F238E27FC236}">
                          <a16:creationId xmlns:a16="http://schemas.microsoft.com/office/drawing/2014/main" id="{A180D055-F299-6705-3EEB-7D0D55CDBC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45477" y="-17081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499" name="Graphic 26">
                    <a:extLst>
                      <a:ext uri="{FF2B5EF4-FFF2-40B4-BE49-F238E27FC236}">
                        <a16:creationId xmlns:a16="http://schemas.microsoft.com/office/drawing/2014/main" id="{4A4ED367-27DA-AE12-ACB6-CC5A8532CAC0}"/>
                      </a:ext>
                    </a:extLst>
                  </p:cNvPr>
                  <p:cNvGrpSpPr/>
                  <p:nvPr/>
                </p:nvGrpSpPr>
                <p:grpSpPr>
                  <a:xfrm>
                    <a:off x="13321665" y="-1695750"/>
                    <a:ext cx="63817" cy="62699"/>
                    <a:chOff x="13321665" y="-1695750"/>
                    <a:chExt cx="63817" cy="62699"/>
                  </a:xfrm>
                </p:grpSpPr>
                <p:sp>
                  <p:nvSpPr>
                    <p:cNvPr id="2791" name="Freeform 7776">
                      <a:extLst>
                        <a:ext uri="{FF2B5EF4-FFF2-40B4-BE49-F238E27FC236}">
                          <a16:creationId xmlns:a16="http://schemas.microsoft.com/office/drawing/2014/main" id="{D3ADCF76-4CF9-7123-DB03-8B0EA8A773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1665" y="-1664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2" name="Freeform 7777">
                      <a:extLst>
                        <a:ext uri="{FF2B5EF4-FFF2-40B4-BE49-F238E27FC236}">
                          <a16:creationId xmlns:a16="http://schemas.microsoft.com/office/drawing/2014/main" id="{334CA54D-B9C3-6CF2-592C-0F41A69EAF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53097" y="-16957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0" name="Graphic 26">
                    <a:extLst>
                      <a:ext uri="{FF2B5EF4-FFF2-40B4-BE49-F238E27FC236}">
                        <a16:creationId xmlns:a16="http://schemas.microsoft.com/office/drawing/2014/main" id="{686C434D-A9C1-5F16-020A-550EA3473391}"/>
                      </a:ext>
                    </a:extLst>
                  </p:cNvPr>
                  <p:cNvGrpSpPr/>
                  <p:nvPr/>
                </p:nvGrpSpPr>
                <p:grpSpPr>
                  <a:xfrm>
                    <a:off x="13329285" y="-1677700"/>
                    <a:ext cx="62865" cy="62699"/>
                    <a:chOff x="13329285" y="-1677700"/>
                    <a:chExt cx="62865" cy="62699"/>
                  </a:xfrm>
                </p:grpSpPr>
                <p:sp>
                  <p:nvSpPr>
                    <p:cNvPr id="2789" name="Freeform 7774">
                      <a:extLst>
                        <a:ext uri="{FF2B5EF4-FFF2-40B4-BE49-F238E27FC236}">
                          <a16:creationId xmlns:a16="http://schemas.microsoft.com/office/drawing/2014/main" id="{00E4F41E-461A-929E-91EC-EEFB1EABBF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9285" y="-1646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90" name="Freeform 7775">
                      <a:extLst>
                        <a:ext uri="{FF2B5EF4-FFF2-40B4-BE49-F238E27FC236}">
                          <a16:creationId xmlns:a16="http://schemas.microsoft.com/office/drawing/2014/main" id="{AF1BA65E-52BF-FCB5-2BA0-684701EA07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60717" y="-16777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1" name="Graphic 26">
                    <a:extLst>
                      <a:ext uri="{FF2B5EF4-FFF2-40B4-BE49-F238E27FC236}">
                        <a16:creationId xmlns:a16="http://schemas.microsoft.com/office/drawing/2014/main" id="{D7F2B6EF-DEB0-BF03-CA01-58A51CDD4D17}"/>
                      </a:ext>
                    </a:extLst>
                  </p:cNvPr>
                  <p:cNvGrpSpPr/>
                  <p:nvPr/>
                </p:nvGrpSpPr>
                <p:grpSpPr>
                  <a:xfrm>
                    <a:off x="13336905" y="-1672000"/>
                    <a:ext cx="62865" cy="62699"/>
                    <a:chOff x="13336905" y="-1672000"/>
                    <a:chExt cx="62865" cy="62699"/>
                  </a:xfrm>
                </p:grpSpPr>
                <p:sp>
                  <p:nvSpPr>
                    <p:cNvPr id="2787" name="Freeform 7772">
                      <a:extLst>
                        <a:ext uri="{FF2B5EF4-FFF2-40B4-BE49-F238E27FC236}">
                          <a16:creationId xmlns:a16="http://schemas.microsoft.com/office/drawing/2014/main" id="{CBCA4D21-B7FC-9FA4-B7E5-DDE213B20C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6905" y="-16406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8" name="Freeform 7773">
                      <a:extLst>
                        <a:ext uri="{FF2B5EF4-FFF2-40B4-BE49-F238E27FC236}">
                          <a16:creationId xmlns:a16="http://schemas.microsoft.com/office/drawing/2014/main" id="{8671AC1B-322A-8A8A-4F76-3F586C0C62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68337" y="-16720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2" name="Graphic 26">
                    <a:extLst>
                      <a:ext uri="{FF2B5EF4-FFF2-40B4-BE49-F238E27FC236}">
                        <a16:creationId xmlns:a16="http://schemas.microsoft.com/office/drawing/2014/main" id="{FDB0297D-78E4-27E9-E7B6-7BB23D367E55}"/>
                      </a:ext>
                    </a:extLst>
                  </p:cNvPr>
                  <p:cNvGrpSpPr/>
                  <p:nvPr/>
                </p:nvGrpSpPr>
                <p:grpSpPr>
                  <a:xfrm>
                    <a:off x="13343572" y="-1672000"/>
                    <a:ext cx="63817" cy="62699"/>
                    <a:chOff x="13343572" y="-1672000"/>
                    <a:chExt cx="63817" cy="62699"/>
                  </a:xfrm>
                </p:grpSpPr>
                <p:sp>
                  <p:nvSpPr>
                    <p:cNvPr id="2785" name="Freeform 7770">
                      <a:extLst>
                        <a:ext uri="{FF2B5EF4-FFF2-40B4-BE49-F238E27FC236}">
                          <a16:creationId xmlns:a16="http://schemas.microsoft.com/office/drawing/2014/main" id="{539FCEE4-22D5-A5EA-DE8D-902D6C9A8B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43572" y="-16406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6" name="Freeform 7771">
                      <a:extLst>
                        <a:ext uri="{FF2B5EF4-FFF2-40B4-BE49-F238E27FC236}">
                          <a16:creationId xmlns:a16="http://schemas.microsoft.com/office/drawing/2014/main" id="{DD94B308-BA49-ADFB-8281-94DCE15ADD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75957" y="-16720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3" name="Graphic 26">
                    <a:extLst>
                      <a:ext uri="{FF2B5EF4-FFF2-40B4-BE49-F238E27FC236}">
                        <a16:creationId xmlns:a16="http://schemas.microsoft.com/office/drawing/2014/main" id="{C4C9D6D8-7E5E-357A-63B7-3DDFE7D38109}"/>
                      </a:ext>
                    </a:extLst>
                  </p:cNvPr>
                  <p:cNvGrpSpPr/>
                  <p:nvPr/>
                </p:nvGrpSpPr>
                <p:grpSpPr>
                  <a:xfrm>
                    <a:off x="13354050" y="-1672000"/>
                    <a:ext cx="63817" cy="62699"/>
                    <a:chOff x="13354050" y="-1672000"/>
                    <a:chExt cx="63817" cy="62699"/>
                  </a:xfrm>
                </p:grpSpPr>
                <p:sp>
                  <p:nvSpPr>
                    <p:cNvPr id="2783" name="Freeform 7768">
                      <a:extLst>
                        <a:ext uri="{FF2B5EF4-FFF2-40B4-BE49-F238E27FC236}">
                          <a16:creationId xmlns:a16="http://schemas.microsoft.com/office/drawing/2014/main" id="{44AB0391-7F1F-796D-BE96-F52A79C196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54050" y="-16406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4" name="Freeform 7769">
                      <a:extLst>
                        <a:ext uri="{FF2B5EF4-FFF2-40B4-BE49-F238E27FC236}">
                          <a16:creationId xmlns:a16="http://schemas.microsoft.com/office/drawing/2014/main" id="{FCEC59AF-8EEC-B74D-8EB1-1312CE58A4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85482" y="-16720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4" name="Graphic 26">
                    <a:extLst>
                      <a:ext uri="{FF2B5EF4-FFF2-40B4-BE49-F238E27FC236}">
                        <a16:creationId xmlns:a16="http://schemas.microsoft.com/office/drawing/2014/main" id="{1D2C6EA7-D0A9-FA19-3967-C6E51375C2DC}"/>
                      </a:ext>
                    </a:extLst>
                  </p:cNvPr>
                  <p:cNvGrpSpPr/>
                  <p:nvPr/>
                </p:nvGrpSpPr>
                <p:grpSpPr>
                  <a:xfrm>
                    <a:off x="13381672" y="-1625450"/>
                    <a:ext cx="62865" cy="62699"/>
                    <a:chOff x="13381672" y="-1625450"/>
                    <a:chExt cx="62865" cy="62699"/>
                  </a:xfrm>
                </p:grpSpPr>
                <p:sp>
                  <p:nvSpPr>
                    <p:cNvPr id="2781" name="Freeform 7766">
                      <a:extLst>
                        <a:ext uri="{FF2B5EF4-FFF2-40B4-BE49-F238E27FC236}">
                          <a16:creationId xmlns:a16="http://schemas.microsoft.com/office/drawing/2014/main" id="{A0DAA8D4-B8FB-A82D-29C9-0F447A512E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81672" y="-15941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2" name="Freeform 7767">
                      <a:extLst>
                        <a:ext uri="{FF2B5EF4-FFF2-40B4-BE49-F238E27FC236}">
                          <a16:creationId xmlns:a16="http://schemas.microsoft.com/office/drawing/2014/main" id="{5E27834B-3BA5-479B-4FAA-392B1F5944B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13105" y="-16254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5" name="Graphic 26">
                    <a:extLst>
                      <a:ext uri="{FF2B5EF4-FFF2-40B4-BE49-F238E27FC236}">
                        <a16:creationId xmlns:a16="http://schemas.microsoft.com/office/drawing/2014/main" id="{2955FA55-21CE-18DE-0D02-2329A71397A2}"/>
                      </a:ext>
                    </a:extLst>
                  </p:cNvPr>
                  <p:cNvGrpSpPr/>
                  <p:nvPr/>
                </p:nvGrpSpPr>
                <p:grpSpPr>
                  <a:xfrm>
                    <a:off x="13362622" y="-1672950"/>
                    <a:ext cx="62865" cy="62699"/>
                    <a:chOff x="13362622" y="-1672950"/>
                    <a:chExt cx="62865" cy="62699"/>
                  </a:xfrm>
                </p:grpSpPr>
                <p:sp>
                  <p:nvSpPr>
                    <p:cNvPr id="2779" name="Freeform 7764">
                      <a:extLst>
                        <a:ext uri="{FF2B5EF4-FFF2-40B4-BE49-F238E27FC236}">
                          <a16:creationId xmlns:a16="http://schemas.microsoft.com/office/drawing/2014/main" id="{7E67D08E-D05F-906C-04C8-1699259C9D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62622" y="-1641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80" name="Freeform 7765">
                      <a:extLst>
                        <a:ext uri="{FF2B5EF4-FFF2-40B4-BE49-F238E27FC236}">
                          <a16:creationId xmlns:a16="http://schemas.microsoft.com/office/drawing/2014/main" id="{B628DFA5-6BDB-87D0-3AFA-6A744F954C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4055" y="-16729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6" name="Graphic 26">
                    <a:extLst>
                      <a:ext uri="{FF2B5EF4-FFF2-40B4-BE49-F238E27FC236}">
                        <a16:creationId xmlns:a16="http://schemas.microsoft.com/office/drawing/2014/main" id="{8EF7EB67-529C-CBD7-38FA-BCFBB9C556CF}"/>
                      </a:ext>
                    </a:extLst>
                  </p:cNvPr>
                  <p:cNvGrpSpPr/>
                  <p:nvPr/>
                </p:nvGrpSpPr>
                <p:grpSpPr>
                  <a:xfrm>
                    <a:off x="13396912" y="-1621650"/>
                    <a:ext cx="62865" cy="62700"/>
                    <a:chOff x="13396912" y="-1621650"/>
                    <a:chExt cx="62865" cy="62700"/>
                  </a:xfrm>
                </p:grpSpPr>
                <p:sp>
                  <p:nvSpPr>
                    <p:cNvPr id="2777" name="Freeform 7762">
                      <a:extLst>
                        <a:ext uri="{FF2B5EF4-FFF2-40B4-BE49-F238E27FC236}">
                          <a16:creationId xmlns:a16="http://schemas.microsoft.com/office/drawing/2014/main" id="{7725A4AE-C24E-F287-7038-4C42E902DD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6912" y="-1590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8" name="Freeform 7763">
                      <a:extLst>
                        <a:ext uri="{FF2B5EF4-FFF2-40B4-BE49-F238E27FC236}">
                          <a16:creationId xmlns:a16="http://schemas.microsoft.com/office/drawing/2014/main" id="{386B2BF1-96BD-6651-8268-13A42270DA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28345" y="-1621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7" name="Graphic 26">
                    <a:extLst>
                      <a:ext uri="{FF2B5EF4-FFF2-40B4-BE49-F238E27FC236}">
                        <a16:creationId xmlns:a16="http://schemas.microsoft.com/office/drawing/2014/main" id="{DBA9F86B-614B-E2C8-D335-3B775B78737E}"/>
                      </a:ext>
                    </a:extLst>
                  </p:cNvPr>
                  <p:cNvGrpSpPr/>
                  <p:nvPr/>
                </p:nvGrpSpPr>
                <p:grpSpPr>
                  <a:xfrm>
                    <a:off x="13421677" y="-1603600"/>
                    <a:ext cx="62864" cy="62699"/>
                    <a:chOff x="13421677" y="-1603600"/>
                    <a:chExt cx="62864" cy="62699"/>
                  </a:xfrm>
                </p:grpSpPr>
                <p:sp>
                  <p:nvSpPr>
                    <p:cNvPr id="2775" name="Freeform 7760">
                      <a:extLst>
                        <a:ext uri="{FF2B5EF4-FFF2-40B4-BE49-F238E27FC236}">
                          <a16:creationId xmlns:a16="http://schemas.microsoft.com/office/drawing/2014/main" id="{B1A65BC5-90F2-A5C0-68C1-E2759DF45C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21677" y="-1572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6" name="Freeform 7761">
                      <a:extLst>
                        <a:ext uri="{FF2B5EF4-FFF2-40B4-BE49-F238E27FC236}">
                          <a16:creationId xmlns:a16="http://schemas.microsoft.com/office/drawing/2014/main" id="{3658EBFA-39B6-9A7C-29E7-8F15C0A27C7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53110" y="-16036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8" name="Graphic 26">
                    <a:extLst>
                      <a:ext uri="{FF2B5EF4-FFF2-40B4-BE49-F238E27FC236}">
                        <a16:creationId xmlns:a16="http://schemas.microsoft.com/office/drawing/2014/main" id="{3DDD9ACD-0531-54A5-FD81-5142020A6006}"/>
                      </a:ext>
                    </a:extLst>
                  </p:cNvPr>
                  <p:cNvGrpSpPr/>
                  <p:nvPr/>
                </p:nvGrpSpPr>
                <p:grpSpPr>
                  <a:xfrm>
                    <a:off x="13485495" y="-1574150"/>
                    <a:ext cx="62864" cy="62700"/>
                    <a:chOff x="13485495" y="-1574150"/>
                    <a:chExt cx="62864" cy="62700"/>
                  </a:xfrm>
                </p:grpSpPr>
                <p:sp>
                  <p:nvSpPr>
                    <p:cNvPr id="2773" name="Freeform 7758">
                      <a:extLst>
                        <a:ext uri="{FF2B5EF4-FFF2-40B4-BE49-F238E27FC236}">
                          <a16:creationId xmlns:a16="http://schemas.microsoft.com/office/drawing/2014/main" id="{8631A54D-277A-2B1C-4826-371D341FD1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85495" y="-1542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4" name="Freeform 7759">
                      <a:extLst>
                        <a:ext uri="{FF2B5EF4-FFF2-40B4-BE49-F238E27FC236}">
                          <a16:creationId xmlns:a16="http://schemas.microsoft.com/office/drawing/2014/main" id="{EE1FEA15-C214-8881-9219-6179AC3CBC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6927" y="-1574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09" name="Graphic 26">
                    <a:extLst>
                      <a:ext uri="{FF2B5EF4-FFF2-40B4-BE49-F238E27FC236}">
                        <a16:creationId xmlns:a16="http://schemas.microsoft.com/office/drawing/2014/main" id="{742BECEE-F150-C4BE-686F-AC52CC4D11AD}"/>
                      </a:ext>
                    </a:extLst>
                  </p:cNvPr>
                  <p:cNvGrpSpPr/>
                  <p:nvPr/>
                </p:nvGrpSpPr>
                <p:grpSpPr>
                  <a:xfrm>
                    <a:off x="13488352" y="-1574150"/>
                    <a:ext cx="63817" cy="62700"/>
                    <a:chOff x="13488352" y="-1574150"/>
                    <a:chExt cx="63817" cy="62700"/>
                  </a:xfrm>
                </p:grpSpPr>
                <p:sp>
                  <p:nvSpPr>
                    <p:cNvPr id="2771" name="Freeform 7756">
                      <a:extLst>
                        <a:ext uri="{FF2B5EF4-FFF2-40B4-BE49-F238E27FC236}">
                          <a16:creationId xmlns:a16="http://schemas.microsoft.com/office/drawing/2014/main" id="{3BA31A7D-5D5E-7DC5-1BF0-0D3421CE81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88352" y="-154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2" name="Freeform 7757">
                      <a:extLst>
                        <a:ext uri="{FF2B5EF4-FFF2-40B4-BE49-F238E27FC236}">
                          <a16:creationId xmlns:a16="http://schemas.microsoft.com/office/drawing/2014/main" id="{DAD5A843-B9E4-43BA-8C4D-BD3F3DBAA72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9785" y="-1574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0" name="Graphic 26">
                    <a:extLst>
                      <a:ext uri="{FF2B5EF4-FFF2-40B4-BE49-F238E27FC236}">
                        <a16:creationId xmlns:a16="http://schemas.microsoft.com/office/drawing/2014/main" id="{2AC05366-03C1-1796-BA60-A4B119DE513E}"/>
                      </a:ext>
                    </a:extLst>
                  </p:cNvPr>
                  <p:cNvGrpSpPr/>
                  <p:nvPr/>
                </p:nvGrpSpPr>
                <p:grpSpPr>
                  <a:xfrm>
                    <a:off x="13411200" y="-1621650"/>
                    <a:ext cx="62865" cy="62700"/>
                    <a:chOff x="13411200" y="-1621650"/>
                    <a:chExt cx="62865" cy="62700"/>
                  </a:xfrm>
                </p:grpSpPr>
                <p:sp>
                  <p:nvSpPr>
                    <p:cNvPr id="2769" name="Freeform 7754">
                      <a:extLst>
                        <a:ext uri="{FF2B5EF4-FFF2-40B4-BE49-F238E27FC236}">
                          <a16:creationId xmlns:a16="http://schemas.microsoft.com/office/drawing/2014/main" id="{E51BA7FC-EC7B-D673-56BE-D67E88A296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11200" y="-1590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70" name="Freeform 7755">
                      <a:extLst>
                        <a:ext uri="{FF2B5EF4-FFF2-40B4-BE49-F238E27FC236}">
                          <a16:creationId xmlns:a16="http://schemas.microsoft.com/office/drawing/2014/main" id="{F9F25B8D-A3F4-CE83-42B9-8FD3152950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42632" y="-1621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1" name="Graphic 26">
                    <a:extLst>
                      <a:ext uri="{FF2B5EF4-FFF2-40B4-BE49-F238E27FC236}">
                        <a16:creationId xmlns:a16="http://schemas.microsoft.com/office/drawing/2014/main" id="{84730656-73A1-33DF-C202-5EE395618093}"/>
                      </a:ext>
                    </a:extLst>
                  </p:cNvPr>
                  <p:cNvGrpSpPr/>
                  <p:nvPr/>
                </p:nvGrpSpPr>
                <p:grpSpPr>
                  <a:xfrm>
                    <a:off x="13540740" y="-1554200"/>
                    <a:ext cx="63817" cy="63649"/>
                    <a:chOff x="13540740" y="-1554200"/>
                    <a:chExt cx="63817" cy="63649"/>
                  </a:xfrm>
                </p:grpSpPr>
                <p:sp>
                  <p:nvSpPr>
                    <p:cNvPr id="2767" name="Freeform 7752">
                      <a:extLst>
                        <a:ext uri="{FF2B5EF4-FFF2-40B4-BE49-F238E27FC236}">
                          <a16:creationId xmlns:a16="http://schemas.microsoft.com/office/drawing/2014/main" id="{0ADDCE0D-D00F-8175-243F-5F7FDD42F4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40740" y="-1522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8" name="Freeform 7753">
                      <a:extLst>
                        <a:ext uri="{FF2B5EF4-FFF2-40B4-BE49-F238E27FC236}">
                          <a16:creationId xmlns:a16="http://schemas.microsoft.com/office/drawing/2014/main" id="{178C7E36-6AF4-6420-0FD7-E9E2787F8B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72172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2" name="Graphic 26">
                    <a:extLst>
                      <a:ext uri="{FF2B5EF4-FFF2-40B4-BE49-F238E27FC236}">
                        <a16:creationId xmlns:a16="http://schemas.microsoft.com/office/drawing/2014/main" id="{FFCC1CFE-5954-E8A7-00E0-80063658421A}"/>
                      </a:ext>
                    </a:extLst>
                  </p:cNvPr>
                  <p:cNvGrpSpPr/>
                  <p:nvPr/>
                </p:nvGrpSpPr>
                <p:grpSpPr>
                  <a:xfrm>
                    <a:off x="13548360" y="-1554200"/>
                    <a:ext cx="62865" cy="63649"/>
                    <a:chOff x="13548360" y="-1554200"/>
                    <a:chExt cx="62865" cy="63649"/>
                  </a:xfrm>
                </p:grpSpPr>
                <p:sp>
                  <p:nvSpPr>
                    <p:cNvPr id="2765" name="Freeform 7750">
                      <a:extLst>
                        <a:ext uri="{FF2B5EF4-FFF2-40B4-BE49-F238E27FC236}">
                          <a16:creationId xmlns:a16="http://schemas.microsoft.com/office/drawing/2014/main" id="{60D8B30B-D9DB-D9FF-D5D6-12B4E11E49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48360" y="-1522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6" name="Freeform 7751">
                      <a:extLst>
                        <a:ext uri="{FF2B5EF4-FFF2-40B4-BE49-F238E27FC236}">
                          <a16:creationId xmlns:a16="http://schemas.microsoft.com/office/drawing/2014/main" id="{079A39B0-9140-8DAD-BA9D-4F87CD419C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79792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3" name="Graphic 26">
                    <a:extLst>
                      <a:ext uri="{FF2B5EF4-FFF2-40B4-BE49-F238E27FC236}">
                        <a16:creationId xmlns:a16="http://schemas.microsoft.com/office/drawing/2014/main" id="{ACAAC5BD-ED98-BA8F-6CDD-C1F637A9B290}"/>
                      </a:ext>
                    </a:extLst>
                  </p:cNvPr>
                  <p:cNvGrpSpPr/>
                  <p:nvPr/>
                </p:nvGrpSpPr>
                <p:grpSpPr>
                  <a:xfrm>
                    <a:off x="13553122" y="-1554200"/>
                    <a:ext cx="63817" cy="63649"/>
                    <a:chOff x="13553122" y="-1554200"/>
                    <a:chExt cx="63817" cy="63649"/>
                  </a:xfrm>
                </p:grpSpPr>
                <p:sp>
                  <p:nvSpPr>
                    <p:cNvPr id="2763" name="Freeform 7748">
                      <a:extLst>
                        <a:ext uri="{FF2B5EF4-FFF2-40B4-BE49-F238E27FC236}">
                          <a16:creationId xmlns:a16="http://schemas.microsoft.com/office/drawing/2014/main" id="{09D338D4-1E2F-D6E5-644D-ABC47E72E1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3122" y="-1522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4" name="Freeform 7749">
                      <a:extLst>
                        <a:ext uri="{FF2B5EF4-FFF2-40B4-BE49-F238E27FC236}">
                          <a16:creationId xmlns:a16="http://schemas.microsoft.com/office/drawing/2014/main" id="{57DD4C64-93BD-0509-CC8C-AA8C4526F0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4555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4" name="Graphic 26">
                    <a:extLst>
                      <a:ext uri="{FF2B5EF4-FFF2-40B4-BE49-F238E27FC236}">
                        <a16:creationId xmlns:a16="http://schemas.microsoft.com/office/drawing/2014/main" id="{C09B100E-1604-88C3-A71A-BBA125367307}"/>
                      </a:ext>
                    </a:extLst>
                  </p:cNvPr>
                  <p:cNvGrpSpPr/>
                  <p:nvPr/>
                </p:nvGrpSpPr>
                <p:grpSpPr>
                  <a:xfrm>
                    <a:off x="13559790" y="-1554200"/>
                    <a:ext cx="62864" cy="63649"/>
                    <a:chOff x="13559790" y="-1554200"/>
                    <a:chExt cx="62864" cy="63649"/>
                  </a:xfrm>
                </p:grpSpPr>
                <p:sp>
                  <p:nvSpPr>
                    <p:cNvPr id="2761" name="Freeform 7746">
                      <a:extLst>
                        <a:ext uri="{FF2B5EF4-FFF2-40B4-BE49-F238E27FC236}">
                          <a16:creationId xmlns:a16="http://schemas.microsoft.com/office/drawing/2014/main" id="{025092C9-B058-F870-CFD6-CBEAB55BE4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9790" y="-1522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2" name="Freeform 7747">
                      <a:extLst>
                        <a:ext uri="{FF2B5EF4-FFF2-40B4-BE49-F238E27FC236}">
                          <a16:creationId xmlns:a16="http://schemas.microsoft.com/office/drawing/2014/main" id="{63B00E9D-CDFF-49A0-C02A-9492E510F8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1222" y="-15542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5" name="Graphic 26">
                    <a:extLst>
                      <a:ext uri="{FF2B5EF4-FFF2-40B4-BE49-F238E27FC236}">
                        <a16:creationId xmlns:a16="http://schemas.microsoft.com/office/drawing/2014/main" id="{1A085B00-561A-557D-338B-55DB5501ED7F}"/>
                      </a:ext>
                    </a:extLst>
                  </p:cNvPr>
                  <p:cNvGrpSpPr/>
                  <p:nvPr/>
                </p:nvGrpSpPr>
                <p:grpSpPr>
                  <a:xfrm>
                    <a:off x="13560742" y="-1537100"/>
                    <a:ext cx="62865" cy="63650"/>
                    <a:chOff x="13560742" y="-1537100"/>
                    <a:chExt cx="62865" cy="63650"/>
                  </a:xfrm>
                </p:grpSpPr>
                <p:sp>
                  <p:nvSpPr>
                    <p:cNvPr id="2759" name="Freeform 7744">
                      <a:extLst>
                        <a:ext uri="{FF2B5EF4-FFF2-40B4-BE49-F238E27FC236}">
                          <a16:creationId xmlns:a16="http://schemas.microsoft.com/office/drawing/2014/main" id="{0C3FAD7C-183A-2DD9-C118-FECFBEAC2D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0742" y="-1504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60" name="Freeform 7745">
                      <a:extLst>
                        <a:ext uri="{FF2B5EF4-FFF2-40B4-BE49-F238E27FC236}">
                          <a16:creationId xmlns:a16="http://schemas.microsoft.com/office/drawing/2014/main" id="{5B436603-5949-76AF-2767-7F76F0E4BA8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2175" y="-15371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6" name="Graphic 26">
                    <a:extLst>
                      <a:ext uri="{FF2B5EF4-FFF2-40B4-BE49-F238E27FC236}">
                        <a16:creationId xmlns:a16="http://schemas.microsoft.com/office/drawing/2014/main" id="{EE7722B2-3141-A4B6-75DB-BD8811360375}"/>
                      </a:ext>
                    </a:extLst>
                  </p:cNvPr>
                  <p:cNvGrpSpPr/>
                  <p:nvPr/>
                </p:nvGrpSpPr>
                <p:grpSpPr>
                  <a:xfrm>
                    <a:off x="13564552" y="-1532350"/>
                    <a:ext cx="62864" cy="62699"/>
                    <a:chOff x="13564552" y="-1532350"/>
                    <a:chExt cx="62864" cy="62699"/>
                  </a:xfrm>
                </p:grpSpPr>
                <p:sp>
                  <p:nvSpPr>
                    <p:cNvPr id="2757" name="Freeform 7742">
                      <a:extLst>
                        <a:ext uri="{FF2B5EF4-FFF2-40B4-BE49-F238E27FC236}">
                          <a16:creationId xmlns:a16="http://schemas.microsoft.com/office/drawing/2014/main" id="{DC6527EB-4B24-5DCC-F3FE-332F9F40A2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4552" y="-1501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8" name="Freeform 7743">
                      <a:extLst>
                        <a:ext uri="{FF2B5EF4-FFF2-40B4-BE49-F238E27FC236}">
                          <a16:creationId xmlns:a16="http://schemas.microsoft.com/office/drawing/2014/main" id="{E6F1B61E-69BB-8080-3D86-FA7ED41BC3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5985" y="-1532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7" name="Graphic 26">
                    <a:extLst>
                      <a:ext uri="{FF2B5EF4-FFF2-40B4-BE49-F238E27FC236}">
                        <a16:creationId xmlns:a16="http://schemas.microsoft.com/office/drawing/2014/main" id="{4E2A4382-D60B-3480-533A-479B38D7F641}"/>
                      </a:ext>
                    </a:extLst>
                  </p:cNvPr>
                  <p:cNvGrpSpPr/>
                  <p:nvPr/>
                </p:nvGrpSpPr>
                <p:grpSpPr>
                  <a:xfrm>
                    <a:off x="13618845" y="-1464900"/>
                    <a:ext cx="62864" cy="62700"/>
                    <a:chOff x="13618845" y="-1464900"/>
                    <a:chExt cx="62864" cy="62700"/>
                  </a:xfrm>
                </p:grpSpPr>
                <p:sp>
                  <p:nvSpPr>
                    <p:cNvPr id="2755" name="Freeform 7740">
                      <a:extLst>
                        <a:ext uri="{FF2B5EF4-FFF2-40B4-BE49-F238E27FC236}">
                          <a16:creationId xmlns:a16="http://schemas.microsoft.com/office/drawing/2014/main" id="{FF552F4B-62D4-1B33-6BB4-2EEA414096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18845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6" name="Freeform 7741">
                      <a:extLst>
                        <a:ext uri="{FF2B5EF4-FFF2-40B4-BE49-F238E27FC236}">
                          <a16:creationId xmlns:a16="http://schemas.microsoft.com/office/drawing/2014/main" id="{497E6E6B-7BBF-40C7-39F6-127A63DCAE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5027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8" name="Graphic 26">
                    <a:extLst>
                      <a:ext uri="{FF2B5EF4-FFF2-40B4-BE49-F238E27FC236}">
                        <a16:creationId xmlns:a16="http://schemas.microsoft.com/office/drawing/2014/main" id="{37A69526-FE6B-578E-1205-BBE8DFD57E1E}"/>
                      </a:ext>
                    </a:extLst>
                  </p:cNvPr>
                  <p:cNvGrpSpPr/>
                  <p:nvPr/>
                </p:nvGrpSpPr>
                <p:grpSpPr>
                  <a:xfrm>
                    <a:off x="13621702" y="-1464900"/>
                    <a:ext cx="63817" cy="62700"/>
                    <a:chOff x="13621702" y="-1464900"/>
                    <a:chExt cx="63817" cy="62700"/>
                  </a:xfrm>
                </p:grpSpPr>
                <p:sp>
                  <p:nvSpPr>
                    <p:cNvPr id="2753" name="Freeform 7738">
                      <a:extLst>
                        <a:ext uri="{FF2B5EF4-FFF2-40B4-BE49-F238E27FC236}">
                          <a16:creationId xmlns:a16="http://schemas.microsoft.com/office/drawing/2014/main" id="{E5406344-BDB9-EF74-7441-3739731C49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1702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4" name="Freeform 7739">
                      <a:extLst>
                        <a:ext uri="{FF2B5EF4-FFF2-40B4-BE49-F238E27FC236}">
                          <a16:creationId xmlns:a16="http://schemas.microsoft.com/office/drawing/2014/main" id="{51F168C2-9946-22C2-6654-5D0E51B4C6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5313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19" name="Graphic 26">
                    <a:extLst>
                      <a:ext uri="{FF2B5EF4-FFF2-40B4-BE49-F238E27FC236}">
                        <a16:creationId xmlns:a16="http://schemas.microsoft.com/office/drawing/2014/main" id="{6ADC318B-7229-1B7D-09E4-1F9F6A4CC02A}"/>
                      </a:ext>
                    </a:extLst>
                  </p:cNvPr>
                  <p:cNvGrpSpPr/>
                  <p:nvPr/>
                </p:nvGrpSpPr>
                <p:grpSpPr>
                  <a:xfrm>
                    <a:off x="13641705" y="-1464900"/>
                    <a:ext cx="63817" cy="62700"/>
                    <a:chOff x="13641705" y="-1464900"/>
                    <a:chExt cx="63817" cy="62700"/>
                  </a:xfrm>
                </p:grpSpPr>
                <p:sp>
                  <p:nvSpPr>
                    <p:cNvPr id="2751" name="Freeform 7736">
                      <a:extLst>
                        <a:ext uri="{FF2B5EF4-FFF2-40B4-BE49-F238E27FC236}">
                          <a16:creationId xmlns:a16="http://schemas.microsoft.com/office/drawing/2014/main" id="{F02DFD60-F7EA-8BA6-C228-DA43836888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41705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2" name="Freeform 7737">
                      <a:extLst>
                        <a:ext uri="{FF2B5EF4-FFF2-40B4-BE49-F238E27FC236}">
                          <a16:creationId xmlns:a16="http://schemas.microsoft.com/office/drawing/2014/main" id="{D51E3683-A933-339F-1183-9A836BBA79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7313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0" name="Graphic 26">
                    <a:extLst>
                      <a:ext uri="{FF2B5EF4-FFF2-40B4-BE49-F238E27FC236}">
                        <a16:creationId xmlns:a16="http://schemas.microsoft.com/office/drawing/2014/main" id="{2A782B12-4285-557A-B996-4A5D9979A8EB}"/>
                      </a:ext>
                    </a:extLst>
                  </p:cNvPr>
                  <p:cNvGrpSpPr/>
                  <p:nvPr/>
                </p:nvGrpSpPr>
                <p:grpSpPr>
                  <a:xfrm>
                    <a:off x="13705522" y="-1464900"/>
                    <a:ext cx="62865" cy="62700"/>
                    <a:chOff x="13705522" y="-1464900"/>
                    <a:chExt cx="62865" cy="62700"/>
                  </a:xfrm>
                </p:grpSpPr>
                <p:sp>
                  <p:nvSpPr>
                    <p:cNvPr id="2749" name="Freeform 7734">
                      <a:extLst>
                        <a:ext uri="{FF2B5EF4-FFF2-40B4-BE49-F238E27FC236}">
                          <a16:creationId xmlns:a16="http://schemas.microsoft.com/office/drawing/2014/main" id="{815FDA44-3786-5443-117F-94ECAEF2A88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05522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50" name="Freeform 7735">
                      <a:extLst>
                        <a:ext uri="{FF2B5EF4-FFF2-40B4-BE49-F238E27FC236}">
                          <a16:creationId xmlns:a16="http://schemas.microsoft.com/office/drawing/2014/main" id="{6E6773DC-8A1F-1848-3151-862303D428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3695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1" name="Graphic 26">
                    <a:extLst>
                      <a:ext uri="{FF2B5EF4-FFF2-40B4-BE49-F238E27FC236}">
                        <a16:creationId xmlns:a16="http://schemas.microsoft.com/office/drawing/2014/main" id="{EC083B21-72AA-1B64-D68B-D2BE934A3941}"/>
                      </a:ext>
                    </a:extLst>
                  </p:cNvPr>
                  <p:cNvGrpSpPr/>
                  <p:nvPr/>
                </p:nvGrpSpPr>
                <p:grpSpPr>
                  <a:xfrm>
                    <a:off x="13720762" y="-1464900"/>
                    <a:ext cx="62865" cy="62700"/>
                    <a:chOff x="13720762" y="-1464900"/>
                    <a:chExt cx="62865" cy="62700"/>
                  </a:xfrm>
                </p:grpSpPr>
                <p:sp>
                  <p:nvSpPr>
                    <p:cNvPr id="2747" name="Freeform 7732">
                      <a:extLst>
                        <a:ext uri="{FF2B5EF4-FFF2-40B4-BE49-F238E27FC236}">
                          <a16:creationId xmlns:a16="http://schemas.microsoft.com/office/drawing/2014/main" id="{AA546719-988E-E8BF-84A2-2DF25021E3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0762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8" name="Freeform 7733">
                      <a:extLst>
                        <a:ext uri="{FF2B5EF4-FFF2-40B4-BE49-F238E27FC236}">
                          <a16:creationId xmlns:a16="http://schemas.microsoft.com/office/drawing/2014/main" id="{25CD3F4C-2B12-0434-A2A2-AAE24F4AA1B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219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2" name="Graphic 26">
                    <a:extLst>
                      <a:ext uri="{FF2B5EF4-FFF2-40B4-BE49-F238E27FC236}">
                        <a16:creationId xmlns:a16="http://schemas.microsoft.com/office/drawing/2014/main" id="{3CC169E8-84FB-FC8D-D7B8-5A4A989CF692}"/>
                      </a:ext>
                    </a:extLst>
                  </p:cNvPr>
                  <p:cNvGrpSpPr/>
                  <p:nvPr/>
                </p:nvGrpSpPr>
                <p:grpSpPr>
                  <a:xfrm>
                    <a:off x="13727430" y="-1464900"/>
                    <a:ext cx="62865" cy="62700"/>
                    <a:chOff x="13727430" y="-1464900"/>
                    <a:chExt cx="62865" cy="62700"/>
                  </a:xfrm>
                </p:grpSpPr>
                <p:sp>
                  <p:nvSpPr>
                    <p:cNvPr id="2745" name="Freeform 7730">
                      <a:extLst>
                        <a:ext uri="{FF2B5EF4-FFF2-40B4-BE49-F238E27FC236}">
                          <a16:creationId xmlns:a16="http://schemas.microsoft.com/office/drawing/2014/main" id="{AF2B3257-7A55-AB4A-A734-415C8FDAE0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7430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6" name="Freeform 7731">
                      <a:extLst>
                        <a:ext uri="{FF2B5EF4-FFF2-40B4-BE49-F238E27FC236}">
                          <a16:creationId xmlns:a16="http://schemas.microsoft.com/office/drawing/2014/main" id="{F87A9AB2-6F6F-AF2F-1305-0C7DBABF3B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886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3" name="Graphic 26">
                    <a:extLst>
                      <a:ext uri="{FF2B5EF4-FFF2-40B4-BE49-F238E27FC236}">
                        <a16:creationId xmlns:a16="http://schemas.microsoft.com/office/drawing/2014/main" id="{AC39FECB-3100-5AAA-A1A0-92C29E33E9AE}"/>
                      </a:ext>
                    </a:extLst>
                  </p:cNvPr>
                  <p:cNvGrpSpPr/>
                  <p:nvPr/>
                </p:nvGrpSpPr>
                <p:grpSpPr>
                  <a:xfrm>
                    <a:off x="13732192" y="-1464900"/>
                    <a:ext cx="63817" cy="62700"/>
                    <a:chOff x="13732192" y="-1464900"/>
                    <a:chExt cx="63817" cy="62700"/>
                  </a:xfrm>
                </p:grpSpPr>
                <p:sp>
                  <p:nvSpPr>
                    <p:cNvPr id="2743" name="Freeform 7728">
                      <a:extLst>
                        <a:ext uri="{FF2B5EF4-FFF2-40B4-BE49-F238E27FC236}">
                          <a16:creationId xmlns:a16="http://schemas.microsoft.com/office/drawing/2014/main" id="{8DDD5A28-E74D-F911-5655-6F8ADBEECE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32192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4" name="Freeform 7729">
                      <a:extLst>
                        <a:ext uri="{FF2B5EF4-FFF2-40B4-BE49-F238E27FC236}">
                          <a16:creationId xmlns:a16="http://schemas.microsoft.com/office/drawing/2014/main" id="{2C5F4FE2-2580-82FE-22B4-5E9D14EC74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457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4" name="Graphic 26">
                    <a:extLst>
                      <a:ext uri="{FF2B5EF4-FFF2-40B4-BE49-F238E27FC236}">
                        <a16:creationId xmlns:a16="http://schemas.microsoft.com/office/drawing/2014/main" id="{D3B67A8F-5742-EACD-FEA7-EB966CF257B7}"/>
                      </a:ext>
                    </a:extLst>
                  </p:cNvPr>
                  <p:cNvGrpSpPr/>
                  <p:nvPr/>
                </p:nvGrpSpPr>
                <p:grpSpPr>
                  <a:xfrm>
                    <a:off x="13809345" y="-1464900"/>
                    <a:ext cx="62864" cy="62700"/>
                    <a:chOff x="13809345" y="-1464900"/>
                    <a:chExt cx="62864" cy="62700"/>
                  </a:xfrm>
                </p:grpSpPr>
                <p:sp>
                  <p:nvSpPr>
                    <p:cNvPr id="2741" name="Freeform 7726">
                      <a:extLst>
                        <a:ext uri="{FF2B5EF4-FFF2-40B4-BE49-F238E27FC236}">
                          <a16:creationId xmlns:a16="http://schemas.microsoft.com/office/drawing/2014/main" id="{4BB63A5F-3C32-27AB-2DF4-52BF3343C4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09345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2" name="Freeform 7727">
                      <a:extLst>
                        <a:ext uri="{FF2B5EF4-FFF2-40B4-BE49-F238E27FC236}">
                          <a16:creationId xmlns:a16="http://schemas.microsoft.com/office/drawing/2014/main" id="{45BA394F-8D1B-95B0-B2AB-8764FC3F96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4077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5" name="Graphic 26">
                    <a:extLst>
                      <a:ext uri="{FF2B5EF4-FFF2-40B4-BE49-F238E27FC236}">
                        <a16:creationId xmlns:a16="http://schemas.microsoft.com/office/drawing/2014/main" id="{6746DA7E-988A-42EE-C6EA-6FD312D534E9}"/>
                      </a:ext>
                    </a:extLst>
                  </p:cNvPr>
                  <p:cNvGrpSpPr/>
                  <p:nvPr/>
                </p:nvGrpSpPr>
                <p:grpSpPr>
                  <a:xfrm>
                    <a:off x="13823632" y="-1464900"/>
                    <a:ext cx="62864" cy="62700"/>
                    <a:chOff x="13823632" y="-1464900"/>
                    <a:chExt cx="62864" cy="62700"/>
                  </a:xfrm>
                </p:grpSpPr>
                <p:sp>
                  <p:nvSpPr>
                    <p:cNvPr id="2739" name="Freeform 7724">
                      <a:extLst>
                        <a:ext uri="{FF2B5EF4-FFF2-40B4-BE49-F238E27FC236}">
                          <a16:creationId xmlns:a16="http://schemas.microsoft.com/office/drawing/2014/main" id="{8E086ABB-F08D-6F74-8079-92A1A0A4EA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363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40" name="Freeform 7725">
                      <a:extLst>
                        <a:ext uri="{FF2B5EF4-FFF2-40B4-BE49-F238E27FC236}">
                          <a16:creationId xmlns:a16="http://schemas.microsoft.com/office/drawing/2014/main" id="{1F0172F8-73C1-3773-9871-D2EA122B6B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5506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6" name="Graphic 26">
                    <a:extLst>
                      <a:ext uri="{FF2B5EF4-FFF2-40B4-BE49-F238E27FC236}">
                        <a16:creationId xmlns:a16="http://schemas.microsoft.com/office/drawing/2014/main" id="{72F9DAAF-84F3-CEA3-5C74-189971E8D464}"/>
                      </a:ext>
                    </a:extLst>
                  </p:cNvPr>
                  <p:cNvGrpSpPr/>
                  <p:nvPr/>
                </p:nvGrpSpPr>
                <p:grpSpPr>
                  <a:xfrm>
                    <a:off x="13829347" y="-1464900"/>
                    <a:ext cx="63817" cy="62700"/>
                    <a:chOff x="13829347" y="-1464900"/>
                    <a:chExt cx="63817" cy="62700"/>
                  </a:xfrm>
                </p:grpSpPr>
                <p:sp>
                  <p:nvSpPr>
                    <p:cNvPr id="2737" name="Freeform 7722">
                      <a:extLst>
                        <a:ext uri="{FF2B5EF4-FFF2-40B4-BE49-F238E27FC236}">
                          <a16:creationId xmlns:a16="http://schemas.microsoft.com/office/drawing/2014/main" id="{C61BEFD6-EDB3-3EA7-6FC4-2F16D2DDD4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9347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8" name="Freeform 7723">
                      <a:extLst>
                        <a:ext uri="{FF2B5EF4-FFF2-40B4-BE49-F238E27FC236}">
                          <a16:creationId xmlns:a16="http://schemas.microsoft.com/office/drawing/2014/main" id="{15AA2F57-4401-C496-021D-EE9494090AA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6173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7" name="Graphic 26">
                    <a:extLst>
                      <a:ext uri="{FF2B5EF4-FFF2-40B4-BE49-F238E27FC236}">
                        <a16:creationId xmlns:a16="http://schemas.microsoft.com/office/drawing/2014/main" id="{5F91880D-0F3A-068D-C02F-2996A1EDDE28}"/>
                      </a:ext>
                    </a:extLst>
                  </p:cNvPr>
                  <p:cNvGrpSpPr/>
                  <p:nvPr/>
                </p:nvGrpSpPr>
                <p:grpSpPr>
                  <a:xfrm>
                    <a:off x="13834110" y="-1464900"/>
                    <a:ext cx="63817" cy="62700"/>
                    <a:chOff x="13834110" y="-1464900"/>
                    <a:chExt cx="63817" cy="62700"/>
                  </a:xfrm>
                </p:grpSpPr>
                <p:sp>
                  <p:nvSpPr>
                    <p:cNvPr id="2735" name="Freeform 7720">
                      <a:extLst>
                        <a:ext uri="{FF2B5EF4-FFF2-40B4-BE49-F238E27FC236}">
                          <a16:creationId xmlns:a16="http://schemas.microsoft.com/office/drawing/2014/main" id="{6CC445F6-6205-2412-E077-72DE3328EA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34110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6" name="Freeform 7721">
                      <a:extLst>
                        <a:ext uri="{FF2B5EF4-FFF2-40B4-BE49-F238E27FC236}">
                          <a16:creationId xmlns:a16="http://schemas.microsoft.com/office/drawing/2014/main" id="{FA132B4C-C32D-D829-37D8-CFAB9447E2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6649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8" name="Graphic 26">
                    <a:extLst>
                      <a:ext uri="{FF2B5EF4-FFF2-40B4-BE49-F238E27FC236}">
                        <a16:creationId xmlns:a16="http://schemas.microsoft.com/office/drawing/2014/main" id="{A208750A-9E88-97C8-9831-A9A339E83C76}"/>
                      </a:ext>
                    </a:extLst>
                  </p:cNvPr>
                  <p:cNvGrpSpPr/>
                  <p:nvPr/>
                </p:nvGrpSpPr>
                <p:grpSpPr>
                  <a:xfrm>
                    <a:off x="13842682" y="-1464900"/>
                    <a:ext cx="62864" cy="62700"/>
                    <a:chOff x="13842682" y="-1464900"/>
                    <a:chExt cx="62864" cy="62700"/>
                  </a:xfrm>
                </p:grpSpPr>
                <p:sp>
                  <p:nvSpPr>
                    <p:cNvPr id="2733" name="Freeform 7718">
                      <a:extLst>
                        <a:ext uri="{FF2B5EF4-FFF2-40B4-BE49-F238E27FC236}">
                          <a16:creationId xmlns:a16="http://schemas.microsoft.com/office/drawing/2014/main" id="{25DB5DBC-4D86-FD3D-EAE3-DD24A2E53E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4268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4" name="Freeform 7719">
                      <a:extLst>
                        <a:ext uri="{FF2B5EF4-FFF2-40B4-BE49-F238E27FC236}">
                          <a16:creationId xmlns:a16="http://schemas.microsoft.com/office/drawing/2014/main" id="{78D5584E-BF8B-F10B-B545-197B521938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411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29" name="Graphic 26">
                    <a:extLst>
                      <a:ext uri="{FF2B5EF4-FFF2-40B4-BE49-F238E27FC236}">
                        <a16:creationId xmlns:a16="http://schemas.microsoft.com/office/drawing/2014/main" id="{A758F0F5-FD02-CFA2-3F7B-79D1BF5F1644}"/>
                      </a:ext>
                    </a:extLst>
                  </p:cNvPr>
                  <p:cNvGrpSpPr/>
                  <p:nvPr/>
                </p:nvGrpSpPr>
                <p:grpSpPr>
                  <a:xfrm>
                    <a:off x="13848397" y="-1464900"/>
                    <a:ext cx="62865" cy="62700"/>
                    <a:chOff x="13848397" y="-1464900"/>
                    <a:chExt cx="62865" cy="62700"/>
                  </a:xfrm>
                </p:grpSpPr>
                <p:sp>
                  <p:nvSpPr>
                    <p:cNvPr id="2731" name="Freeform 7716">
                      <a:extLst>
                        <a:ext uri="{FF2B5EF4-FFF2-40B4-BE49-F238E27FC236}">
                          <a16:creationId xmlns:a16="http://schemas.microsoft.com/office/drawing/2014/main" id="{9EACEAC9-0876-5AB4-79E1-C978506270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48397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2" name="Freeform 7717">
                      <a:extLst>
                        <a:ext uri="{FF2B5EF4-FFF2-40B4-BE49-F238E27FC236}">
                          <a16:creationId xmlns:a16="http://schemas.microsoft.com/office/drawing/2014/main" id="{FD14AC32-E1F5-66F9-DA46-228B2288A6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9830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0" name="Graphic 26">
                    <a:extLst>
                      <a:ext uri="{FF2B5EF4-FFF2-40B4-BE49-F238E27FC236}">
                        <a16:creationId xmlns:a16="http://schemas.microsoft.com/office/drawing/2014/main" id="{C58A149D-28C4-8F52-4A99-2B011CE0AA3B}"/>
                      </a:ext>
                    </a:extLst>
                  </p:cNvPr>
                  <p:cNvGrpSpPr/>
                  <p:nvPr/>
                </p:nvGrpSpPr>
                <p:grpSpPr>
                  <a:xfrm>
                    <a:off x="13854112" y="-1464900"/>
                    <a:ext cx="62865" cy="62700"/>
                    <a:chOff x="13854112" y="-1464900"/>
                    <a:chExt cx="62865" cy="62700"/>
                  </a:xfrm>
                </p:grpSpPr>
                <p:sp>
                  <p:nvSpPr>
                    <p:cNvPr id="2729" name="Freeform 7714">
                      <a:extLst>
                        <a:ext uri="{FF2B5EF4-FFF2-40B4-BE49-F238E27FC236}">
                          <a16:creationId xmlns:a16="http://schemas.microsoft.com/office/drawing/2014/main" id="{5B4EC09C-850D-F7A7-7A5F-86284C0191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54112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30" name="Freeform 7715">
                      <a:extLst>
                        <a:ext uri="{FF2B5EF4-FFF2-40B4-BE49-F238E27FC236}">
                          <a16:creationId xmlns:a16="http://schemas.microsoft.com/office/drawing/2014/main" id="{B07ADE24-B24F-E9C0-0CAE-19D3167039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8554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1" name="Graphic 26">
                    <a:extLst>
                      <a:ext uri="{FF2B5EF4-FFF2-40B4-BE49-F238E27FC236}">
                        <a16:creationId xmlns:a16="http://schemas.microsoft.com/office/drawing/2014/main" id="{841EA0DC-EA72-37EB-316C-B51C1EC3B7FF}"/>
                      </a:ext>
                    </a:extLst>
                  </p:cNvPr>
                  <p:cNvGrpSpPr/>
                  <p:nvPr/>
                </p:nvGrpSpPr>
                <p:grpSpPr>
                  <a:xfrm>
                    <a:off x="13876972" y="-1464900"/>
                    <a:ext cx="63817" cy="62700"/>
                    <a:chOff x="13876972" y="-1464900"/>
                    <a:chExt cx="63817" cy="62700"/>
                  </a:xfrm>
                </p:grpSpPr>
                <p:sp>
                  <p:nvSpPr>
                    <p:cNvPr id="2727" name="Freeform 7712">
                      <a:extLst>
                        <a:ext uri="{FF2B5EF4-FFF2-40B4-BE49-F238E27FC236}">
                          <a16:creationId xmlns:a16="http://schemas.microsoft.com/office/drawing/2014/main" id="{5B5FAC82-1C1C-CB51-7FBE-D160AC3E9D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6972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8" name="Freeform 7713">
                      <a:extLst>
                        <a:ext uri="{FF2B5EF4-FFF2-40B4-BE49-F238E27FC236}">
                          <a16:creationId xmlns:a16="http://schemas.microsoft.com/office/drawing/2014/main" id="{092DC7B2-A6B8-D356-BB00-E2C5F29872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840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2" name="Graphic 26">
                    <a:extLst>
                      <a:ext uri="{FF2B5EF4-FFF2-40B4-BE49-F238E27FC236}">
                        <a16:creationId xmlns:a16="http://schemas.microsoft.com/office/drawing/2014/main" id="{EE662EDA-552C-CB72-EC75-D91BD92E0548}"/>
                      </a:ext>
                    </a:extLst>
                  </p:cNvPr>
                  <p:cNvGrpSpPr/>
                  <p:nvPr/>
                </p:nvGrpSpPr>
                <p:grpSpPr>
                  <a:xfrm>
                    <a:off x="13901737" y="-1464900"/>
                    <a:ext cx="62865" cy="62700"/>
                    <a:chOff x="13901737" y="-1464900"/>
                    <a:chExt cx="62865" cy="62700"/>
                  </a:xfrm>
                </p:grpSpPr>
                <p:sp>
                  <p:nvSpPr>
                    <p:cNvPr id="2725" name="Freeform 7710">
                      <a:extLst>
                        <a:ext uri="{FF2B5EF4-FFF2-40B4-BE49-F238E27FC236}">
                          <a16:creationId xmlns:a16="http://schemas.microsoft.com/office/drawing/2014/main" id="{D9F4B8F3-E6D5-E759-3C1A-3CD5DADE0C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1737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6" name="Freeform 7711">
                      <a:extLst>
                        <a:ext uri="{FF2B5EF4-FFF2-40B4-BE49-F238E27FC236}">
                          <a16:creationId xmlns:a16="http://schemas.microsoft.com/office/drawing/2014/main" id="{1FC75798-6420-C11C-31FF-83E1C6B69A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3170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3" name="Graphic 26">
                    <a:extLst>
                      <a:ext uri="{FF2B5EF4-FFF2-40B4-BE49-F238E27FC236}">
                        <a16:creationId xmlns:a16="http://schemas.microsoft.com/office/drawing/2014/main" id="{1A1DB172-2697-A224-588E-1BE8A3F2457F}"/>
                      </a:ext>
                    </a:extLst>
                  </p:cNvPr>
                  <p:cNvGrpSpPr/>
                  <p:nvPr/>
                </p:nvGrpSpPr>
                <p:grpSpPr>
                  <a:xfrm>
                    <a:off x="14075092" y="-1464900"/>
                    <a:ext cx="62864" cy="62700"/>
                    <a:chOff x="14075092" y="-1464900"/>
                    <a:chExt cx="62864" cy="62700"/>
                  </a:xfrm>
                </p:grpSpPr>
                <p:sp>
                  <p:nvSpPr>
                    <p:cNvPr id="2723" name="Freeform 7708">
                      <a:extLst>
                        <a:ext uri="{FF2B5EF4-FFF2-40B4-BE49-F238E27FC236}">
                          <a16:creationId xmlns:a16="http://schemas.microsoft.com/office/drawing/2014/main" id="{67920E2C-C7B4-49F0-EB35-616C058C8E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7509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4" name="Freeform 7709">
                      <a:extLst>
                        <a:ext uri="{FF2B5EF4-FFF2-40B4-BE49-F238E27FC236}">
                          <a16:creationId xmlns:a16="http://schemas.microsoft.com/office/drawing/2014/main" id="{3C4956E1-9A72-8DCB-EB89-0108F8B49D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0652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4" name="Graphic 26">
                    <a:extLst>
                      <a:ext uri="{FF2B5EF4-FFF2-40B4-BE49-F238E27FC236}">
                        <a16:creationId xmlns:a16="http://schemas.microsoft.com/office/drawing/2014/main" id="{84FCE1AC-990C-D22C-D691-4CDB1D529AEE}"/>
                      </a:ext>
                    </a:extLst>
                  </p:cNvPr>
                  <p:cNvGrpSpPr/>
                  <p:nvPr/>
                </p:nvGrpSpPr>
                <p:grpSpPr>
                  <a:xfrm>
                    <a:off x="14079855" y="-1464900"/>
                    <a:ext cx="63817" cy="62700"/>
                    <a:chOff x="14079855" y="-1464900"/>
                    <a:chExt cx="63817" cy="62700"/>
                  </a:xfrm>
                </p:grpSpPr>
                <p:sp>
                  <p:nvSpPr>
                    <p:cNvPr id="2721" name="Freeform 7706">
                      <a:extLst>
                        <a:ext uri="{FF2B5EF4-FFF2-40B4-BE49-F238E27FC236}">
                          <a16:creationId xmlns:a16="http://schemas.microsoft.com/office/drawing/2014/main" id="{959F14D8-3FC5-51E7-F1A5-E07FA64995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79855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2" name="Freeform 7707">
                      <a:extLst>
                        <a:ext uri="{FF2B5EF4-FFF2-40B4-BE49-F238E27FC236}">
                          <a16:creationId xmlns:a16="http://schemas.microsoft.com/office/drawing/2014/main" id="{D5DECBAB-0B60-825B-6715-49C23FEA54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128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5" name="Graphic 26">
                    <a:extLst>
                      <a:ext uri="{FF2B5EF4-FFF2-40B4-BE49-F238E27FC236}">
                        <a16:creationId xmlns:a16="http://schemas.microsoft.com/office/drawing/2014/main" id="{C9AA8707-B89A-5306-10B0-199943C6E609}"/>
                      </a:ext>
                    </a:extLst>
                  </p:cNvPr>
                  <p:cNvGrpSpPr/>
                  <p:nvPr/>
                </p:nvGrpSpPr>
                <p:grpSpPr>
                  <a:xfrm>
                    <a:off x="14083665" y="-1464900"/>
                    <a:ext cx="62865" cy="62700"/>
                    <a:chOff x="14083665" y="-1464900"/>
                    <a:chExt cx="62865" cy="62700"/>
                  </a:xfrm>
                </p:grpSpPr>
                <p:sp>
                  <p:nvSpPr>
                    <p:cNvPr id="2719" name="Freeform 7704">
                      <a:extLst>
                        <a:ext uri="{FF2B5EF4-FFF2-40B4-BE49-F238E27FC236}">
                          <a16:creationId xmlns:a16="http://schemas.microsoft.com/office/drawing/2014/main" id="{FAF49FBE-EBCC-74BA-9829-88E7A9E079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83665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20" name="Freeform 7705">
                      <a:extLst>
                        <a:ext uri="{FF2B5EF4-FFF2-40B4-BE49-F238E27FC236}">
                          <a16:creationId xmlns:a16="http://schemas.microsoft.com/office/drawing/2014/main" id="{1D46B788-688E-F58A-2DD0-EA15BFC78F2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5097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6" name="Graphic 26">
                    <a:extLst>
                      <a:ext uri="{FF2B5EF4-FFF2-40B4-BE49-F238E27FC236}">
                        <a16:creationId xmlns:a16="http://schemas.microsoft.com/office/drawing/2014/main" id="{612E5FCE-0664-211C-C842-46CED215CE52}"/>
                      </a:ext>
                    </a:extLst>
                  </p:cNvPr>
                  <p:cNvGrpSpPr/>
                  <p:nvPr/>
                </p:nvGrpSpPr>
                <p:grpSpPr>
                  <a:xfrm>
                    <a:off x="14123670" y="-1464900"/>
                    <a:ext cx="62865" cy="62700"/>
                    <a:chOff x="14123670" y="-1464900"/>
                    <a:chExt cx="62865" cy="62700"/>
                  </a:xfrm>
                </p:grpSpPr>
                <p:sp>
                  <p:nvSpPr>
                    <p:cNvPr id="2717" name="Freeform 7702">
                      <a:extLst>
                        <a:ext uri="{FF2B5EF4-FFF2-40B4-BE49-F238E27FC236}">
                          <a16:creationId xmlns:a16="http://schemas.microsoft.com/office/drawing/2014/main" id="{E6034D74-2FE2-AB38-575E-60809CB0D8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3670" y="-143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8" name="Freeform 7703">
                      <a:extLst>
                        <a:ext uri="{FF2B5EF4-FFF2-40B4-BE49-F238E27FC236}">
                          <a16:creationId xmlns:a16="http://schemas.microsoft.com/office/drawing/2014/main" id="{AFB5B27B-7064-2227-95F2-E8DABDDBA7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510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7" name="Graphic 26">
                    <a:extLst>
                      <a:ext uri="{FF2B5EF4-FFF2-40B4-BE49-F238E27FC236}">
                        <a16:creationId xmlns:a16="http://schemas.microsoft.com/office/drawing/2014/main" id="{A75D552E-AF46-3147-CEFF-B890ACA59636}"/>
                      </a:ext>
                    </a:extLst>
                  </p:cNvPr>
                  <p:cNvGrpSpPr/>
                  <p:nvPr/>
                </p:nvGrpSpPr>
                <p:grpSpPr>
                  <a:xfrm>
                    <a:off x="14127480" y="-1464900"/>
                    <a:ext cx="62864" cy="62700"/>
                    <a:chOff x="14127480" y="-1464900"/>
                    <a:chExt cx="62864" cy="62700"/>
                  </a:xfrm>
                </p:grpSpPr>
                <p:sp>
                  <p:nvSpPr>
                    <p:cNvPr id="2715" name="Freeform 7700">
                      <a:extLst>
                        <a:ext uri="{FF2B5EF4-FFF2-40B4-BE49-F238E27FC236}">
                          <a16:creationId xmlns:a16="http://schemas.microsoft.com/office/drawing/2014/main" id="{6FBC528D-7308-28FC-773C-5654027CAD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7480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6" name="Freeform 7701">
                      <a:extLst>
                        <a:ext uri="{FF2B5EF4-FFF2-40B4-BE49-F238E27FC236}">
                          <a16:creationId xmlns:a16="http://schemas.microsoft.com/office/drawing/2014/main" id="{CEC580E7-6CC5-98E6-1404-C887B2436B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8912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8" name="Graphic 26">
                    <a:extLst>
                      <a:ext uri="{FF2B5EF4-FFF2-40B4-BE49-F238E27FC236}">
                        <a16:creationId xmlns:a16="http://schemas.microsoft.com/office/drawing/2014/main" id="{75FD7A2A-C9F9-A2C7-86B0-02A5D66DD2DD}"/>
                      </a:ext>
                    </a:extLst>
                  </p:cNvPr>
                  <p:cNvGrpSpPr/>
                  <p:nvPr/>
                </p:nvGrpSpPr>
                <p:grpSpPr>
                  <a:xfrm>
                    <a:off x="14132242" y="-1464900"/>
                    <a:ext cx="62864" cy="62700"/>
                    <a:chOff x="14132242" y="-1464900"/>
                    <a:chExt cx="62864" cy="62700"/>
                  </a:xfrm>
                </p:grpSpPr>
                <p:sp>
                  <p:nvSpPr>
                    <p:cNvPr id="2713" name="Freeform 7698">
                      <a:extLst>
                        <a:ext uri="{FF2B5EF4-FFF2-40B4-BE49-F238E27FC236}">
                          <a16:creationId xmlns:a16="http://schemas.microsoft.com/office/drawing/2014/main" id="{BAD543EF-A7B8-C0AE-5DB5-82B37ACF98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2242" y="-143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4" name="Freeform 7699">
                      <a:extLst>
                        <a:ext uri="{FF2B5EF4-FFF2-40B4-BE49-F238E27FC236}">
                          <a16:creationId xmlns:a16="http://schemas.microsoft.com/office/drawing/2014/main" id="{21B887E4-CBCE-F6DF-66D7-A61D0403F2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3675" y="-146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39" name="Graphic 26">
                    <a:extLst>
                      <a:ext uri="{FF2B5EF4-FFF2-40B4-BE49-F238E27FC236}">
                        <a16:creationId xmlns:a16="http://schemas.microsoft.com/office/drawing/2014/main" id="{726BDF71-47B2-3023-EB6C-321B80FADB77}"/>
                      </a:ext>
                    </a:extLst>
                  </p:cNvPr>
                  <p:cNvGrpSpPr/>
                  <p:nvPr/>
                </p:nvGrpSpPr>
                <p:grpSpPr>
                  <a:xfrm>
                    <a:off x="14138910" y="-1431650"/>
                    <a:ext cx="62865" cy="63650"/>
                    <a:chOff x="14138910" y="-1431650"/>
                    <a:chExt cx="62865" cy="63650"/>
                  </a:xfrm>
                </p:grpSpPr>
                <p:sp>
                  <p:nvSpPr>
                    <p:cNvPr id="2711" name="Freeform 7696">
                      <a:extLst>
                        <a:ext uri="{FF2B5EF4-FFF2-40B4-BE49-F238E27FC236}">
                          <a16:creationId xmlns:a16="http://schemas.microsoft.com/office/drawing/2014/main" id="{3ACFD589-C59D-4B44-2509-685F5BD2C0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8910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2" name="Freeform 7697">
                      <a:extLst>
                        <a:ext uri="{FF2B5EF4-FFF2-40B4-BE49-F238E27FC236}">
                          <a16:creationId xmlns:a16="http://schemas.microsoft.com/office/drawing/2014/main" id="{4EBA4DCE-F350-7DA4-ECC3-40117FDC8A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034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0" name="Graphic 26">
                    <a:extLst>
                      <a:ext uri="{FF2B5EF4-FFF2-40B4-BE49-F238E27FC236}">
                        <a16:creationId xmlns:a16="http://schemas.microsoft.com/office/drawing/2014/main" id="{F337F94B-0F2B-6970-C506-B54B3AA07815}"/>
                      </a:ext>
                    </a:extLst>
                  </p:cNvPr>
                  <p:cNvGrpSpPr/>
                  <p:nvPr/>
                </p:nvGrpSpPr>
                <p:grpSpPr>
                  <a:xfrm>
                    <a:off x="14148435" y="-1431650"/>
                    <a:ext cx="63817" cy="63650"/>
                    <a:chOff x="14148435" y="-1431650"/>
                    <a:chExt cx="63817" cy="63650"/>
                  </a:xfrm>
                </p:grpSpPr>
                <p:sp>
                  <p:nvSpPr>
                    <p:cNvPr id="2709" name="Freeform 7694">
                      <a:extLst>
                        <a:ext uri="{FF2B5EF4-FFF2-40B4-BE49-F238E27FC236}">
                          <a16:creationId xmlns:a16="http://schemas.microsoft.com/office/drawing/2014/main" id="{2F8CD62F-9729-E1B1-C57B-1E4CDFBB2B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8435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10" name="Freeform 7695">
                      <a:extLst>
                        <a:ext uri="{FF2B5EF4-FFF2-40B4-BE49-F238E27FC236}">
                          <a16:creationId xmlns:a16="http://schemas.microsoft.com/office/drawing/2014/main" id="{0F751C82-48DF-EB15-EDBA-9D78F7EBBB2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986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1" name="Graphic 26">
                    <a:extLst>
                      <a:ext uri="{FF2B5EF4-FFF2-40B4-BE49-F238E27FC236}">
                        <a16:creationId xmlns:a16="http://schemas.microsoft.com/office/drawing/2014/main" id="{F8F728F9-E58D-BE24-4607-B177A329C50D}"/>
                      </a:ext>
                    </a:extLst>
                  </p:cNvPr>
                  <p:cNvGrpSpPr/>
                  <p:nvPr/>
                </p:nvGrpSpPr>
                <p:grpSpPr>
                  <a:xfrm>
                    <a:off x="14156055" y="-1431650"/>
                    <a:ext cx="62864" cy="63650"/>
                    <a:chOff x="14156055" y="-1431650"/>
                    <a:chExt cx="62864" cy="63650"/>
                  </a:xfrm>
                </p:grpSpPr>
                <p:sp>
                  <p:nvSpPr>
                    <p:cNvPr id="2707" name="Freeform 7692">
                      <a:extLst>
                        <a:ext uri="{FF2B5EF4-FFF2-40B4-BE49-F238E27FC236}">
                          <a16:creationId xmlns:a16="http://schemas.microsoft.com/office/drawing/2014/main" id="{1B455D17-A49C-A7F1-A2AC-7A33D6A5AE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6055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8" name="Freeform 7693">
                      <a:extLst>
                        <a:ext uri="{FF2B5EF4-FFF2-40B4-BE49-F238E27FC236}">
                          <a16:creationId xmlns:a16="http://schemas.microsoft.com/office/drawing/2014/main" id="{41205D52-18CE-0E47-F4EA-1DF26CDF60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748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2" name="Graphic 26">
                    <a:extLst>
                      <a:ext uri="{FF2B5EF4-FFF2-40B4-BE49-F238E27FC236}">
                        <a16:creationId xmlns:a16="http://schemas.microsoft.com/office/drawing/2014/main" id="{E2D72226-6F8D-7A79-5272-7ABE5C4253F7}"/>
                      </a:ext>
                    </a:extLst>
                  </p:cNvPr>
                  <p:cNvGrpSpPr/>
                  <p:nvPr/>
                </p:nvGrpSpPr>
                <p:grpSpPr>
                  <a:xfrm>
                    <a:off x="14162722" y="-1431650"/>
                    <a:ext cx="62865" cy="63650"/>
                    <a:chOff x="14162722" y="-1431650"/>
                    <a:chExt cx="62865" cy="63650"/>
                  </a:xfrm>
                </p:grpSpPr>
                <p:sp>
                  <p:nvSpPr>
                    <p:cNvPr id="2705" name="Freeform 7690">
                      <a:extLst>
                        <a:ext uri="{FF2B5EF4-FFF2-40B4-BE49-F238E27FC236}">
                          <a16:creationId xmlns:a16="http://schemas.microsoft.com/office/drawing/2014/main" id="{09B44BE4-284E-4A8E-E5E2-F33904A0F4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272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6" name="Freeform 7691">
                      <a:extLst>
                        <a:ext uri="{FF2B5EF4-FFF2-40B4-BE49-F238E27FC236}">
                          <a16:creationId xmlns:a16="http://schemas.microsoft.com/office/drawing/2014/main" id="{7C5FB9D7-28B4-1697-6ED4-0392BA0B81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415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3" name="Graphic 26">
                    <a:extLst>
                      <a:ext uri="{FF2B5EF4-FFF2-40B4-BE49-F238E27FC236}">
                        <a16:creationId xmlns:a16="http://schemas.microsoft.com/office/drawing/2014/main" id="{65122514-A76E-6837-BA1C-41F9CD66D6A3}"/>
                      </a:ext>
                    </a:extLst>
                  </p:cNvPr>
                  <p:cNvGrpSpPr/>
                  <p:nvPr/>
                </p:nvGrpSpPr>
                <p:grpSpPr>
                  <a:xfrm>
                    <a:off x="14172247" y="-1431650"/>
                    <a:ext cx="62865" cy="63650"/>
                    <a:chOff x="14172247" y="-1431650"/>
                    <a:chExt cx="62865" cy="63650"/>
                  </a:xfrm>
                </p:grpSpPr>
                <p:sp>
                  <p:nvSpPr>
                    <p:cNvPr id="2703" name="Freeform 7688">
                      <a:extLst>
                        <a:ext uri="{FF2B5EF4-FFF2-40B4-BE49-F238E27FC236}">
                          <a16:creationId xmlns:a16="http://schemas.microsoft.com/office/drawing/2014/main" id="{0CB20CB4-0E8B-2F51-561E-B6DFB77422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2247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4" name="Freeform 7689">
                      <a:extLst>
                        <a:ext uri="{FF2B5EF4-FFF2-40B4-BE49-F238E27FC236}">
                          <a16:creationId xmlns:a16="http://schemas.microsoft.com/office/drawing/2014/main" id="{E8922B2A-543D-1A2C-52C1-8B5CA71BA4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0368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4" name="Graphic 26">
                    <a:extLst>
                      <a:ext uri="{FF2B5EF4-FFF2-40B4-BE49-F238E27FC236}">
                        <a16:creationId xmlns:a16="http://schemas.microsoft.com/office/drawing/2014/main" id="{B8CB914C-E898-18BD-2809-E9FBF33AA826}"/>
                      </a:ext>
                    </a:extLst>
                  </p:cNvPr>
                  <p:cNvGrpSpPr/>
                  <p:nvPr/>
                </p:nvGrpSpPr>
                <p:grpSpPr>
                  <a:xfrm>
                    <a:off x="14175105" y="-1431650"/>
                    <a:ext cx="62864" cy="63650"/>
                    <a:chOff x="14175105" y="-1431650"/>
                    <a:chExt cx="62864" cy="63650"/>
                  </a:xfrm>
                </p:grpSpPr>
                <p:sp>
                  <p:nvSpPr>
                    <p:cNvPr id="2701" name="Freeform 7686">
                      <a:extLst>
                        <a:ext uri="{FF2B5EF4-FFF2-40B4-BE49-F238E27FC236}">
                          <a16:creationId xmlns:a16="http://schemas.microsoft.com/office/drawing/2014/main" id="{CD42F74E-E963-1429-7063-B89503FC30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5105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2" name="Freeform 7687">
                      <a:extLst>
                        <a:ext uri="{FF2B5EF4-FFF2-40B4-BE49-F238E27FC236}">
                          <a16:creationId xmlns:a16="http://schemas.microsoft.com/office/drawing/2014/main" id="{2CA136B1-05E7-5AC7-5A52-7D82097F494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0653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5" name="Graphic 26">
                    <a:extLst>
                      <a:ext uri="{FF2B5EF4-FFF2-40B4-BE49-F238E27FC236}">
                        <a16:creationId xmlns:a16="http://schemas.microsoft.com/office/drawing/2014/main" id="{215628A5-19AE-E39D-A095-B1D4E1EAD720}"/>
                      </a:ext>
                    </a:extLst>
                  </p:cNvPr>
                  <p:cNvGrpSpPr/>
                  <p:nvPr/>
                </p:nvGrpSpPr>
                <p:grpSpPr>
                  <a:xfrm>
                    <a:off x="14180820" y="-1431650"/>
                    <a:ext cx="63817" cy="63650"/>
                    <a:chOff x="14180820" y="-1431650"/>
                    <a:chExt cx="63817" cy="63650"/>
                  </a:xfrm>
                </p:grpSpPr>
                <p:sp>
                  <p:nvSpPr>
                    <p:cNvPr id="2699" name="Freeform 7684">
                      <a:extLst>
                        <a:ext uri="{FF2B5EF4-FFF2-40B4-BE49-F238E27FC236}">
                          <a16:creationId xmlns:a16="http://schemas.microsoft.com/office/drawing/2014/main" id="{3947070D-5EDE-DCA6-72BA-460BD0D4BF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0820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700" name="Freeform 7685">
                      <a:extLst>
                        <a:ext uri="{FF2B5EF4-FFF2-40B4-BE49-F238E27FC236}">
                          <a16:creationId xmlns:a16="http://schemas.microsoft.com/office/drawing/2014/main" id="{2AC77F59-7FA8-272D-0423-6669524605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1225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6" name="Graphic 26">
                    <a:extLst>
                      <a:ext uri="{FF2B5EF4-FFF2-40B4-BE49-F238E27FC236}">
                        <a16:creationId xmlns:a16="http://schemas.microsoft.com/office/drawing/2014/main" id="{E1F51282-F7B1-4160-B831-254DAADD9E69}"/>
                      </a:ext>
                    </a:extLst>
                  </p:cNvPr>
                  <p:cNvGrpSpPr/>
                  <p:nvPr/>
                </p:nvGrpSpPr>
                <p:grpSpPr>
                  <a:xfrm>
                    <a:off x="14189392" y="-1431650"/>
                    <a:ext cx="62864" cy="63650"/>
                    <a:chOff x="14189392" y="-1431650"/>
                    <a:chExt cx="62864" cy="63650"/>
                  </a:xfrm>
                </p:grpSpPr>
                <p:sp>
                  <p:nvSpPr>
                    <p:cNvPr id="2697" name="Freeform 7682">
                      <a:extLst>
                        <a:ext uri="{FF2B5EF4-FFF2-40B4-BE49-F238E27FC236}">
                          <a16:creationId xmlns:a16="http://schemas.microsoft.com/office/drawing/2014/main" id="{A822EA56-67DF-88DF-33AA-2AF41AD140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9392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8" name="Freeform 7683">
                      <a:extLst>
                        <a:ext uri="{FF2B5EF4-FFF2-40B4-BE49-F238E27FC236}">
                          <a16:creationId xmlns:a16="http://schemas.microsoft.com/office/drawing/2014/main" id="{29828C1A-F016-BEF4-3DE1-06D99BFABC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082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7" name="Graphic 26">
                    <a:extLst>
                      <a:ext uri="{FF2B5EF4-FFF2-40B4-BE49-F238E27FC236}">
                        <a16:creationId xmlns:a16="http://schemas.microsoft.com/office/drawing/2014/main" id="{CF03F9D6-A30B-A34B-116A-6FADD4ADB6E9}"/>
                      </a:ext>
                    </a:extLst>
                  </p:cNvPr>
                  <p:cNvGrpSpPr/>
                  <p:nvPr/>
                </p:nvGrpSpPr>
                <p:grpSpPr>
                  <a:xfrm>
                    <a:off x="14193202" y="-1431650"/>
                    <a:ext cx="63817" cy="63650"/>
                    <a:chOff x="14193202" y="-1431650"/>
                    <a:chExt cx="63817" cy="63650"/>
                  </a:xfrm>
                </p:grpSpPr>
                <p:sp>
                  <p:nvSpPr>
                    <p:cNvPr id="2695" name="Freeform 7680">
                      <a:extLst>
                        <a:ext uri="{FF2B5EF4-FFF2-40B4-BE49-F238E27FC236}">
                          <a16:creationId xmlns:a16="http://schemas.microsoft.com/office/drawing/2014/main" id="{68779421-800B-0F00-5ECC-C2C01D49C86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3202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6" name="Freeform 7681">
                      <a:extLst>
                        <a:ext uri="{FF2B5EF4-FFF2-40B4-BE49-F238E27FC236}">
                          <a16:creationId xmlns:a16="http://schemas.microsoft.com/office/drawing/2014/main" id="{852EB8BD-050F-95CD-FEDC-E5C4F88F3C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463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8" name="Graphic 26">
                    <a:extLst>
                      <a:ext uri="{FF2B5EF4-FFF2-40B4-BE49-F238E27FC236}">
                        <a16:creationId xmlns:a16="http://schemas.microsoft.com/office/drawing/2014/main" id="{A1E392EC-0346-B464-8BC8-6C410DDBD6CF}"/>
                      </a:ext>
                    </a:extLst>
                  </p:cNvPr>
                  <p:cNvGrpSpPr/>
                  <p:nvPr/>
                </p:nvGrpSpPr>
                <p:grpSpPr>
                  <a:xfrm>
                    <a:off x="14197012" y="-1431650"/>
                    <a:ext cx="62865" cy="63650"/>
                    <a:chOff x="14197012" y="-1431650"/>
                    <a:chExt cx="62865" cy="63650"/>
                  </a:xfrm>
                </p:grpSpPr>
                <p:sp>
                  <p:nvSpPr>
                    <p:cNvPr id="2693" name="Freeform 7678">
                      <a:extLst>
                        <a:ext uri="{FF2B5EF4-FFF2-40B4-BE49-F238E27FC236}">
                          <a16:creationId xmlns:a16="http://schemas.microsoft.com/office/drawing/2014/main" id="{97E6AEC3-602B-ADBA-D5E5-5EEA681332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701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4" name="Freeform 7679">
                      <a:extLst>
                        <a:ext uri="{FF2B5EF4-FFF2-40B4-BE49-F238E27FC236}">
                          <a16:creationId xmlns:a16="http://schemas.microsoft.com/office/drawing/2014/main" id="{5F95115A-186F-7FEF-CAEB-2FF1A5843B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844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49" name="Graphic 26">
                    <a:extLst>
                      <a:ext uri="{FF2B5EF4-FFF2-40B4-BE49-F238E27FC236}">
                        <a16:creationId xmlns:a16="http://schemas.microsoft.com/office/drawing/2014/main" id="{3C27A765-6889-4A1E-A29B-EF435D91B783}"/>
                      </a:ext>
                    </a:extLst>
                  </p:cNvPr>
                  <p:cNvGrpSpPr/>
                  <p:nvPr/>
                </p:nvGrpSpPr>
                <p:grpSpPr>
                  <a:xfrm>
                    <a:off x="14244637" y="-1431650"/>
                    <a:ext cx="62865" cy="63650"/>
                    <a:chOff x="14244637" y="-1431650"/>
                    <a:chExt cx="62865" cy="63650"/>
                  </a:xfrm>
                </p:grpSpPr>
                <p:sp>
                  <p:nvSpPr>
                    <p:cNvPr id="2691" name="Freeform 7676">
                      <a:extLst>
                        <a:ext uri="{FF2B5EF4-FFF2-40B4-BE49-F238E27FC236}">
                          <a16:creationId xmlns:a16="http://schemas.microsoft.com/office/drawing/2014/main" id="{089C51BC-ABB1-6E68-5EC4-5CE60C4B57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44637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2" name="Freeform 7677">
                      <a:extLst>
                        <a:ext uri="{FF2B5EF4-FFF2-40B4-BE49-F238E27FC236}">
                          <a16:creationId xmlns:a16="http://schemas.microsoft.com/office/drawing/2014/main" id="{F3824C56-E4C1-84CF-8021-9C1CF2F23D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7607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0" name="Graphic 26">
                    <a:extLst>
                      <a:ext uri="{FF2B5EF4-FFF2-40B4-BE49-F238E27FC236}">
                        <a16:creationId xmlns:a16="http://schemas.microsoft.com/office/drawing/2014/main" id="{1D2809EA-6CEE-F9FD-208F-C88046F957F4}"/>
                      </a:ext>
                    </a:extLst>
                  </p:cNvPr>
                  <p:cNvGrpSpPr/>
                  <p:nvPr/>
                </p:nvGrpSpPr>
                <p:grpSpPr>
                  <a:xfrm>
                    <a:off x="14251305" y="-1431650"/>
                    <a:ext cx="62864" cy="63650"/>
                    <a:chOff x="14251305" y="-1431650"/>
                    <a:chExt cx="62864" cy="63650"/>
                  </a:xfrm>
                </p:grpSpPr>
                <p:sp>
                  <p:nvSpPr>
                    <p:cNvPr id="2689" name="Freeform 7674">
                      <a:extLst>
                        <a:ext uri="{FF2B5EF4-FFF2-40B4-BE49-F238E27FC236}">
                          <a16:creationId xmlns:a16="http://schemas.microsoft.com/office/drawing/2014/main" id="{6B407B59-5D20-29C4-98A9-2A378C62F3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51305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90" name="Freeform 7675">
                      <a:extLst>
                        <a:ext uri="{FF2B5EF4-FFF2-40B4-BE49-F238E27FC236}">
                          <a16:creationId xmlns:a16="http://schemas.microsoft.com/office/drawing/2014/main" id="{FA6C089F-D702-56CC-2BBC-F32B54872B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82737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1" name="Graphic 26">
                    <a:extLst>
                      <a:ext uri="{FF2B5EF4-FFF2-40B4-BE49-F238E27FC236}">
                        <a16:creationId xmlns:a16="http://schemas.microsoft.com/office/drawing/2014/main" id="{92EA4D12-928A-867F-1E49-E8F7BEEC9AF7}"/>
                      </a:ext>
                    </a:extLst>
                  </p:cNvPr>
                  <p:cNvGrpSpPr/>
                  <p:nvPr/>
                </p:nvGrpSpPr>
                <p:grpSpPr>
                  <a:xfrm>
                    <a:off x="14256067" y="-1431650"/>
                    <a:ext cx="62864" cy="63650"/>
                    <a:chOff x="14256067" y="-1431650"/>
                    <a:chExt cx="62864" cy="63650"/>
                  </a:xfrm>
                </p:grpSpPr>
                <p:sp>
                  <p:nvSpPr>
                    <p:cNvPr id="2687" name="Freeform 7672">
                      <a:extLst>
                        <a:ext uri="{FF2B5EF4-FFF2-40B4-BE49-F238E27FC236}">
                          <a16:creationId xmlns:a16="http://schemas.microsoft.com/office/drawing/2014/main" id="{04B09780-6BF1-7692-CC26-20FE03CD48F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56067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8" name="Freeform 7673">
                      <a:extLst>
                        <a:ext uri="{FF2B5EF4-FFF2-40B4-BE49-F238E27FC236}">
                          <a16:creationId xmlns:a16="http://schemas.microsoft.com/office/drawing/2014/main" id="{61828CD9-8032-22EF-C59F-B5013B1A23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8750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2" name="Graphic 26">
                    <a:extLst>
                      <a:ext uri="{FF2B5EF4-FFF2-40B4-BE49-F238E27FC236}">
                        <a16:creationId xmlns:a16="http://schemas.microsoft.com/office/drawing/2014/main" id="{0B09EA44-2148-B4B6-A0B8-1D0290BDA0ED}"/>
                      </a:ext>
                    </a:extLst>
                  </p:cNvPr>
                  <p:cNvGrpSpPr/>
                  <p:nvPr/>
                </p:nvGrpSpPr>
                <p:grpSpPr>
                  <a:xfrm>
                    <a:off x="14294167" y="-1431650"/>
                    <a:ext cx="62864" cy="63650"/>
                    <a:chOff x="14294167" y="-1431650"/>
                    <a:chExt cx="62864" cy="63650"/>
                  </a:xfrm>
                </p:grpSpPr>
                <p:sp>
                  <p:nvSpPr>
                    <p:cNvPr id="2685" name="Freeform 7670">
                      <a:extLst>
                        <a:ext uri="{FF2B5EF4-FFF2-40B4-BE49-F238E27FC236}">
                          <a16:creationId xmlns:a16="http://schemas.microsoft.com/office/drawing/2014/main" id="{94E67562-676E-C3B8-6CA6-07A895F9CB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94167" y="-1399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6" name="Freeform 7671">
                      <a:extLst>
                        <a:ext uri="{FF2B5EF4-FFF2-40B4-BE49-F238E27FC236}">
                          <a16:creationId xmlns:a16="http://schemas.microsoft.com/office/drawing/2014/main" id="{9C0B2489-B263-2819-9DB9-F487C936E6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25600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3" name="Graphic 26">
                    <a:extLst>
                      <a:ext uri="{FF2B5EF4-FFF2-40B4-BE49-F238E27FC236}">
                        <a16:creationId xmlns:a16="http://schemas.microsoft.com/office/drawing/2014/main" id="{C0755B7C-E3FB-39A6-203F-F48B84C1A13A}"/>
                      </a:ext>
                    </a:extLst>
                  </p:cNvPr>
                  <p:cNvGrpSpPr/>
                  <p:nvPr/>
                </p:nvGrpSpPr>
                <p:grpSpPr>
                  <a:xfrm>
                    <a:off x="14299882" y="-1431650"/>
                    <a:ext cx="62865" cy="63650"/>
                    <a:chOff x="14299882" y="-1431650"/>
                    <a:chExt cx="62865" cy="63650"/>
                  </a:xfrm>
                </p:grpSpPr>
                <p:sp>
                  <p:nvSpPr>
                    <p:cNvPr id="2683" name="Freeform 7668">
                      <a:extLst>
                        <a:ext uri="{FF2B5EF4-FFF2-40B4-BE49-F238E27FC236}">
                          <a16:creationId xmlns:a16="http://schemas.microsoft.com/office/drawing/2014/main" id="{4D146C32-53E2-14B5-E667-ECF5086ACF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9988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4" name="Freeform 7669">
                      <a:extLst>
                        <a:ext uri="{FF2B5EF4-FFF2-40B4-BE49-F238E27FC236}">
                          <a16:creationId xmlns:a16="http://schemas.microsoft.com/office/drawing/2014/main" id="{73157FE3-6EF9-6C57-5F16-B9CF295357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3131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4" name="Graphic 26">
                    <a:extLst>
                      <a:ext uri="{FF2B5EF4-FFF2-40B4-BE49-F238E27FC236}">
                        <a16:creationId xmlns:a16="http://schemas.microsoft.com/office/drawing/2014/main" id="{ECAAF4B7-8D06-FAC4-54F8-E8BD7717D75B}"/>
                      </a:ext>
                    </a:extLst>
                  </p:cNvPr>
                  <p:cNvGrpSpPr/>
                  <p:nvPr/>
                </p:nvGrpSpPr>
                <p:grpSpPr>
                  <a:xfrm>
                    <a:off x="14318932" y="-1431650"/>
                    <a:ext cx="63817" cy="63650"/>
                    <a:chOff x="14318932" y="-1431650"/>
                    <a:chExt cx="63817" cy="63650"/>
                  </a:xfrm>
                </p:grpSpPr>
                <p:sp>
                  <p:nvSpPr>
                    <p:cNvPr id="2681" name="Freeform 7666">
                      <a:extLst>
                        <a:ext uri="{FF2B5EF4-FFF2-40B4-BE49-F238E27FC236}">
                          <a16:creationId xmlns:a16="http://schemas.microsoft.com/office/drawing/2014/main" id="{30FAD40F-42C9-4764-D3CC-A96C6B1C81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18932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2" name="Freeform 7667">
                      <a:extLst>
                        <a:ext uri="{FF2B5EF4-FFF2-40B4-BE49-F238E27FC236}">
                          <a16:creationId xmlns:a16="http://schemas.microsoft.com/office/drawing/2014/main" id="{59C5D6BA-C9F7-9562-C934-8F1CA4B23E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5036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5" name="Graphic 26">
                    <a:extLst>
                      <a:ext uri="{FF2B5EF4-FFF2-40B4-BE49-F238E27FC236}">
                        <a16:creationId xmlns:a16="http://schemas.microsoft.com/office/drawing/2014/main" id="{04B8E18D-12DE-D5D4-13BB-C0C27E4A6415}"/>
                      </a:ext>
                    </a:extLst>
                  </p:cNvPr>
                  <p:cNvGrpSpPr/>
                  <p:nvPr/>
                </p:nvGrpSpPr>
                <p:grpSpPr>
                  <a:xfrm>
                    <a:off x="14401800" y="-1431650"/>
                    <a:ext cx="62865" cy="63650"/>
                    <a:chOff x="14401800" y="-1431650"/>
                    <a:chExt cx="62865" cy="63650"/>
                  </a:xfrm>
                </p:grpSpPr>
                <p:sp>
                  <p:nvSpPr>
                    <p:cNvPr id="2679" name="Freeform 7664">
                      <a:extLst>
                        <a:ext uri="{FF2B5EF4-FFF2-40B4-BE49-F238E27FC236}">
                          <a16:creationId xmlns:a16="http://schemas.microsoft.com/office/drawing/2014/main" id="{8A8DADDD-85A2-F079-5735-A48D4C1B8F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1800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80" name="Freeform 7665">
                      <a:extLst>
                        <a:ext uri="{FF2B5EF4-FFF2-40B4-BE49-F238E27FC236}">
                          <a16:creationId xmlns:a16="http://schemas.microsoft.com/office/drawing/2014/main" id="{CA0EACA9-F329-10C9-7021-9D59562069F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323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6" name="Graphic 26">
                    <a:extLst>
                      <a:ext uri="{FF2B5EF4-FFF2-40B4-BE49-F238E27FC236}">
                        <a16:creationId xmlns:a16="http://schemas.microsoft.com/office/drawing/2014/main" id="{74EE126E-AE9E-7166-4FE2-DA722B437FE9}"/>
                      </a:ext>
                    </a:extLst>
                  </p:cNvPr>
                  <p:cNvGrpSpPr/>
                  <p:nvPr/>
                </p:nvGrpSpPr>
                <p:grpSpPr>
                  <a:xfrm>
                    <a:off x="14405610" y="-1431650"/>
                    <a:ext cx="62865" cy="63650"/>
                    <a:chOff x="14405610" y="-1431650"/>
                    <a:chExt cx="62865" cy="63650"/>
                  </a:xfrm>
                </p:grpSpPr>
                <p:sp>
                  <p:nvSpPr>
                    <p:cNvPr id="2677" name="Freeform 7662">
                      <a:extLst>
                        <a:ext uri="{FF2B5EF4-FFF2-40B4-BE49-F238E27FC236}">
                          <a16:creationId xmlns:a16="http://schemas.microsoft.com/office/drawing/2014/main" id="{2E7C1D7E-A113-2D95-CE4C-393E8737DC5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5610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8" name="Freeform 7663">
                      <a:extLst>
                        <a:ext uri="{FF2B5EF4-FFF2-40B4-BE49-F238E27FC236}">
                          <a16:creationId xmlns:a16="http://schemas.microsoft.com/office/drawing/2014/main" id="{E331538C-0874-A1CF-F7BA-27BCBD2823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704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7" name="Graphic 26">
                    <a:extLst>
                      <a:ext uri="{FF2B5EF4-FFF2-40B4-BE49-F238E27FC236}">
                        <a16:creationId xmlns:a16="http://schemas.microsoft.com/office/drawing/2014/main" id="{C33C72B4-37E3-3AA3-E3CA-11C60BE3E62F}"/>
                      </a:ext>
                    </a:extLst>
                  </p:cNvPr>
                  <p:cNvGrpSpPr/>
                  <p:nvPr/>
                </p:nvGrpSpPr>
                <p:grpSpPr>
                  <a:xfrm>
                    <a:off x="14424660" y="-1431650"/>
                    <a:ext cx="63817" cy="63650"/>
                    <a:chOff x="14424660" y="-1431650"/>
                    <a:chExt cx="63817" cy="63650"/>
                  </a:xfrm>
                </p:grpSpPr>
                <p:sp>
                  <p:nvSpPr>
                    <p:cNvPr id="2675" name="Freeform 7660">
                      <a:extLst>
                        <a:ext uri="{FF2B5EF4-FFF2-40B4-BE49-F238E27FC236}">
                          <a16:creationId xmlns:a16="http://schemas.microsoft.com/office/drawing/2014/main" id="{9188A593-B479-6FDF-5956-B5B945139F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4660" y="-1399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6" name="Freeform 7661">
                      <a:extLst>
                        <a:ext uri="{FF2B5EF4-FFF2-40B4-BE49-F238E27FC236}">
                          <a16:creationId xmlns:a16="http://schemas.microsoft.com/office/drawing/2014/main" id="{189E72E3-1447-6489-1031-7C61B8C1FD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6092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8" name="Graphic 26">
                    <a:extLst>
                      <a:ext uri="{FF2B5EF4-FFF2-40B4-BE49-F238E27FC236}">
                        <a16:creationId xmlns:a16="http://schemas.microsoft.com/office/drawing/2014/main" id="{BA6FF100-E89A-2585-1CBB-9EB45A743547}"/>
                      </a:ext>
                    </a:extLst>
                  </p:cNvPr>
                  <p:cNvGrpSpPr/>
                  <p:nvPr/>
                </p:nvGrpSpPr>
                <p:grpSpPr>
                  <a:xfrm>
                    <a:off x="14429422" y="-1431650"/>
                    <a:ext cx="62865" cy="63650"/>
                    <a:chOff x="14429422" y="-1431650"/>
                    <a:chExt cx="62865" cy="63650"/>
                  </a:xfrm>
                </p:grpSpPr>
                <p:sp>
                  <p:nvSpPr>
                    <p:cNvPr id="2673" name="Freeform 7658">
                      <a:extLst>
                        <a:ext uri="{FF2B5EF4-FFF2-40B4-BE49-F238E27FC236}">
                          <a16:creationId xmlns:a16="http://schemas.microsoft.com/office/drawing/2014/main" id="{0F10A9F0-E4BC-4E69-2CF8-DA6B4E26B8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9422" y="-139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4" name="Freeform 7659">
                      <a:extLst>
                        <a:ext uri="{FF2B5EF4-FFF2-40B4-BE49-F238E27FC236}">
                          <a16:creationId xmlns:a16="http://schemas.microsoft.com/office/drawing/2014/main" id="{82CB8C56-76C6-02E5-BBE7-5A5A08181A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0855" y="-14316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59" name="Graphic 26">
                    <a:extLst>
                      <a:ext uri="{FF2B5EF4-FFF2-40B4-BE49-F238E27FC236}">
                        <a16:creationId xmlns:a16="http://schemas.microsoft.com/office/drawing/2014/main" id="{74A82A94-FD61-94D8-5BAC-52A4C05C7CA3}"/>
                      </a:ext>
                    </a:extLst>
                  </p:cNvPr>
                  <p:cNvGrpSpPr/>
                  <p:nvPr/>
                </p:nvGrpSpPr>
                <p:grpSpPr>
                  <a:xfrm>
                    <a:off x="14455140" y="-1384150"/>
                    <a:ext cx="62865" cy="63650"/>
                    <a:chOff x="14455140" y="-1384150"/>
                    <a:chExt cx="62865" cy="63650"/>
                  </a:xfrm>
                </p:grpSpPr>
                <p:sp>
                  <p:nvSpPr>
                    <p:cNvPr id="2671" name="Freeform 7656">
                      <a:extLst>
                        <a:ext uri="{FF2B5EF4-FFF2-40B4-BE49-F238E27FC236}">
                          <a16:creationId xmlns:a16="http://schemas.microsoft.com/office/drawing/2014/main" id="{9C850099-D6FC-1AF3-FA2A-FF2042BC9A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5140" y="-135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2" name="Freeform 7657">
                      <a:extLst>
                        <a:ext uri="{FF2B5EF4-FFF2-40B4-BE49-F238E27FC236}">
                          <a16:creationId xmlns:a16="http://schemas.microsoft.com/office/drawing/2014/main" id="{45D70C5F-516D-ABC7-66E1-B1BF7663A2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6572" y="-1384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0" name="Graphic 26">
                    <a:extLst>
                      <a:ext uri="{FF2B5EF4-FFF2-40B4-BE49-F238E27FC236}">
                        <a16:creationId xmlns:a16="http://schemas.microsoft.com/office/drawing/2014/main" id="{D9D0BDAF-56E7-FE92-6A68-46198AEF90A1}"/>
                      </a:ext>
                    </a:extLst>
                  </p:cNvPr>
                  <p:cNvGrpSpPr/>
                  <p:nvPr/>
                </p:nvGrpSpPr>
                <p:grpSpPr>
                  <a:xfrm>
                    <a:off x="14466570" y="-1380350"/>
                    <a:ext cx="62865" cy="62699"/>
                    <a:chOff x="14466570" y="-1380350"/>
                    <a:chExt cx="62865" cy="62699"/>
                  </a:xfrm>
                </p:grpSpPr>
                <p:sp>
                  <p:nvSpPr>
                    <p:cNvPr id="2669" name="Freeform 7654">
                      <a:extLst>
                        <a:ext uri="{FF2B5EF4-FFF2-40B4-BE49-F238E27FC236}">
                          <a16:creationId xmlns:a16="http://schemas.microsoft.com/office/drawing/2014/main" id="{B3A4B1EB-5ED9-5319-8835-72CCAF6226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6570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70" name="Freeform 7655">
                      <a:extLst>
                        <a:ext uri="{FF2B5EF4-FFF2-40B4-BE49-F238E27FC236}">
                          <a16:creationId xmlns:a16="http://schemas.microsoft.com/office/drawing/2014/main" id="{44D3DD3A-8D67-4F10-CBC1-626B59C60C7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800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1" name="Graphic 26">
                    <a:extLst>
                      <a:ext uri="{FF2B5EF4-FFF2-40B4-BE49-F238E27FC236}">
                        <a16:creationId xmlns:a16="http://schemas.microsoft.com/office/drawing/2014/main" id="{DF648942-B17B-B415-3AF2-46C0A581B7FE}"/>
                      </a:ext>
                    </a:extLst>
                  </p:cNvPr>
                  <p:cNvGrpSpPr/>
                  <p:nvPr/>
                </p:nvGrpSpPr>
                <p:grpSpPr>
                  <a:xfrm>
                    <a:off x="14473237" y="-1380350"/>
                    <a:ext cx="62865" cy="62699"/>
                    <a:chOff x="14473237" y="-1380350"/>
                    <a:chExt cx="62865" cy="62699"/>
                  </a:xfrm>
                </p:grpSpPr>
                <p:sp>
                  <p:nvSpPr>
                    <p:cNvPr id="2667" name="Freeform 7652">
                      <a:extLst>
                        <a:ext uri="{FF2B5EF4-FFF2-40B4-BE49-F238E27FC236}">
                          <a16:creationId xmlns:a16="http://schemas.microsoft.com/office/drawing/2014/main" id="{D89C05EE-8072-1239-FEE7-D99532697F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3237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8" name="Freeform 7653">
                      <a:extLst>
                        <a:ext uri="{FF2B5EF4-FFF2-40B4-BE49-F238E27FC236}">
                          <a16:creationId xmlns:a16="http://schemas.microsoft.com/office/drawing/2014/main" id="{0CE8D8ED-AF35-8684-91E0-C3E3D5BDAB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0467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2" name="Graphic 26">
                    <a:extLst>
                      <a:ext uri="{FF2B5EF4-FFF2-40B4-BE49-F238E27FC236}">
                        <a16:creationId xmlns:a16="http://schemas.microsoft.com/office/drawing/2014/main" id="{9C5BC0F1-BAB1-924C-5A90-574D7EFB7E00}"/>
                      </a:ext>
                    </a:extLst>
                  </p:cNvPr>
                  <p:cNvGrpSpPr/>
                  <p:nvPr/>
                </p:nvGrpSpPr>
                <p:grpSpPr>
                  <a:xfrm>
                    <a:off x="14476095" y="-1380350"/>
                    <a:ext cx="62865" cy="62699"/>
                    <a:chOff x="14476095" y="-1380350"/>
                    <a:chExt cx="62865" cy="62699"/>
                  </a:xfrm>
                </p:grpSpPr>
                <p:sp>
                  <p:nvSpPr>
                    <p:cNvPr id="2665" name="Freeform 7650">
                      <a:extLst>
                        <a:ext uri="{FF2B5EF4-FFF2-40B4-BE49-F238E27FC236}">
                          <a16:creationId xmlns:a16="http://schemas.microsoft.com/office/drawing/2014/main" id="{40755455-F771-28F5-5ED2-AF3FBEBAF5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6095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6" name="Freeform 7651">
                      <a:extLst>
                        <a:ext uri="{FF2B5EF4-FFF2-40B4-BE49-F238E27FC236}">
                          <a16:creationId xmlns:a16="http://schemas.microsoft.com/office/drawing/2014/main" id="{5D9FE75D-B7B5-D1A8-9D86-277BA3C2A0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0752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3" name="Graphic 26">
                    <a:extLst>
                      <a:ext uri="{FF2B5EF4-FFF2-40B4-BE49-F238E27FC236}">
                        <a16:creationId xmlns:a16="http://schemas.microsoft.com/office/drawing/2014/main" id="{74986FF1-49A4-EBE9-CD0C-72A80A7BFB42}"/>
                      </a:ext>
                    </a:extLst>
                  </p:cNvPr>
                  <p:cNvGrpSpPr/>
                  <p:nvPr/>
                </p:nvGrpSpPr>
                <p:grpSpPr>
                  <a:xfrm>
                    <a:off x="14479905" y="-1380350"/>
                    <a:ext cx="62864" cy="62699"/>
                    <a:chOff x="14479905" y="-1380350"/>
                    <a:chExt cx="62864" cy="62699"/>
                  </a:xfrm>
                </p:grpSpPr>
                <p:sp>
                  <p:nvSpPr>
                    <p:cNvPr id="2663" name="Freeform 7648">
                      <a:extLst>
                        <a:ext uri="{FF2B5EF4-FFF2-40B4-BE49-F238E27FC236}">
                          <a16:creationId xmlns:a16="http://schemas.microsoft.com/office/drawing/2014/main" id="{9A6474A5-F5A2-9204-3311-C245FCFC18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9905" y="-134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4" name="Freeform 7649">
                      <a:extLst>
                        <a:ext uri="{FF2B5EF4-FFF2-40B4-BE49-F238E27FC236}">
                          <a16:creationId xmlns:a16="http://schemas.microsoft.com/office/drawing/2014/main" id="{0CCC312E-D948-2741-E7C9-1C7E9FB0FF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133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4" name="Graphic 26">
                    <a:extLst>
                      <a:ext uri="{FF2B5EF4-FFF2-40B4-BE49-F238E27FC236}">
                        <a16:creationId xmlns:a16="http://schemas.microsoft.com/office/drawing/2014/main" id="{D63C232C-8C67-F612-2C58-CB17F47A040A}"/>
                      </a:ext>
                    </a:extLst>
                  </p:cNvPr>
                  <p:cNvGrpSpPr/>
                  <p:nvPr/>
                </p:nvGrpSpPr>
                <p:grpSpPr>
                  <a:xfrm>
                    <a:off x="14482762" y="-1380350"/>
                    <a:ext cx="62865" cy="62699"/>
                    <a:chOff x="14482762" y="-1380350"/>
                    <a:chExt cx="62865" cy="62699"/>
                  </a:xfrm>
                </p:grpSpPr>
                <p:sp>
                  <p:nvSpPr>
                    <p:cNvPr id="2661" name="Freeform 7646">
                      <a:extLst>
                        <a:ext uri="{FF2B5EF4-FFF2-40B4-BE49-F238E27FC236}">
                          <a16:creationId xmlns:a16="http://schemas.microsoft.com/office/drawing/2014/main" id="{B88749DA-6211-799E-F4AC-22E16CC64F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2762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2" name="Freeform 7647">
                      <a:extLst>
                        <a:ext uri="{FF2B5EF4-FFF2-40B4-BE49-F238E27FC236}">
                          <a16:creationId xmlns:a16="http://schemas.microsoft.com/office/drawing/2014/main" id="{D4E2EECA-44FA-FEAA-2C17-C0957DDDD5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4195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5" name="Graphic 26">
                    <a:extLst>
                      <a:ext uri="{FF2B5EF4-FFF2-40B4-BE49-F238E27FC236}">
                        <a16:creationId xmlns:a16="http://schemas.microsoft.com/office/drawing/2014/main" id="{4C3DAABF-DC34-B00E-32C9-738DD6C9D8CA}"/>
                      </a:ext>
                    </a:extLst>
                  </p:cNvPr>
                  <p:cNvGrpSpPr/>
                  <p:nvPr/>
                </p:nvGrpSpPr>
                <p:grpSpPr>
                  <a:xfrm>
                    <a:off x="14485620" y="-1380350"/>
                    <a:ext cx="63817" cy="62699"/>
                    <a:chOff x="14485620" y="-1380350"/>
                    <a:chExt cx="63817" cy="62699"/>
                  </a:xfrm>
                </p:grpSpPr>
                <p:sp>
                  <p:nvSpPr>
                    <p:cNvPr id="2659" name="Freeform 7644">
                      <a:extLst>
                        <a:ext uri="{FF2B5EF4-FFF2-40B4-BE49-F238E27FC236}">
                          <a16:creationId xmlns:a16="http://schemas.microsoft.com/office/drawing/2014/main" id="{35BE4127-BBE8-3F96-9435-09F6016C5C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5620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60" name="Freeform 7645">
                      <a:extLst>
                        <a:ext uri="{FF2B5EF4-FFF2-40B4-BE49-F238E27FC236}">
                          <a16:creationId xmlns:a16="http://schemas.microsoft.com/office/drawing/2014/main" id="{9AA3F602-CC34-A2C0-E433-0F4B38561BE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705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6" name="Graphic 26">
                    <a:extLst>
                      <a:ext uri="{FF2B5EF4-FFF2-40B4-BE49-F238E27FC236}">
                        <a16:creationId xmlns:a16="http://schemas.microsoft.com/office/drawing/2014/main" id="{B0ECD11B-97E6-49F3-D5FB-E34DD5D0512A}"/>
                      </a:ext>
                    </a:extLst>
                  </p:cNvPr>
                  <p:cNvGrpSpPr/>
                  <p:nvPr/>
                </p:nvGrpSpPr>
                <p:grpSpPr>
                  <a:xfrm>
                    <a:off x="14489430" y="-1380350"/>
                    <a:ext cx="62864" cy="62699"/>
                    <a:chOff x="14489430" y="-1380350"/>
                    <a:chExt cx="62864" cy="62699"/>
                  </a:xfrm>
                </p:grpSpPr>
                <p:sp>
                  <p:nvSpPr>
                    <p:cNvPr id="2657" name="Freeform 7642">
                      <a:extLst>
                        <a:ext uri="{FF2B5EF4-FFF2-40B4-BE49-F238E27FC236}">
                          <a16:creationId xmlns:a16="http://schemas.microsoft.com/office/drawing/2014/main" id="{BE01FB2D-CCA1-D3B9-1B51-A493AECD45C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9430" y="-134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8" name="Freeform 7643">
                      <a:extLst>
                        <a:ext uri="{FF2B5EF4-FFF2-40B4-BE49-F238E27FC236}">
                          <a16:creationId xmlns:a16="http://schemas.microsoft.com/office/drawing/2014/main" id="{50A2319C-AD12-E38B-FC82-AC8CFEA9F2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086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7" name="Graphic 26">
                    <a:extLst>
                      <a:ext uri="{FF2B5EF4-FFF2-40B4-BE49-F238E27FC236}">
                        <a16:creationId xmlns:a16="http://schemas.microsoft.com/office/drawing/2014/main" id="{CFE6AB1E-D0BD-2916-F5C4-619CA77A5661}"/>
                      </a:ext>
                    </a:extLst>
                  </p:cNvPr>
                  <p:cNvGrpSpPr/>
                  <p:nvPr/>
                </p:nvGrpSpPr>
                <p:grpSpPr>
                  <a:xfrm>
                    <a:off x="14492287" y="-1380350"/>
                    <a:ext cx="62865" cy="62699"/>
                    <a:chOff x="14492287" y="-1380350"/>
                    <a:chExt cx="62865" cy="62699"/>
                  </a:xfrm>
                </p:grpSpPr>
                <p:sp>
                  <p:nvSpPr>
                    <p:cNvPr id="2655" name="Freeform 7640">
                      <a:extLst>
                        <a:ext uri="{FF2B5EF4-FFF2-40B4-BE49-F238E27FC236}">
                          <a16:creationId xmlns:a16="http://schemas.microsoft.com/office/drawing/2014/main" id="{A6D98D7E-4B8F-4B0C-B051-D754633041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2287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6" name="Freeform 7641">
                      <a:extLst>
                        <a:ext uri="{FF2B5EF4-FFF2-40B4-BE49-F238E27FC236}">
                          <a16:creationId xmlns:a16="http://schemas.microsoft.com/office/drawing/2014/main" id="{4C8C994A-D905-902B-261E-4087A1F394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372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8" name="Graphic 26">
                    <a:extLst>
                      <a:ext uri="{FF2B5EF4-FFF2-40B4-BE49-F238E27FC236}">
                        <a16:creationId xmlns:a16="http://schemas.microsoft.com/office/drawing/2014/main" id="{3C5E1704-9A1F-AF6E-4E40-202C02BDD2BE}"/>
                      </a:ext>
                    </a:extLst>
                  </p:cNvPr>
                  <p:cNvGrpSpPr/>
                  <p:nvPr/>
                </p:nvGrpSpPr>
                <p:grpSpPr>
                  <a:xfrm>
                    <a:off x="14496097" y="-1380350"/>
                    <a:ext cx="62865" cy="62699"/>
                    <a:chOff x="14496097" y="-1380350"/>
                    <a:chExt cx="62865" cy="62699"/>
                  </a:xfrm>
                </p:grpSpPr>
                <p:sp>
                  <p:nvSpPr>
                    <p:cNvPr id="2653" name="Freeform 7638">
                      <a:extLst>
                        <a:ext uri="{FF2B5EF4-FFF2-40B4-BE49-F238E27FC236}">
                          <a16:creationId xmlns:a16="http://schemas.microsoft.com/office/drawing/2014/main" id="{6AFCFE80-965E-1051-AB6E-399F96D3A2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6097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4" name="Freeform 7639">
                      <a:extLst>
                        <a:ext uri="{FF2B5EF4-FFF2-40B4-BE49-F238E27FC236}">
                          <a16:creationId xmlns:a16="http://schemas.microsoft.com/office/drawing/2014/main" id="{DB09DA6B-82A5-D9BE-1C92-DE444ECAFF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753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69" name="Graphic 26">
                    <a:extLst>
                      <a:ext uri="{FF2B5EF4-FFF2-40B4-BE49-F238E27FC236}">
                        <a16:creationId xmlns:a16="http://schemas.microsoft.com/office/drawing/2014/main" id="{F6E3E54E-6B72-B210-3CAC-2536A47AABA2}"/>
                      </a:ext>
                    </a:extLst>
                  </p:cNvPr>
                  <p:cNvGrpSpPr/>
                  <p:nvPr/>
                </p:nvGrpSpPr>
                <p:grpSpPr>
                  <a:xfrm>
                    <a:off x="14498955" y="-1380350"/>
                    <a:ext cx="62864" cy="62699"/>
                    <a:chOff x="14498955" y="-1380350"/>
                    <a:chExt cx="62864" cy="62699"/>
                  </a:xfrm>
                </p:grpSpPr>
                <p:sp>
                  <p:nvSpPr>
                    <p:cNvPr id="2651" name="Freeform 7636">
                      <a:extLst>
                        <a:ext uri="{FF2B5EF4-FFF2-40B4-BE49-F238E27FC236}">
                          <a16:creationId xmlns:a16="http://schemas.microsoft.com/office/drawing/2014/main" id="{26CF8AED-96AA-1E1F-306A-BE43E9515C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8955" y="-134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2" name="Freeform 7637">
                      <a:extLst>
                        <a:ext uri="{FF2B5EF4-FFF2-40B4-BE49-F238E27FC236}">
                          <a16:creationId xmlns:a16="http://schemas.microsoft.com/office/drawing/2014/main" id="{B46EC73E-D5BB-B3A1-EE46-474DA96D7E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3038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0" name="Graphic 26">
                    <a:extLst>
                      <a:ext uri="{FF2B5EF4-FFF2-40B4-BE49-F238E27FC236}">
                        <a16:creationId xmlns:a16="http://schemas.microsoft.com/office/drawing/2014/main" id="{A7286916-71FB-83F6-2978-B5ED3099C6AA}"/>
                      </a:ext>
                    </a:extLst>
                  </p:cNvPr>
                  <p:cNvGrpSpPr/>
                  <p:nvPr/>
                </p:nvGrpSpPr>
                <p:grpSpPr>
                  <a:xfrm>
                    <a:off x="14573250" y="-1380350"/>
                    <a:ext cx="63817" cy="62699"/>
                    <a:chOff x="14573250" y="-1380350"/>
                    <a:chExt cx="63817" cy="62699"/>
                  </a:xfrm>
                </p:grpSpPr>
                <p:sp>
                  <p:nvSpPr>
                    <p:cNvPr id="2649" name="Freeform 7634">
                      <a:extLst>
                        <a:ext uri="{FF2B5EF4-FFF2-40B4-BE49-F238E27FC236}">
                          <a16:creationId xmlns:a16="http://schemas.microsoft.com/office/drawing/2014/main" id="{4B0C0AB5-7B8C-8B2A-885F-FDC309D06F8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73250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50" name="Freeform 7635">
                      <a:extLst>
                        <a:ext uri="{FF2B5EF4-FFF2-40B4-BE49-F238E27FC236}">
                          <a16:creationId xmlns:a16="http://schemas.microsoft.com/office/drawing/2014/main" id="{BE66EF80-58EA-B051-107E-1CB9AC65EC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0468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1" name="Graphic 26">
                    <a:extLst>
                      <a:ext uri="{FF2B5EF4-FFF2-40B4-BE49-F238E27FC236}">
                        <a16:creationId xmlns:a16="http://schemas.microsoft.com/office/drawing/2014/main" id="{7713D88F-73E6-77C3-0869-F40E8E0E365F}"/>
                      </a:ext>
                    </a:extLst>
                  </p:cNvPr>
                  <p:cNvGrpSpPr/>
                  <p:nvPr/>
                </p:nvGrpSpPr>
                <p:grpSpPr>
                  <a:xfrm>
                    <a:off x="14578965" y="-1380350"/>
                    <a:ext cx="63817" cy="62699"/>
                    <a:chOff x="14578965" y="-1380350"/>
                    <a:chExt cx="63817" cy="62699"/>
                  </a:xfrm>
                </p:grpSpPr>
                <p:sp>
                  <p:nvSpPr>
                    <p:cNvPr id="2647" name="Freeform 7632">
                      <a:extLst>
                        <a:ext uri="{FF2B5EF4-FFF2-40B4-BE49-F238E27FC236}">
                          <a16:creationId xmlns:a16="http://schemas.microsoft.com/office/drawing/2014/main" id="{9D2BFAD8-ECD7-F8F7-A7D5-4A97C2488B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78965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8" name="Freeform 7633">
                      <a:extLst>
                        <a:ext uri="{FF2B5EF4-FFF2-40B4-BE49-F238E27FC236}">
                          <a16:creationId xmlns:a16="http://schemas.microsoft.com/office/drawing/2014/main" id="{1D3B0C28-CE7B-6EE0-A1E7-036026FA1A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1350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2" name="Graphic 26">
                    <a:extLst>
                      <a:ext uri="{FF2B5EF4-FFF2-40B4-BE49-F238E27FC236}">
                        <a16:creationId xmlns:a16="http://schemas.microsoft.com/office/drawing/2014/main" id="{87ED038D-9D1A-E1B7-DDE9-B57A4DE50233}"/>
                      </a:ext>
                    </a:extLst>
                  </p:cNvPr>
                  <p:cNvGrpSpPr/>
                  <p:nvPr/>
                </p:nvGrpSpPr>
                <p:grpSpPr>
                  <a:xfrm>
                    <a:off x="14581822" y="-1380350"/>
                    <a:ext cx="63817" cy="62699"/>
                    <a:chOff x="14581822" y="-1380350"/>
                    <a:chExt cx="63817" cy="62699"/>
                  </a:xfrm>
                </p:grpSpPr>
                <p:sp>
                  <p:nvSpPr>
                    <p:cNvPr id="2645" name="Freeform 7630">
                      <a:extLst>
                        <a:ext uri="{FF2B5EF4-FFF2-40B4-BE49-F238E27FC236}">
                          <a16:creationId xmlns:a16="http://schemas.microsoft.com/office/drawing/2014/main" id="{71AF490E-9F25-1E09-0A64-AF68EEE69F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81822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6" name="Freeform 7631">
                      <a:extLst>
                        <a:ext uri="{FF2B5EF4-FFF2-40B4-BE49-F238E27FC236}">
                          <a16:creationId xmlns:a16="http://schemas.microsoft.com/office/drawing/2014/main" id="{9442CF67-D88C-7B15-30F5-E0AB4EB0F8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3255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3" name="Graphic 26">
                    <a:extLst>
                      <a:ext uri="{FF2B5EF4-FFF2-40B4-BE49-F238E27FC236}">
                        <a16:creationId xmlns:a16="http://schemas.microsoft.com/office/drawing/2014/main" id="{9590E359-169C-03D7-079A-DB126EB641EC}"/>
                      </a:ext>
                    </a:extLst>
                  </p:cNvPr>
                  <p:cNvGrpSpPr/>
                  <p:nvPr/>
                </p:nvGrpSpPr>
                <p:grpSpPr>
                  <a:xfrm>
                    <a:off x="14655165" y="-1380350"/>
                    <a:ext cx="62865" cy="62699"/>
                    <a:chOff x="14655165" y="-1380350"/>
                    <a:chExt cx="62865" cy="62699"/>
                  </a:xfrm>
                </p:grpSpPr>
                <p:sp>
                  <p:nvSpPr>
                    <p:cNvPr id="2643" name="Freeform 7628">
                      <a:extLst>
                        <a:ext uri="{FF2B5EF4-FFF2-40B4-BE49-F238E27FC236}">
                          <a16:creationId xmlns:a16="http://schemas.microsoft.com/office/drawing/2014/main" id="{D5A836BA-D938-B30F-F805-AD00FFB044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55165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4" name="Freeform 7629">
                      <a:extLst>
                        <a:ext uri="{FF2B5EF4-FFF2-40B4-BE49-F238E27FC236}">
                          <a16:creationId xmlns:a16="http://schemas.microsoft.com/office/drawing/2014/main" id="{401C6C33-AD89-24F2-C2E8-0BA0C0E13C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86597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4" name="Graphic 26">
                    <a:extLst>
                      <a:ext uri="{FF2B5EF4-FFF2-40B4-BE49-F238E27FC236}">
                        <a16:creationId xmlns:a16="http://schemas.microsoft.com/office/drawing/2014/main" id="{E36A2789-ADA7-B63D-1F68-DD1B8BA20813}"/>
                      </a:ext>
                    </a:extLst>
                  </p:cNvPr>
                  <p:cNvGrpSpPr/>
                  <p:nvPr/>
                </p:nvGrpSpPr>
                <p:grpSpPr>
                  <a:xfrm>
                    <a:off x="14726602" y="-1380350"/>
                    <a:ext cx="62865" cy="62699"/>
                    <a:chOff x="14726602" y="-1380350"/>
                    <a:chExt cx="62865" cy="62699"/>
                  </a:xfrm>
                </p:grpSpPr>
                <p:sp>
                  <p:nvSpPr>
                    <p:cNvPr id="2641" name="Freeform 7626">
                      <a:extLst>
                        <a:ext uri="{FF2B5EF4-FFF2-40B4-BE49-F238E27FC236}">
                          <a16:creationId xmlns:a16="http://schemas.microsoft.com/office/drawing/2014/main" id="{42C7F7AD-140F-9FB7-E319-4D54378AEB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6602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2" name="Freeform 7627">
                      <a:extLst>
                        <a:ext uri="{FF2B5EF4-FFF2-40B4-BE49-F238E27FC236}">
                          <a16:creationId xmlns:a16="http://schemas.microsoft.com/office/drawing/2014/main" id="{0F953DEA-11F8-7575-55B7-A00B2178D1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58035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5" name="Graphic 26">
                    <a:extLst>
                      <a:ext uri="{FF2B5EF4-FFF2-40B4-BE49-F238E27FC236}">
                        <a16:creationId xmlns:a16="http://schemas.microsoft.com/office/drawing/2014/main" id="{3009B3C5-9E7A-DD82-1606-0AB84B54BA02}"/>
                      </a:ext>
                    </a:extLst>
                  </p:cNvPr>
                  <p:cNvGrpSpPr/>
                  <p:nvPr/>
                </p:nvGrpSpPr>
                <p:grpSpPr>
                  <a:xfrm>
                    <a:off x="14858047" y="-1380350"/>
                    <a:ext cx="63817" cy="62699"/>
                    <a:chOff x="14858047" y="-1380350"/>
                    <a:chExt cx="63817" cy="62699"/>
                  </a:xfrm>
                </p:grpSpPr>
                <p:sp>
                  <p:nvSpPr>
                    <p:cNvPr id="2639" name="Freeform 7624">
                      <a:extLst>
                        <a:ext uri="{FF2B5EF4-FFF2-40B4-BE49-F238E27FC236}">
                          <a16:creationId xmlns:a16="http://schemas.microsoft.com/office/drawing/2014/main" id="{4EEA7AE9-71DD-DBFD-6BE1-CA6D690C24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58047" y="-1349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40" name="Freeform 7625">
                      <a:extLst>
                        <a:ext uri="{FF2B5EF4-FFF2-40B4-BE49-F238E27FC236}">
                          <a16:creationId xmlns:a16="http://schemas.microsoft.com/office/drawing/2014/main" id="{1B42A0FB-D56E-B839-E3F8-23FCF957CC8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9043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6" name="Graphic 26">
                    <a:extLst>
                      <a:ext uri="{FF2B5EF4-FFF2-40B4-BE49-F238E27FC236}">
                        <a16:creationId xmlns:a16="http://schemas.microsoft.com/office/drawing/2014/main" id="{2381821F-399A-5F59-BC1B-5892D545E040}"/>
                      </a:ext>
                    </a:extLst>
                  </p:cNvPr>
                  <p:cNvGrpSpPr/>
                  <p:nvPr/>
                </p:nvGrpSpPr>
                <p:grpSpPr>
                  <a:xfrm>
                    <a:off x="14958060" y="-1197950"/>
                    <a:ext cx="62865" cy="63649"/>
                    <a:chOff x="14958060" y="-1197950"/>
                    <a:chExt cx="62865" cy="63649"/>
                  </a:xfrm>
                </p:grpSpPr>
                <p:sp>
                  <p:nvSpPr>
                    <p:cNvPr id="2637" name="Freeform 7622">
                      <a:extLst>
                        <a:ext uri="{FF2B5EF4-FFF2-40B4-BE49-F238E27FC236}">
                          <a16:creationId xmlns:a16="http://schemas.microsoft.com/office/drawing/2014/main" id="{1D08BB24-77A5-2DED-867C-7A54B28A0D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58060" y="-1166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8" name="Freeform 7623">
                      <a:extLst>
                        <a:ext uri="{FF2B5EF4-FFF2-40B4-BE49-F238E27FC236}">
                          <a16:creationId xmlns:a16="http://schemas.microsoft.com/office/drawing/2014/main" id="{DAB44644-5BC8-37C2-DBCE-68FF1200FA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89492" y="-1197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7" name="Graphic 26">
                    <a:extLst>
                      <a:ext uri="{FF2B5EF4-FFF2-40B4-BE49-F238E27FC236}">
                        <a16:creationId xmlns:a16="http://schemas.microsoft.com/office/drawing/2014/main" id="{0B7D679F-80B7-5304-E4E6-27934FA73055}"/>
                      </a:ext>
                    </a:extLst>
                  </p:cNvPr>
                  <p:cNvGrpSpPr/>
                  <p:nvPr/>
                </p:nvGrpSpPr>
                <p:grpSpPr>
                  <a:xfrm>
                    <a:off x="14961870" y="-1197950"/>
                    <a:ext cx="62865" cy="63649"/>
                    <a:chOff x="14961870" y="-1197950"/>
                    <a:chExt cx="62865" cy="63649"/>
                  </a:xfrm>
                </p:grpSpPr>
                <p:sp>
                  <p:nvSpPr>
                    <p:cNvPr id="2635" name="Freeform 7620">
                      <a:extLst>
                        <a:ext uri="{FF2B5EF4-FFF2-40B4-BE49-F238E27FC236}">
                          <a16:creationId xmlns:a16="http://schemas.microsoft.com/office/drawing/2014/main" id="{B2A853F9-11CD-CC4A-9A07-FA73DAC780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61870" y="-1166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6" name="Freeform 7621">
                      <a:extLst>
                        <a:ext uri="{FF2B5EF4-FFF2-40B4-BE49-F238E27FC236}">
                          <a16:creationId xmlns:a16="http://schemas.microsoft.com/office/drawing/2014/main" id="{F643095A-EAA8-DC11-FD70-9D3876CA15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3302" y="-1197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8" name="Graphic 26">
                    <a:extLst>
                      <a:ext uri="{FF2B5EF4-FFF2-40B4-BE49-F238E27FC236}">
                        <a16:creationId xmlns:a16="http://schemas.microsoft.com/office/drawing/2014/main" id="{E42F4251-56C5-6AA2-ED34-0DD2712619B0}"/>
                      </a:ext>
                    </a:extLst>
                  </p:cNvPr>
                  <p:cNvGrpSpPr/>
                  <p:nvPr/>
                </p:nvGrpSpPr>
                <p:grpSpPr>
                  <a:xfrm>
                    <a:off x="14965680" y="-1197950"/>
                    <a:ext cx="62864" cy="63649"/>
                    <a:chOff x="14965680" y="-1197950"/>
                    <a:chExt cx="62864" cy="63649"/>
                  </a:xfrm>
                </p:grpSpPr>
                <p:sp>
                  <p:nvSpPr>
                    <p:cNvPr id="2633" name="Freeform 7618">
                      <a:extLst>
                        <a:ext uri="{FF2B5EF4-FFF2-40B4-BE49-F238E27FC236}">
                          <a16:creationId xmlns:a16="http://schemas.microsoft.com/office/drawing/2014/main" id="{2BE98D31-74C4-6075-2476-E7854AEB23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65680" y="-1166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4" name="Freeform 7619">
                      <a:extLst>
                        <a:ext uri="{FF2B5EF4-FFF2-40B4-BE49-F238E27FC236}">
                          <a16:creationId xmlns:a16="http://schemas.microsoft.com/office/drawing/2014/main" id="{41AD84ED-3A37-A91F-3071-867254DD39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7112" y="-1197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79" name="Graphic 26">
                    <a:extLst>
                      <a:ext uri="{FF2B5EF4-FFF2-40B4-BE49-F238E27FC236}">
                        <a16:creationId xmlns:a16="http://schemas.microsoft.com/office/drawing/2014/main" id="{126AE790-A07A-F4E8-8F9E-DC1916A14877}"/>
                      </a:ext>
                    </a:extLst>
                  </p:cNvPr>
                  <p:cNvGrpSpPr/>
                  <p:nvPr/>
                </p:nvGrpSpPr>
                <p:grpSpPr>
                  <a:xfrm>
                    <a:off x="15003780" y="-1194150"/>
                    <a:ext cx="63817" cy="62699"/>
                    <a:chOff x="15003780" y="-1194150"/>
                    <a:chExt cx="63817" cy="62699"/>
                  </a:xfrm>
                </p:grpSpPr>
                <p:sp>
                  <p:nvSpPr>
                    <p:cNvPr id="2631" name="Freeform 7616">
                      <a:extLst>
                        <a:ext uri="{FF2B5EF4-FFF2-40B4-BE49-F238E27FC236}">
                          <a16:creationId xmlns:a16="http://schemas.microsoft.com/office/drawing/2014/main" id="{DC483C01-EE3B-CE9E-AB27-9892459A6C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03780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2" name="Freeform 7617">
                      <a:extLst>
                        <a:ext uri="{FF2B5EF4-FFF2-40B4-BE49-F238E27FC236}">
                          <a16:creationId xmlns:a16="http://schemas.microsoft.com/office/drawing/2014/main" id="{91BCCDDF-FE3D-5E25-2393-CEB9D8F698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35212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0" name="Graphic 26">
                    <a:extLst>
                      <a:ext uri="{FF2B5EF4-FFF2-40B4-BE49-F238E27FC236}">
                        <a16:creationId xmlns:a16="http://schemas.microsoft.com/office/drawing/2014/main" id="{CF1630FD-5797-6D51-CA9A-3B3878E9F2C5}"/>
                      </a:ext>
                    </a:extLst>
                  </p:cNvPr>
                  <p:cNvGrpSpPr/>
                  <p:nvPr/>
                </p:nvGrpSpPr>
                <p:grpSpPr>
                  <a:xfrm>
                    <a:off x="15019972" y="-1194150"/>
                    <a:ext cx="62865" cy="62699"/>
                    <a:chOff x="15019972" y="-1194150"/>
                    <a:chExt cx="62865" cy="62699"/>
                  </a:xfrm>
                </p:grpSpPr>
                <p:sp>
                  <p:nvSpPr>
                    <p:cNvPr id="2629" name="Freeform 7614">
                      <a:extLst>
                        <a:ext uri="{FF2B5EF4-FFF2-40B4-BE49-F238E27FC236}">
                          <a16:creationId xmlns:a16="http://schemas.microsoft.com/office/drawing/2014/main" id="{E588CEEF-6C70-6E3E-EA9B-ABD1322825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1997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30" name="Freeform 7615">
                      <a:extLst>
                        <a:ext uri="{FF2B5EF4-FFF2-40B4-BE49-F238E27FC236}">
                          <a16:creationId xmlns:a16="http://schemas.microsoft.com/office/drawing/2014/main" id="{8DF9C0B5-1BD1-2B27-D8AA-1F80971A42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5140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1" name="Graphic 26">
                    <a:extLst>
                      <a:ext uri="{FF2B5EF4-FFF2-40B4-BE49-F238E27FC236}">
                        <a16:creationId xmlns:a16="http://schemas.microsoft.com/office/drawing/2014/main" id="{A26145FD-C653-A885-8A96-CA194A5B01D9}"/>
                      </a:ext>
                    </a:extLst>
                  </p:cNvPr>
                  <p:cNvGrpSpPr/>
                  <p:nvPr/>
                </p:nvGrpSpPr>
                <p:grpSpPr>
                  <a:xfrm>
                    <a:off x="15060930" y="-1194150"/>
                    <a:ext cx="63817" cy="62699"/>
                    <a:chOff x="15060930" y="-1194150"/>
                    <a:chExt cx="63817" cy="62699"/>
                  </a:xfrm>
                </p:grpSpPr>
                <p:sp>
                  <p:nvSpPr>
                    <p:cNvPr id="2627" name="Freeform 7612">
                      <a:extLst>
                        <a:ext uri="{FF2B5EF4-FFF2-40B4-BE49-F238E27FC236}">
                          <a16:creationId xmlns:a16="http://schemas.microsoft.com/office/drawing/2014/main" id="{2A40416E-8E4E-3AA4-900F-7D290C2339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60930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8" name="Freeform 7613">
                      <a:extLst>
                        <a:ext uri="{FF2B5EF4-FFF2-40B4-BE49-F238E27FC236}">
                          <a16:creationId xmlns:a16="http://schemas.microsoft.com/office/drawing/2014/main" id="{07718037-586E-F268-31C6-097908BA7C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9331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2" name="Graphic 26">
                    <a:extLst>
                      <a:ext uri="{FF2B5EF4-FFF2-40B4-BE49-F238E27FC236}">
                        <a16:creationId xmlns:a16="http://schemas.microsoft.com/office/drawing/2014/main" id="{E350CCC1-B2F5-BF9C-8416-FBF7902D1195}"/>
                      </a:ext>
                    </a:extLst>
                  </p:cNvPr>
                  <p:cNvGrpSpPr/>
                  <p:nvPr/>
                </p:nvGrpSpPr>
                <p:grpSpPr>
                  <a:xfrm>
                    <a:off x="15077122" y="-1194150"/>
                    <a:ext cx="63817" cy="62699"/>
                    <a:chOff x="15077122" y="-1194150"/>
                    <a:chExt cx="63817" cy="62699"/>
                  </a:xfrm>
                </p:grpSpPr>
                <p:sp>
                  <p:nvSpPr>
                    <p:cNvPr id="2625" name="Freeform 7610">
                      <a:extLst>
                        <a:ext uri="{FF2B5EF4-FFF2-40B4-BE49-F238E27FC236}">
                          <a16:creationId xmlns:a16="http://schemas.microsoft.com/office/drawing/2014/main" id="{27AF97C6-6BFA-D624-DB62-C3D2E42B00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7122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6" name="Freeform 7611">
                      <a:extLst>
                        <a:ext uri="{FF2B5EF4-FFF2-40B4-BE49-F238E27FC236}">
                          <a16:creationId xmlns:a16="http://schemas.microsoft.com/office/drawing/2014/main" id="{62DD27F2-9D22-3199-D1C7-067CDBFB54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09507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3" name="Graphic 26">
                    <a:extLst>
                      <a:ext uri="{FF2B5EF4-FFF2-40B4-BE49-F238E27FC236}">
                        <a16:creationId xmlns:a16="http://schemas.microsoft.com/office/drawing/2014/main" id="{06DC7991-07A3-CC82-E343-57BE064854EB}"/>
                      </a:ext>
                    </a:extLst>
                  </p:cNvPr>
                  <p:cNvGrpSpPr/>
                  <p:nvPr/>
                </p:nvGrpSpPr>
                <p:grpSpPr>
                  <a:xfrm>
                    <a:off x="15082837" y="-1194150"/>
                    <a:ext cx="62865" cy="62699"/>
                    <a:chOff x="15082837" y="-1194150"/>
                    <a:chExt cx="62865" cy="62699"/>
                  </a:xfrm>
                </p:grpSpPr>
                <p:sp>
                  <p:nvSpPr>
                    <p:cNvPr id="2623" name="Freeform 7608">
                      <a:extLst>
                        <a:ext uri="{FF2B5EF4-FFF2-40B4-BE49-F238E27FC236}">
                          <a16:creationId xmlns:a16="http://schemas.microsoft.com/office/drawing/2014/main" id="{8C194346-9C3E-97AB-9225-AD1A0A02BB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82837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4" name="Freeform 7609">
                      <a:extLst>
                        <a:ext uri="{FF2B5EF4-FFF2-40B4-BE49-F238E27FC236}">
                          <a16:creationId xmlns:a16="http://schemas.microsoft.com/office/drawing/2014/main" id="{39D31F69-164B-4157-C24F-298E0FC465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1427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4" name="Graphic 26">
                    <a:extLst>
                      <a:ext uri="{FF2B5EF4-FFF2-40B4-BE49-F238E27FC236}">
                        <a16:creationId xmlns:a16="http://schemas.microsoft.com/office/drawing/2014/main" id="{E2617405-B4A6-4D89-2D8A-443E7F5650A9}"/>
                      </a:ext>
                    </a:extLst>
                  </p:cNvPr>
                  <p:cNvGrpSpPr/>
                  <p:nvPr/>
                </p:nvGrpSpPr>
                <p:grpSpPr>
                  <a:xfrm>
                    <a:off x="15088552" y="-1194150"/>
                    <a:ext cx="62865" cy="62699"/>
                    <a:chOff x="15088552" y="-1194150"/>
                    <a:chExt cx="62865" cy="62699"/>
                  </a:xfrm>
                </p:grpSpPr>
                <p:sp>
                  <p:nvSpPr>
                    <p:cNvPr id="2621" name="Freeform 7606">
                      <a:extLst>
                        <a:ext uri="{FF2B5EF4-FFF2-40B4-BE49-F238E27FC236}">
                          <a16:creationId xmlns:a16="http://schemas.microsoft.com/office/drawing/2014/main" id="{51C69CDD-D00A-45A0-8025-C9BACC299AD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8855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2" name="Freeform 7607">
                      <a:extLst>
                        <a:ext uri="{FF2B5EF4-FFF2-40B4-BE49-F238E27FC236}">
                          <a16:creationId xmlns:a16="http://schemas.microsoft.com/office/drawing/2014/main" id="{7C9B35D8-39C9-E69B-05B7-8468F509971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1998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5" name="Graphic 26">
                    <a:extLst>
                      <a:ext uri="{FF2B5EF4-FFF2-40B4-BE49-F238E27FC236}">
                        <a16:creationId xmlns:a16="http://schemas.microsoft.com/office/drawing/2014/main" id="{A75F6E0E-0A12-28B3-4B19-A3992D9730DA}"/>
                      </a:ext>
                    </a:extLst>
                  </p:cNvPr>
                  <p:cNvGrpSpPr/>
                  <p:nvPr/>
                </p:nvGrpSpPr>
                <p:grpSpPr>
                  <a:xfrm>
                    <a:off x="15093315" y="-1194150"/>
                    <a:ext cx="63817" cy="62699"/>
                    <a:chOff x="15093315" y="-1194150"/>
                    <a:chExt cx="63817" cy="62699"/>
                  </a:xfrm>
                </p:grpSpPr>
                <p:sp>
                  <p:nvSpPr>
                    <p:cNvPr id="2619" name="Freeform 7604">
                      <a:extLst>
                        <a:ext uri="{FF2B5EF4-FFF2-40B4-BE49-F238E27FC236}">
                          <a16:creationId xmlns:a16="http://schemas.microsoft.com/office/drawing/2014/main" id="{C57D7D15-D979-D512-717E-C7E11A3CAF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93315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20" name="Freeform 7605">
                      <a:extLst>
                        <a:ext uri="{FF2B5EF4-FFF2-40B4-BE49-F238E27FC236}">
                          <a16:creationId xmlns:a16="http://schemas.microsoft.com/office/drawing/2014/main" id="{0F7E787B-D15E-B892-B8AA-50D7200319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2570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6" name="Graphic 26">
                    <a:extLst>
                      <a:ext uri="{FF2B5EF4-FFF2-40B4-BE49-F238E27FC236}">
                        <a16:creationId xmlns:a16="http://schemas.microsoft.com/office/drawing/2014/main" id="{52069000-B15F-FD6D-B8ED-2BC08DBEFEB9}"/>
                      </a:ext>
                    </a:extLst>
                  </p:cNvPr>
                  <p:cNvGrpSpPr/>
                  <p:nvPr/>
                </p:nvGrpSpPr>
                <p:grpSpPr>
                  <a:xfrm>
                    <a:off x="15128557" y="-1194150"/>
                    <a:ext cx="63817" cy="62699"/>
                    <a:chOff x="15128557" y="-1194150"/>
                    <a:chExt cx="63817" cy="62699"/>
                  </a:xfrm>
                </p:grpSpPr>
                <p:sp>
                  <p:nvSpPr>
                    <p:cNvPr id="2617" name="Freeform 7602">
                      <a:extLst>
                        <a:ext uri="{FF2B5EF4-FFF2-40B4-BE49-F238E27FC236}">
                          <a16:creationId xmlns:a16="http://schemas.microsoft.com/office/drawing/2014/main" id="{3D5E3131-2AED-1E95-C19E-E5394C79CB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28557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8" name="Freeform 7603">
                      <a:extLst>
                        <a:ext uri="{FF2B5EF4-FFF2-40B4-BE49-F238E27FC236}">
                          <a16:creationId xmlns:a16="http://schemas.microsoft.com/office/drawing/2014/main" id="{4380A404-68EF-741C-0B05-C965122F6B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5999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7" name="Graphic 26">
                    <a:extLst>
                      <a:ext uri="{FF2B5EF4-FFF2-40B4-BE49-F238E27FC236}">
                        <a16:creationId xmlns:a16="http://schemas.microsoft.com/office/drawing/2014/main" id="{AED946F2-3A73-055B-E0D0-2D6C670D3F32}"/>
                      </a:ext>
                    </a:extLst>
                  </p:cNvPr>
                  <p:cNvGrpSpPr/>
                  <p:nvPr/>
                </p:nvGrpSpPr>
                <p:grpSpPr>
                  <a:xfrm>
                    <a:off x="15132367" y="-1194150"/>
                    <a:ext cx="62864" cy="62699"/>
                    <a:chOff x="15132367" y="-1194150"/>
                    <a:chExt cx="62864" cy="62699"/>
                  </a:xfrm>
                </p:grpSpPr>
                <p:sp>
                  <p:nvSpPr>
                    <p:cNvPr id="2615" name="Freeform 7600">
                      <a:extLst>
                        <a:ext uri="{FF2B5EF4-FFF2-40B4-BE49-F238E27FC236}">
                          <a16:creationId xmlns:a16="http://schemas.microsoft.com/office/drawing/2014/main" id="{E5831C3A-5142-8AD2-7AFF-9D93F9D762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32367" y="-1162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6" name="Freeform 7601">
                      <a:extLst>
                        <a:ext uri="{FF2B5EF4-FFF2-40B4-BE49-F238E27FC236}">
                          <a16:creationId xmlns:a16="http://schemas.microsoft.com/office/drawing/2014/main" id="{5ACBA4FD-C1C1-12D7-506B-DC954011E30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380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8" name="Graphic 26">
                    <a:extLst>
                      <a:ext uri="{FF2B5EF4-FFF2-40B4-BE49-F238E27FC236}">
                        <a16:creationId xmlns:a16="http://schemas.microsoft.com/office/drawing/2014/main" id="{64E9F9DB-E632-D07B-A211-8AC1BADF8DB9}"/>
                      </a:ext>
                    </a:extLst>
                  </p:cNvPr>
                  <p:cNvGrpSpPr/>
                  <p:nvPr/>
                </p:nvGrpSpPr>
                <p:grpSpPr>
                  <a:xfrm>
                    <a:off x="15139987" y="-1194150"/>
                    <a:ext cx="62865" cy="62699"/>
                    <a:chOff x="15139987" y="-1194150"/>
                    <a:chExt cx="62865" cy="62699"/>
                  </a:xfrm>
                </p:grpSpPr>
                <p:sp>
                  <p:nvSpPr>
                    <p:cNvPr id="2613" name="Freeform 7598">
                      <a:extLst>
                        <a:ext uri="{FF2B5EF4-FFF2-40B4-BE49-F238E27FC236}">
                          <a16:creationId xmlns:a16="http://schemas.microsoft.com/office/drawing/2014/main" id="{75FC1FB9-1567-966B-3DCD-9E237C5827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39987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4" name="Freeform 7599">
                      <a:extLst>
                        <a:ext uri="{FF2B5EF4-FFF2-40B4-BE49-F238E27FC236}">
                          <a16:creationId xmlns:a16="http://schemas.microsoft.com/office/drawing/2014/main" id="{0077587C-96B8-CAA1-B937-03D5EE20B8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142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89" name="Graphic 26">
                    <a:extLst>
                      <a:ext uri="{FF2B5EF4-FFF2-40B4-BE49-F238E27FC236}">
                        <a16:creationId xmlns:a16="http://schemas.microsoft.com/office/drawing/2014/main" id="{5AED149C-1C1E-FB48-07E4-6910FF527E6D}"/>
                      </a:ext>
                    </a:extLst>
                  </p:cNvPr>
                  <p:cNvGrpSpPr/>
                  <p:nvPr/>
                </p:nvGrpSpPr>
                <p:grpSpPr>
                  <a:xfrm>
                    <a:off x="15147607" y="-1194150"/>
                    <a:ext cx="62865" cy="62699"/>
                    <a:chOff x="15147607" y="-1194150"/>
                    <a:chExt cx="62865" cy="62699"/>
                  </a:xfrm>
                </p:grpSpPr>
                <p:sp>
                  <p:nvSpPr>
                    <p:cNvPr id="2611" name="Freeform 7596">
                      <a:extLst>
                        <a:ext uri="{FF2B5EF4-FFF2-40B4-BE49-F238E27FC236}">
                          <a16:creationId xmlns:a16="http://schemas.microsoft.com/office/drawing/2014/main" id="{4CF92689-8606-79BF-49D6-E8B90632E3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47607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2" name="Freeform 7597">
                      <a:extLst>
                        <a:ext uri="{FF2B5EF4-FFF2-40B4-BE49-F238E27FC236}">
                          <a16:creationId xmlns:a16="http://schemas.microsoft.com/office/drawing/2014/main" id="{A0334CDD-D045-B1EE-C1D9-F971768431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904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0" name="Graphic 26">
                    <a:extLst>
                      <a:ext uri="{FF2B5EF4-FFF2-40B4-BE49-F238E27FC236}">
                        <a16:creationId xmlns:a16="http://schemas.microsoft.com/office/drawing/2014/main" id="{C5A58F7C-17A4-2A87-2EC8-7B64109B861E}"/>
                      </a:ext>
                    </a:extLst>
                  </p:cNvPr>
                  <p:cNvGrpSpPr/>
                  <p:nvPr/>
                </p:nvGrpSpPr>
                <p:grpSpPr>
                  <a:xfrm>
                    <a:off x="15184755" y="-1194150"/>
                    <a:ext cx="62864" cy="62699"/>
                    <a:chOff x="15184755" y="-1194150"/>
                    <a:chExt cx="62864" cy="62699"/>
                  </a:xfrm>
                </p:grpSpPr>
                <p:sp>
                  <p:nvSpPr>
                    <p:cNvPr id="2609" name="Freeform 7594">
                      <a:extLst>
                        <a:ext uri="{FF2B5EF4-FFF2-40B4-BE49-F238E27FC236}">
                          <a16:creationId xmlns:a16="http://schemas.microsoft.com/office/drawing/2014/main" id="{ACC88E49-2459-D365-7883-916D7DED38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4755" y="-1162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10" name="Freeform 7595">
                      <a:extLst>
                        <a:ext uri="{FF2B5EF4-FFF2-40B4-BE49-F238E27FC236}">
                          <a16:creationId xmlns:a16="http://schemas.microsoft.com/office/drawing/2014/main" id="{09123278-D920-CC0C-9DF3-CBFEB3905C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16187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1" name="Graphic 26">
                    <a:extLst>
                      <a:ext uri="{FF2B5EF4-FFF2-40B4-BE49-F238E27FC236}">
                        <a16:creationId xmlns:a16="http://schemas.microsoft.com/office/drawing/2014/main" id="{B0138D91-1413-1C52-317C-42FB4C6E23A3}"/>
                      </a:ext>
                    </a:extLst>
                  </p:cNvPr>
                  <p:cNvGrpSpPr/>
                  <p:nvPr/>
                </p:nvGrpSpPr>
                <p:grpSpPr>
                  <a:xfrm>
                    <a:off x="15189517" y="-1194150"/>
                    <a:ext cx="63817" cy="62699"/>
                    <a:chOff x="15189517" y="-1194150"/>
                    <a:chExt cx="63817" cy="62699"/>
                  </a:xfrm>
                </p:grpSpPr>
                <p:sp>
                  <p:nvSpPr>
                    <p:cNvPr id="2607" name="Freeform 7592">
                      <a:extLst>
                        <a:ext uri="{FF2B5EF4-FFF2-40B4-BE49-F238E27FC236}">
                          <a16:creationId xmlns:a16="http://schemas.microsoft.com/office/drawing/2014/main" id="{DB901A8B-12E3-F58E-430A-B3FA114DB2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9517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8" name="Freeform 7593">
                      <a:extLst>
                        <a:ext uri="{FF2B5EF4-FFF2-40B4-BE49-F238E27FC236}">
                          <a16:creationId xmlns:a16="http://schemas.microsoft.com/office/drawing/2014/main" id="{5B968F71-B2B7-CDB4-3805-D4C7930155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20950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2" name="Graphic 26">
                    <a:extLst>
                      <a:ext uri="{FF2B5EF4-FFF2-40B4-BE49-F238E27FC236}">
                        <a16:creationId xmlns:a16="http://schemas.microsoft.com/office/drawing/2014/main" id="{A831E874-B07F-100E-7E98-884717A4C3F8}"/>
                      </a:ext>
                    </a:extLst>
                  </p:cNvPr>
                  <p:cNvGrpSpPr/>
                  <p:nvPr/>
                </p:nvGrpSpPr>
                <p:grpSpPr>
                  <a:xfrm>
                    <a:off x="15195232" y="-1194150"/>
                    <a:ext cx="62865" cy="62699"/>
                    <a:chOff x="15195232" y="-1194150"/>
                    <a:chExt cx="62865" cy="62699"/>
                  </a:xfrm>
                </p:grpSpPr>
                <p:sp>
                  <p:nvSpPr>
                    <p:cNvPr id="2605" name="Freeform 7590">
                      <a:extLst>
                        <a:ext uri="{FF2B5EF4-FFF2-40B4-BE49-F238E27FC236}">
                          <a16:creationId xmlns:a16="http://schemas.microsoft.com/office/drawing/2014/main" id="{DEB442EE-B4F4-3584-9E0D-DD49743D46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523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6" name="Freeform 7591">
                      <a:extLst>
                        <a:ext uri="{FF2B5EF4-FFF2-40B4-BE49-F238E27FC236}">
                          <a16:creationId xmlns:a16="http://schemas.microsoft.com/office/drawing/2014/main" id="{87E95372-2928-F6B7-9A98-9D88DB1E83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2666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3" name="Graphic 26">
                    <a:extLst>
                      <a:ext uri="{FF2B5EF4-FFF2-40B4-BE49-F238E27FC236}">
                        <a16:creationId xmlns:a16="http://schemas.microsoft.com/office/drawing/2014/main" id="{84041716-7938-639D-579C-1075DFF0F7FE}"/>
                      </a:ext>
                    </a:extLst>
                  </p:cNvPr>
                  <p:cNvGrpSpPr/>
                  <p:nvPr/>
                </p:nvGrpSpPr>
                <p:grpSpPr>
                  <a:xfrm>
                    <a:off x="15305722" y="-1194150"/>
                    <a:ext cx="62865" cy="62699"/>
                    <a:chOff x="15305722" y="-1194150"/>
                    <a:chExt cx="62865" cy="62699"/>
                  </a:xfrm>
                </p:grpSpPr>
                <p:sp>
                  <p:nvSpPr>
                    <p:cNvPr id="2603" name="Freeform 7588">
                      <a:extLst>
                        <a:ext uri="{FF2B5EF4-FFF2-40B4-BE49-F238E27FC236}">
                          <a16:creationId xmlns:a16="http://schemas.microsoft.com/office/drawing/2014/main" id="{EAA910BC-273C-1ADC-7A19-4467049153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05722" y="-1162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4" name="Freeform 7589">
                      <a:extLst>
                        <a:ext uri="{FF2B5EF4-FFF2-40B4-BE49-F238E27FC236}">
                          <a16:creationId xmlns:a16="http://schemas.microsoft.com/office/drawing/2014/main" id="{B7C371D0-B355-0596-EB68-5D70B68D53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3715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4" name="Graphic 26">
                    <a:extLst>
                      <a:ext uri="{FF2B5EF4-FFF2-40B4-BE49-F238E27FC236}">
                        <a16:creationId xmlns:a16="http://schemas.microsoft.com/office/drawing/2014/main" id="{43A45FB7-B5F3-83AC-8C41-EFA5D5FF2022}"/>
                      </a:ext>
                    </a:extLst>
                  </p:cNvPr>
                  <p:cNvGrpSpPr/>
                  <p:nvPr/>
                </p:nvGrpSpPr>
                <p:grpSpPr>
                  <a:xfrm>
                    <a:off x="15308580" y="-1194150"/>
                    <a:ext cx="63817" cy="62699"/>
                    <a:chOff x="15308580" y="-1194150"/>
                    <a:chExt cx="63817" cy="62699"/>
                  </a:xfrm>
                </p:grpSpPr>
                <p:sp>
                  <p:nvSpPr>
                    <p:cNvPr id="2601" name="Freeform 7586">
                      <a:extLst>
                        <a:ext uri="{FF2B5EF4-FFF2-40B4-BE49-F238E27FC236}">
                          <a16:creationId xmlns:a16="http://schemas.microsoft.com/office/drawing/2014/main" id="{20E439AE-4D9D-E482-0AFC-E45570A9BE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08580" y="-1162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2" name="Freeform 7587">
                      <a:extLst>
                        <a:ext uri="{FF2B5EF4-FFF2-40B4-BE49-F238E27FC236}">
                          <a16:creationId xmlns:a16="http://schemas.microsoft.com/office/drawing/2014/main" id="{743F5C83-64ED-AA27-3AD9-2E587AC41E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40965" y="-11941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5" name="Graphic 26">
                    <a:extLst>
                      <a:ext uri="{FF2B5EF4-FFF2-40B4-BE49-F238E27FC236}">
                        <a16:creationId xmlns:a16="http://schemas.microsoft.com/office/drawing/2014/main" id="{52B7EFBA-5022-A565-1A52-6E29277A39CB}"/>
                      </a:ext>
                    </a:extLst>
                  </p:cNvPr>
                  <p:cNvGrpSpPr/>
                  <p:nvPr/>
                </p:nvGrpSpPr>
                <p:grpSpPr>
                  <a:xfrm>
                    <a:off x="14531340" y="-1380350"/>
                    <a:ext cx="62865" cy="62699"/>
                    <a:chOff x="14531340" y="-1380350"/>
                    <a:chExt cx="62865" cy="62699"/>
                  </a:xfrm>
                </p:grpSpPr>
                <p:sp>
                  <p:nvSpPr>
                    <p:cNvPr id="2599" name="Freeform 7584">
                      <a:extLst>
                        <a:ext uri="{FF2B5EF4-FFF2-40B4-BE49-F238E27FC236}">
                          <a16:creationId xmlns:a16="http://schemas.microsoft.com/office/drawing/2014/main" id="{0393F743-0446-ED91-7FFF-12D45ABC402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31340" y="-1349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600" name="Freeform 7585">
                      <a:extLst>
                        <a:ext uri="{FF2B5EF4-FFF2-40B4-BE49-F238E27FC236}">
                          <a16:creationId xmlns:a16="http://schemas.microsoft.com/office/drawing/2014/main" id="{F838E1B6-239C-7077-87D9-10EE06164B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62772" y="-138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596" name="Graphic 26">
                    <a:extLst>
                      <a:ext uri="{FF2B5EF4-FFF2-40B4-BE49-F238E27FC236}">
                        <a16:creationId xmlns:a16="http://schemas.microsoft.com/office/drawing/2014/main" id="{9A4208B6-0D7E-11BB-1188-83533E8343D7}"/>
                      </a:ext>
                    </a:extLst>
                  </p:cNvPr>
                  <p:cNvGrpSpPr/>
                  <p:nvPr/>
                </p:nvGrpSpPr>
                <p:grpSpPr>
                  <a:xfrm>
                    <a:off x="13893165" y="-1464900"/>
                    <a:ext cx="63817" cy="63650"/>
                    <a:chOff x="13893165" y="-1464900"/>
                    <a:chExt cx="63817" cy="63650"/>
                  </a:xfrm>
                </p:grpSpPr>
                <p:sp>
                  <p:nvSpPr>
                    <p:cNvPr id="2597" name="Freeform 7582">
                      <a:extLst>
                        <a:ext uri="{FF2B5EF4-FFF2-40B4-BE49-F238E27FC236}">
                          <a16:creationId xmlns:a16="http://schemas.microsoft.com/office/drawing/2014/main" id="{B82301C9-A8E3-4589-3969-FBE3A4F607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93165" y="-143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598" name="Freeform 7583">
                      <a:extLst>
                        <a:ext uri="{FF2B5EF4-FFF2-40B4-BE49-F238E27FC236}">
                          <a16:creationId xmlns:a16="http://schemas.microsoft.com/office/drawing/2014/main" id="{8ADF7EC2-CFD6-D236-BC7C-699466DDD1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24597" y="-14649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68D2DF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470" name="Freeform 7455">
                  <a:extLst>
                    <a:ext uri="{FF2B5EF4-FFF2-40B4-BE49-F238E27FC236}">
                      <a16:creationId xmlns:a16="http://schemas.microsoft.com/office/drawing/2014/main" id="{2DA582DF-6A65-39AD-EAAC-AF0756904255}"/>
                    </a:ext>
                  </a:extLst>
                </p:cNvPr>
                <p:cNvSpPr/>
                <p:nvPr/>
              </p:nvSpPr>
              <p:spPr>
                <a:xfrm>
                  <a:off x="9774554" y="-2266700"/>
                  <a:ext cx="5562600" cy="1103900"/>
                </a:xfrm>
                <a:custGeom>
                  <a:avLst/>
                  <a:gdLst>
                    <a:gd name="connsiteX0" fmla="*/ 0 w 5562600"/>
                    <a:gd name="connsiteY0" fmla="*/ 0 h 1103900"/>
                    <a:gd name="connsiteX1" fmla="*/ 269558 w 5562600"/>
                    <a:gd name="connsiteY1" fmla="*/ 0 h 1103900"/>
                    <a:gd name="connsiteX2" fmla="*/ 269558 w 5562600"/>
                    <a:gd name="connsiteY2" fmla="*/ 14250 h 1103900"/>
                    <a:gd name="connsiteX3" fmla="*/ 539115 w 5562600"/>
                    <a:gd name="connsiteY3" fmla="*/ 14250 h 1103900"/>
                    <a:gd name="connsiteX4" fmla="*/ 539115 w 5562600"/>
                    <a:gd name="connsiteY4" fmla="*/ 26600 h 1103900"/>
                    <a:gd name="connsiteX5" fmla="*/ 721043 w 5562600"/>
                    <a:gd name="connsiteY5" fmla="*/ 26600 h 1103900"/>
                    <a:gd name="connsiteX6" fmla="*/ 721043 w 5562600"/>
                    <a:gd name="connsiteY6" fmla="*/ 47500 h 1103900"/>
                    <a:gd name="connsiteX7" fmla="*/ 776288 w 5562600"/>
                    <a:gd name="connsiteY7" fmla="*/ 47500 h 1103900"/>
                    <a:gd name="connsiteX8" fmla="*/ 776288 w 5562600"/>
                    <a:gd name="connsiteY8" fmla="*/ 63650 h 1103900"/>
                    <a:gd name="connsiteX9" fmla="*/ 998220 w 5562600"/>
                    <a:gd name="connsiteY9" fmla="*/ 63650 h 1103900"/>
                    <a:gd name="connsiteX10" fmla="*/ 998220 w 5562600"/>
                    <a:gd name="connsiteY10" fmla="*/ 76950 h 1103900"/>
                    <a:gd name="connsiteX11" fmla="*/ 1082993 w 5562600"/>
                    <a:gd name="connsiteY11" fmla="*/ 76950 h 1103900"/>
                    <a:gd name="connsiteX12" fmla="*/ 1082993 w 5562600"/>
                    <a:gd name="connsiteY12" fmla="*/ 87400 h 1103900"/>
                    <a:gd name="connsiteX13" fmla="*/ 1302068 w 5562600"/>
                    <a:gd name="connsiteY13" fmla="*/ 87400 h 1103900"/>
                    <a:gd name="connsiteX14" fmla="*/ 1302068 w 5562600"/>
                    <a:gd name="connsiteY14" fmla="*/ 102600 h 1103900"/>
                    <a:gd name="connsiteX15" fmla="*/ 1326833 w 5562600"/>
                    <a:gd name="connsiteY15" fmla="*/ 102600 h 1103900"/>
                    <a:gd name="connsiteX16" fmla="*/ 1326833 w 5562600"/>
                    <a:gd name="connsiteY16" fmla="*/ 114950 h 1103900"/>
                    <a:gd name="connsiteX17" fmla="*/ 1559243 w 5562600"/>
                    <a:gd name="connsiteY17" fmla="*/ 114950 h 1103900"/>
                    <a:gd name="connsiteX18" fmla="*/ 1559243 w 5562600"/>
                    <a:gd name="connsiteY18" fmla="*/ 127300 h 1103900"/>
                    <a:gd name="connsiteX19" fmla="*/ 1589723 w 5562600"/>
                    <a:gd name="connsiteY19" fmla="*/ 127300 h 1103900"/>
                    <a:gd name="connsiteX20" fmla="*/ 1589723 w 5562600"/>
                    <a:gd name="connsiteY20" fmla="*/ 159600 h 1103900"/>
                    <a:gd name="connsiteX21" fmla="*/ 1630680 w 5562600"/>
                    <a:gd name="connsiteY21" fmla="*/ 159600 h 1103900"/>
                    <a:gd name="connsiteX22" fmla="*/ 1630680 w 5562600"/>
                    <a:gd name="connsiteY22" fmla="*/ 186200 h 1103900"/>
                    <a:gd name="connsiteX23" fmla="*/ 1824990 w 5562600"/>
                    <a:gd name="connsiteY23" fmla="*/ 186200 h 1103900"/>
                    <a:gd name="connsiteX24" fmla="*/ 1824990 w 5562600"/>
                    <a:gd name="connsiteY24" fmla="*/ 208050 h 1103900"/>
                    <a:gd name="connsiteX25" fmla="*/ 1916430 w 5562600"/>
                    <a:gd name="connsiteY25" fmla="*/ 208050 h 1103900"/>
                    <a:gd name="connsiteX26" fmla="*/ 1916430 w 5562600"/>
                    <a:gd name="connsiteY26" fmla="*/ 227050 h 1103900"/>
                    <a:gd name="connsiteX27" fmla="*/ 1958340 w 5562600"/>
                    <a:gd name="connsiteY27" fmla="*/ 227050 h 1103900"/>
                    <a:gd name="connsiteX28" fmla="*/ 1958340 w 5562600"/>
                    <a:gd name="connsiteY28" fmla="*/ 242250 h 1103900"/>
                    <a:gd name="connsiteX29" fmla="*/ 2161223 w 5562600"/>
                    <a:gd name="connsiteY29" fmla="*/ 242250 h 1103900"/>
                    <a:gd name="connsiteX30" fmla="*/ 2161223 w 5562600"/>
                    <a:gd name="connsiteY30" fmla="*/ 272650 h 1103900"/>
                    <a:gd name="connsiteX31" fmla="*/ 2222183 w 5562600"/>
                    <a:gd name="connsiteY31" fmla="*/ 272650 h 1103900"/>
                    <a:gd name="connsiteX32" fmla="*/ 2222183 w 5562600"/>
                    <a:gd name="connsiteY32" fmla="*/ 283100 h 1103900"/>
                    <a:gd name="connsiteX33" fmla="*/ 2426018 w 5562600"/>
                    <a:gd name="connsiteY33" fmla="*/ 283100 h 1103900"/>
                    <a:gd name="connsiteX34" fmla="*/ 2426018 w 5562600"/>
                    <a:gd name="connsiteY34" fmla="*/ 316350 h 1103900"/>
                    <a:gd name="connsiteX35" fmla="*/ 2484120 w 5562600"/>
                    <a:gd name="connsiteY35" fmla="*/ 316350 h 1103900"/>
                    <a:gd name="connsiteX36" fmla="*/ 2484120 w 5562600"/>
                    <a:gd name="connsiteY36" fmla="*/ 336300 h 1103900"/>
                    <a:gd name="connsiteX37" fmla="*/ 2600325 w 5562600"/>
                    <a:gd name="connsiteY37" fmla="*/ 336300 h 1103900"/>
                    <a:gd name="connsiteX38" fmla="*/ 2600325 w 5562600"/>
                    <a:gd name="connsiteY38" fmla="*/ 351500 h 1103900"/>
                    <a:gd name="connsiteX39" fmla="*/ 2681288 w 5562600"/>
                    <a:gd name="connsiteY39" fmla="*/ 351500 h 1103900"/>
                    <a:gd name="connsiteX40" fmla="*/ 2681288 w 5562600"/>
                    <a:gd name="connsiteY40" fmla="*/ 365750 h 1103900"/>
                    <a:gd name="connsiteX41" fmla="*/ 2730818 w 5562600"/>
                    <a:gd name="connsiteY41" fmla="*/ 365750 h 1103900"/>
                    <a:gd name="connsiteX42" fmla="*/ 2730818 w 5562600"/>
                    <a:gd name="connsiteY42" fmla="*/ 384750 h 1103900"/>
                    <a:gd name="connsiteX43" fmla="*/ 2753678 w 5562600"/>
                    <a:gd name="connsiteY43" fmla="*/ 384750 h 1103900"/>
                    <a:gd name="connsiteX44" fmla="*/ 2753678 w 5562600"/>
                    <a:gd name="connsiteY44" fmla="*/ 395200 h 1103900"/>
                    <a:gd name="connsiteX45" fmla="*/ 2805113 w 5562600"/>
                    <a:gd name="connsiteY45" fmla="*/ 395200 h 1103900"/>
                    <a:gd name="connsiteX46" fmla="*/ 2805113 w 5562600"/>
                    <a:gd name="connsiteY46" fmla="*/ 405650 h 1103900"/>
                    <a:gd name="connsiteX47" fmla="*/ 2843213 w 5562600"/>
                    <a:gd name="connsiteY47" fmla="*/ 405650 h 1103900"/>
                    <a:gd name="connsiteX48" fmla="*/ 2843213 w 5562600"/>
                    <a:gd name="connsiteY48" fmla="*/ 422750 h 1103900"/>
                    <a:gd name="connsiteX49" fmla="*/ 2893695 w 5562600"/>
                    <a:gd name="connsiteY49" fmla="*/ 422750 h 1103900"/>
                    <a:gd name="connsiteX50" fmla="*/ 2893695 w 5562600"/>
                    <a:gd name="connsiteY50" fmla="*/ 450300 h 1103900"/>
                    <a:gd name="connsiteX51" fmla="*/ 3011805 w 5562600"/>
                    <a:gd name="connsiteY51" fmla="*/ 450300 h 1103900"/>
                    <a:gd name="connsiteX52" fmla="*/ 3011805 w 5562600"/>
                    <a:gd name="connsiteY52" fmla="*/ 464550 h 1103900"/>
                    <a:gd name="connsiteX53" fmla="*/ 3056573 w 5562600"/>
                    <a:gd name="connsiteY53" fmla="*/ 464550 h 1103900"/>
                    <a:gd name="connsiteX54" fmla="*/ 3056573 w 5562600"/>
                    <a:gd name="connsiteY54" fmla="*/ 479750 h 1103900"/>
                    <a:gd name="connsiteX55" fmla="*/ 3098483 w 5562600"/>
                    <a:gd name="connsiteY55" fmla="*/ 479750 h 1103900"/>
                    <a:gd name="connsiteX56" fmla="*/ 3098483 w 5562600"/>
                    <a:gd name="connsiteY56" fmla="*/ 491150 h 1103900"/>
                    <a:gd name="connsiteX57" fmla="*/ 3138488 w 5562600"/>
                    <a:gd name="connsiteY57" fmla="*/ 491150 h 1103900"/>
                    <a:gd name="connsiteX58" fmla="*/ 3138488 w 5562600"/>
                    <a:gd name="connsiteY58" fmla="*/ 506350 h 1103900"/>
                    <a:gd name="connsiteX59" fmla="*/ 3243263 w 5562600"/>
                    <a:gd name="connsiteY59" fmla="*/ 506350 h 1103900"/>
                    <a:gd name="connsiteX60" fmla="*/ 3243263 w 5562600"/>
                    <a:gd name="connsiteY60" fmla="*/ 524400 h 1103900"/>
                    <a:gd name="connsiteX61" fmla="*/ 3253740 w 5562600"/>
                    <a:gd name="connsiteY61" fmla="*/ 524400 h 1103900"/>
                    <a:gd name="connsiteX62" fmla="*/ 3253740 w 5562600"/>
                    <a:gd name="connsiteY62" fmla="*/ 534850 h 1103900"/>
                    <a:gd name="connsiteX63" fmla="*/ 3268980 w 5562600"/>
                    <a:gd name="connsiteY63" fmla="*/ 534850 h 1103900"/>
                    <a:gd name="connsiteX64" fmla="*/ 3268980 w 5562600"/>
                    <a:gd name="connsiteY64" fmla="*/ 549100 h 1103900"/>
                    <a:gd name="connsiteX65" fmla="*/ 3320415 w 5562600"/>
                    <a:gd name="connsiteY65" fmla="*/ 549100 h 1103900"/>
                    <a:gd name="connsiteX66" fmla="*/ 3320415 w 5562600"/>
                    <a:gd name="connsiteY66" fmla="*/ 562400 h 1103900"/>
                    <a:gd name="connsiteX67" fmla="*/ 3415665 w 5562600"/>
                    <a:gd name="connsiteY67" fmla="*/ 562400 h 1103900"/>
                    <a:gd name="connsiteX68" fmla="*/ 3415665 w 5562600"/>
                    <a:gd name="connsiteY68" fmla="*/ 578550 h 1103900"/>
                    <a:gd name="connsiteX69" fmla="*/ 3574733 w 5562600"/>
                    <a:gd name="connsiteY69" fmla="*/ 578550 h 1103900"/>
                    <a:gd name="connsiteX70" fmla="*/ 3574733 w 5562600"/>
                    <a:gd name="connsiteY70" fmla="*/ 609900 h 1103900"/>
                    <a:gd name="connsiteX71" fmla="*/ 3589020 w 5562600"/>
                    <a:gd name="connsiteY71" fmla="*/ 609900 h 1103900"/>
                    <a:gd name="connsiteX72" fmla="*/ 3589020 w 5562600"/>
                    <a:gd name="connsiteY72" fmla="*/ 623200 h 1103900"/>
                    <a:gd name="connsiteX73" fmla="*/ 3612833 w 5562600"/>
                    <a:gd name="connsiteY73" fmla="*/ 623200 h 1103900"/>
                    <a:gd name="connsiteX74" fmla="*/ 3612833 w 5562600"/>
                    <a:gd name="connsiteY74" fmla="*/ 641250 h 1103900"/>
                    <a:gd name="connsiteX75" fmla="*/ 3636645 w 5562600"/>
                    <a:gd name="connsiteY75" fmla="*/ 641250 h 1103900"/>
                    <a:gd name="connsiteX76" fmla="*/ 3636645 w 5562600"/>
                    <a:gd name="connsiteY76" fmla="*/ 658350 h 1103900"/>
                    <a:gd name="connsiteX77" fmla="*/ 3659505 w 5562600"/>
                    <a:gd name="connsiteY77" fmla="*/ 658350 h 1103900"/>
                    <a:gd name="connsiteX78" fmla="*/ 3659505 w 5562600"/>
                    <a:gd name="connsiteY78" fmla="*/ 690650 h 1103900"/>
                    <a:gd name="connsiteX79" fmla="*/ 3684270 w 5562600"/>
                    <a:gd name="connsiteY79" fmla="*/ 690650 h 1103900"/>
                    <a:gd name="connsiteX80" fmla="*/ 3684270 w 5562600"/>
                    <a:gd name="connsiteY80" fmla="*/ 701100 h 1103900"/>
                    <a:gd name="connsiteX81" fmla="*/ 3697605 w 5562600"/>
                    <a:gd name="connsiteY81" fmla="*/ 701100 h 1103900"/>
                    <a:gd name="connsiteX82" fmla="*/ 3697605 w 5562600"/>
                    <a:gd name="connsiteY82" fmla="*/ 710600 h 1103900"/>
                    <a:gd name="connsiteX83" fmla="*/ 3726180 w 5562600"/>
                    <a:gd name="connsiteY83" fmla="*/ 710600 h 1103900"/>
                    <a:gd name="connsiteX84" fmla="*/ 3726180 w 5562600"/>
                    <a:gd name="connsiteY84" fmla="*/ 722950 h 1103900"/>
                    <a:gd name="connsiteX85" fmla="*/ 3806190 w 5562600"/>
                    <a:gd name="connsiteY85" fmla="*/ 722950 h 1103900"/>
                    <a:gd name="connsiteX86" fmla="*/ 3806190 w 5562600"/>
                    <a:gd name="connsiteY86" fmla="*/ 753350 h 1103900"/>
                    <a:gd name="connsiteX87" fmla="*/ 3821430 w 5562600"/>
                    <a:gd name="connsiteY87" fmla="*/ 753350 h 1103900"/>
                    <a:gd name="connsiteX88" fmla="*/ 3821430 w 5562600"/>
                    <a:gd name="connsiteY88" fmla="*/ 776150 h 1103900"/>
                    <a:gd name="connsiteX89" fmla="*/ 3831908 w 5562600"/>
                    <a:gd name="connsiteY89" fmla="*/ 776150 h 1103900"/>
                    <a:gd name="connsiteX90" fmla="*/ 3831908 w 5562600"/>
                    <a:gd name="connsiteY90" fmla="*/ 781850 h 1103900"/>
                    <a:gd name="connsiteX91" fmla="*/ 3852863 w 5562600"/>
                    <a:gd name="connsiteY91" fmla="*/ 781850 h 1103900"/>
                    <a:gd name="connsiteX92" fmla="*/ 3852863 w 5562600"/>
                    <a:gd name="connsiteY92" fmla="*/ 794200 h 1103900"/>
                    <a:gd name="connsiteX93" fmla="*/ 3865245 w 5562600"/>
                    <a:gd name="connsiteY93" fmla="*/ 794200 h 1103900"/>
                    <a:gd name="connsiteX94" fmla="*/ 3865245 w 5562600"/>
                    <a:gd name="connsiteY94" fmla="*/ 811300 h 1103900"/>
                    <a:gd name="connsiteX95" fmla="*/ 3877628 w 5562600"/>
                    <a:gd name="connsiteY95" fmla="*/ 811300 h 1103900"/>
                    <a:gd name="connsiteX96" fmla="*/ 3877628 w 5562600"/>
                    <a:gd name="connsiteY96" fmla="*/ 833150 h 1103900"/>
                    <a:gd name="connsiteX97" fmla="*/ 4388168 w 5562600"/>
                    <a:gd name="connsiteY97" fmla="*/ 833150 h 1103900"/>
                    <a:gd name="connsiteX98" fmla="*/ 4388168 w 5562600"/>
                    <a:gd name="connsiteY98" fmla="*/ 866400 h 1103900"/>
                    <a:gd name="connsiteX99" fmla="*/ 4711065 w 5562600"/>
                    <a:gd name="connsiteY99" fmla="*/ 866400 h 1103900"/>
                    <a:gd name="connsiteX100" fmla="*/ 4711065 w 5562600"/>
                    <a:gd name="connsiteY100" fmla="*/ 917700 h 1103900"/>
                    <a:gd name="connsiteX101" fmla="*/ 5153978 w 5562600"/>
                    <a:gd name="connsiteY101" fmla="*/ 917700 h 1103900"/>
                    <a:gd name="connsiteX102" fmla="*/ 5153978 w 5562600"/>
                    <a:gd name="connsiteY102" fmla="*/ 1007000 h 1103900"/>
                    <a:gd name="connsiteX103" fmla="*/ 5217795 w 5562600"/>
                    <a:gd name="connsiteY103" fmla="*/ 1007000 h 1103900"/>
                    <a:gd name="connsiteX104" fmla="*/ 5217795 w 5562600"/>
                    <a:gd name="connsiteY104" fmla="*/ 1103900 h 1103900"/>
                    <a:gd name="connsiteX105" fmla="*/ 5562600 w 5562600"/>
                    <a:gd name="connsiteY105" fmla="*/ 1103900 h 110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</a:cxnLst>
                  <a:rect l="l" t="t" r="r" b="b"/>
                  <a:pathLst>
                    <a:path w="5562600" h="1103900">
                      <a:moveTo>
                        <a:pt x="0" y="0"/>
                      </a:moveTo>
                      <a:lnTo>
                        <a:pt x="269558" y="0"/>
                      </a:lnTo>
                      <a:lnTo>
                        <a:pt x="269558" y="14250"/>
                      </a:lnTo>
                      <a:lnTo>
                        <a:pt x="539115" y="14250"/>
                      </a:lnTo>
                      <a:lnTo>
                        <a:pt x="539115" y="26600"/>
                      </a:lnTo>
                      <a:lnTo>
                        <a:pt x="721043" y="26600"/>
                      </a:lnTo>
                      <a:lnTo>
                        <a:pt x="721043" y="47500"/>
                      </a:lnTo>
                      <a:lnTo>
                        <a:pt x="776288" y="47500"/>
                      </a:lnTo>
                      <a:lnTo>
                        <a:pt x="776288" y="63650"/>
                      </a:lnTo>
                      <a:lnTo>
                        <a:pt x="998220" y="63650"/>
                      </a:lnTo>
                      <a:lnTo>
                        <a:pt x="998220" y="76950"/>
                      </a:lnTo>
                      <a:lnTo>
                        <a:pt x="1082993" y="76950"/>
                      </a:lnTo>
                      <a:lnTo>
                        <a:pt x="1082993" y="87400"/>
                      </a:lnTo>
                      <a:lnTo>
                        <a:pt x="1302068" y="87400"/>
                      </a:lnTo>
                      <a:lnTo>
                        <a:pt x="1302068" y="102600"/>
                      </a:lnTo>
                      <a:lnTo>
                        <a:pt x="1326833" y="102600"/>
                      </a:lnTo>
                      <a:lnTo>
                        <a:pt x="1326833" y="114950"/>
                      </a:lnTo>
                      <a:lnTo>
                        <a:pt x="1559243" y="114950"/>
                      </a:lnTo>
                      <a:lnTo>
                        <a:pt x="1559243" y="127300"/>
                      </a:lnTo>
                      <a:lnTo>
                        <a:pt x="1589723" y="127300"/>
                      </a:lnTo>
                      <a:lnTo>
                        <a:pt x="1589723" y="159600"/>
                      </a:lnTo>
                      <a:lnTo>
                        <a:pt x="1630680" y="159600"/>
                      </a:lnTo>
                      <a:lnTo>
                        <a:pt x="1630680" y="186200"/>
                      </a:lnTo>
                      <a:lnTo>
                        <a:pt x="1824990" y="186200"/>
                      </a:lnTo>
                      <a:lnTo>
                        <a:pt x="1824990" y="208050"/>
                      </a:lnTo>
                      <a:lnTo>
                        <a:pt x="1916430" y="208050"/>
                      </a:lnTo>
                      <a:lnTo>
                        <a:pt x="1916430" y="227050"/>
                      </a:lnTo>
                      <a:lnTo>
                        <a:pt x="1958340" y="227050"/>
                      </a:lnTo>
                      <a:lnTo>
                        <a:pt x="1958340" y="242250"/>
                      </a:lnTo>
                      <a:lnTo>
                        <a:pt x="2161223" y="242250"/>
                      </a:lnTo>
                      <a:lnTo>
                        <a:pt x="2161223" y="272650"/>
                      </a:lnTo>
                      <a:lnTo>
                        <a:pt x="2222183" y="272650"/>
                      </a:lnTo>
                      <a:lnTo>
                        <a:pt x="2222183" y="283100"/>
                      </a:lnTo>
                      <a:lnTo>
                        <a:pt x="2426018" y="283100"/>
                      </a:lnTo>
                      <a:lnTo>
                        <a:pt x="2426018" y="316350"/>
                      </a:lnTo>
                      <a:lnTo>
                        <a:pt x="2484120" y="316350"/>
                      </a:lnTo>
                      <a:lnTo>
                        <a:pt x="2484120" y="336300"/>
                      </a:lnTo>
                      <a:lnTo>
                        <a:pt x="2600325" y="336300"/>
                      </a:lnTo>
                      <a:lnTo>
                        <a:pt x="2600325" y="351500"/>
                      </a:lnTo>
                      <a:lnTo>
                        <a:pt x="2681288" y="351500"/>
                      </a:lnTo>
                      <a:lnTo>
                        <a:pt x="2681288" y="365750"/>
                      </a:lnTo>
                      <a:lnTo>
                        <a:pt x="2730818" y="365750"/>
                      </a:lnTo>
                      <a:lnTo>
                        <a:pt x="2730818" y="384750"/>
                      </a:lnTo>
                      <a:lnTo>
                        <a:pt x="2753678" y="384750"/>
                      </a:lnTo>
                      <a:lnTo>
                        <a:pt x="2753678" y="395200"/>
                      </a:lnTo>
                      <a:lnTo>
                        <a:pt x="2805113" y="395200"/>
                      </a:lnTo>
                      <a:lnTo>
                        <a:pt x="2805113" y="405650"/>
                      </a:lnTo>
                      <a:lnTo>
                        <a:pt x="2843213" y="405650"/>
                      </a:lnTo>
                      <a:lnTo>
                        <a:pt x="2843213" y="422750"/>
                      </a:lnTo>
                      <a:lnTo>
                        <a:pt x="2893695" y="422750"/>
                      </a:lnTo>
                      <a:lnTo>
                        <a:pt x="2893695" y="450300"/>
                      </a:lnTo>
                      <a:lnTo>
                        <a:pt x="3011805" y="450300"/>
                      </a:lnTo>
                      <a:lnTo>
                        <a:pt x="3011805" y="464550"/>
                      </a:lnTo>
                      <a:lnTo>
                        <a:pt x="3056573" y="464550"/>
                      </a:lnTo>
                      <a:lnTo>
                        <a:pt x="3056573" y="479750"/>
                      </a:lnTo>
                      <a:lnTo>
                        <a:pt x="3098483" y="479750"/>
                      </a:lnTo>
                      <a:lnTo>
                        <a:pt x="3098483" y="491150"/>
                      </a:lnTo>
                      <a:lnTo>
                        <a:pt x="3138488" y="491150"/>
                      </a:lnTo>
                      <a:lnTo>
                        <a:pt x="3138488" y="506350"/>
                      </a:lnTo>
                      <a:lnTo>
                        <a:pt x="3243263" y="506350"/>
                      </a:lnTo>
                      <a:lnTo>
                        <a:pt x="3243263" y="524400"/>
                      </a:lnTo>
                      <a:lnTo>
                        <a:pt x="3253740" y="524400"/>
                      </a:lnTo>
                      <a:lnTo>
                        <a:pt x="3253740" y="534850"/>
                      </a:lnTo>
                      <a:lnTo>
                        <a:pt x="3268980" y="534850"/>
                      </a:lnTo>
                      <a:lnTo>
                        <a:pt x="3268980" y="549100"/>
                      </a:lnTo>
                      <a:lnTo>
                        <a:pt x="3320415" y="549100"/>
                      </a:lnTo>
                      <a:lnTo>
                        <a:pt x="3320415" y="562400"/>
                      </a:lnTo>
                      <a:lnTo>
                        <a:pt x="3415665" y="562400"/>
                      </a:lnTo>
                      <a:lnTo>
                        <a:pt x="3415665" y="578550"/>
                      </a:lnTo>
                      <a:lnTo>
                        <a:pt x="3574733" y="578550"/>
                      </a:lnTo>
                      <a:lnTo>
                        <a:pt x="3574733" y="609900"/>
                      </a:lnTo>
                      <a:lnTo>
                        <a:pt x="3589020" y="609900"/>
                      </a:lnTo>
                      <a:lnTo>
                        <a:pt x="3589020" y="623200"/>
                      </a:lnTo>
                      <a:lnTo>
                        <a:pt x="3612833" y="623200"/>
                      </a:lnTo>
                      <a:lnTo>
                        <a:pt x="3612833" y="641250"/>
                      </a:lnTo>
                      <a:lnTo>
                        <a:pt x="3636645" y="641250"/>
                      </a:lnTo>
                      <a:lnTo>
                        <a:pt x="3636645" y="658350"/>
                      </a:lnTo>
                      <a:lnTo>
                        <a:pt x="3659505" y="658350"/>
                      </a:lnTo>
                      <a:lnTo>
                        <a:pt x="3659505" y="690650"/>
                      </a:lnTo>
                      <a:lnTo>
                        <a:pt x="3684270" y="690650"/>
                      </a:lnTo>
                      <a:lnTo>
                        <a:pt x="3684270" y="701100"/>
                      </a:lnTo>
                      <a:lnTo>
                        <a:pt x="3697605" y="701100"/>
                      </a:lnTo>
                      <a:lnTo>
                        <a:pt x="3697605" y="710600"/>
                      </a:lnTo>
                      <a:lnTo>
                        <a:pt x="3726180" y="710600"/>
                      </a:lnTo>
                      <a:lnTo>
                        <a:pt x="3726180" y="722950"/>
                      </a:lnTo>
                      <a:lnTo>
                        <a:pt x="3806190" y="722950"/>
                      </a:lnTo>
                      <a:lnTo>
                        <a:pt x="3806190" y="753350"/>
                      </a:lnTo>
                      <a:lnTo>
                        <a:pt x="3821430" y="753350"/>
                      </a:lnTo>
                      <a:lnTo>
                        <a:pt x="3821430" y="776150"/>
                      </a:lnTo>
                      <a:lnTo>
                        <a:pt x="3831908" y="776150"/>
                      </a:lnTo>
                      <a:lnTo>
                        <a:pt x="3831908" y="781850"/>
                      </a:lnTo>
                      <a:lnTo>
                        <a:pt x="3852863" y="781850"/>
                      </a:lnTo>
                      <a:lnTo>
                        <a:pt x="3852863" y="794200"/>
                      </a:lnTo>
                      <a:lnTo>
                        <a:pt x="3865245" y="794200"/>
                      </a:lnTo>
                      <a:lnTo>
                        <a:pt x="3865245" y="811300"/>
                      </a:lnTo>
                      <a:lnTo>
                        <a:pt x="3877628" y="811300"/>
                      </a:lnTo>
                      <a:lnTo>
                        <a:pt x="3877628" y="833150"/>
                      </a:lnTo>
                      <a:lnTo>
                        <a:pt x="4388168" y="833150"/>
                      </a:lnTo>
                      <a:lnTo>
                        <a:pt x="4388168" y="866400"/>
                      </a:lnTo>
                      <a:lnTo>
                        <a:pt x="4711065" y="866400"/>
                      </a:lnTo>
                      <a:lnTo>
                        <a:pt x="4711065" y="917700"/>
                      </a:lnTo>
                      <a:lnTo>
                        <a:pt x="5153978" y="917700"/>
                      </a:lnTo>
                      <a:lnTo>
                        <a:pt x="5153978" y="1007000"/>
                      </a:lnTo>
                      <a:lnTo>
                        <a:pt x="5217795" y="1007000"/>
                      </a:lnTo>
                      <a:lnTo>
                        <a:pt x="5217795" y="1103900"/>
                      </a:lnTo>
                      <a:lnTo>
                        <a:pt x="5562600" y="1103900"/>
                      </a:lnTo>
                    </a:path>
                  </a:pathLst>
                </a:custGeom>
                <a:noFill/>
                <a:ln w="12700" cap="flat">
                  <a:solidFill>
                    <a:srgbClr val="68D2DF"/>
                  </a:solidFill>
                  <a:custDash>
                    <a:ds d="300000" sp="150000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712" name="Freeform 5723">
                <a:extLst>
                  <a:ext uri="{FF2B5EF4-FFF2-40B4-BE49-F238E27FC236}">
                    <a16:creationId xmlns:a16="http://schemas.microsoft.com/office/drawing/2014/main" id="{2B256482-31FF-8B54-68A8-5AB81F9D9A45}"/>
                  </a:ext>
                </a:extLst>
              </p:cNvPr>
              <p:cNvSpPr/>
              <p:nvPr/>
            </p:nvSpPr>
            <p:spPr>
              <a:xfrm>
                <a:off x="1323848" y="1431783"/>
                <a:ext cx="15477" cy="2688655"/>
              </a:xfrm>
              <a:custGeom>
                <a:avLst/>
                <a:gdLst>
                  <a:gd name="connsiteX0" fmla="*/ 0 w 9525"/>
                  <a:gd name="connsiteY0" fmla="*/ 0 h 2196400"/>
                  <a:gd name="connsiteX1" fmla="*/ 0 w 9525"/>
                  <a:gd name="connsiteY1" fmla="*/ 2196400 h 2196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9525" h="2196400">
                    <a:moveTo>
                      <a:pt x="0" y="0"/>
                    </a:moveTo>
                    <a:lnTo>
                      <a:pt x="0" y="219640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13" name="Freeform 5724">
                <a:extLst>
                  <a:ext uri="{FF2B5EF4-FFF2-40B4-BE49-F238E27FC236}">
                    <a16:creationId xmlns:a16="http://schemas.microsoft.com/office/drawing/2014/main" id="{9F2625F1-3344-F161-6915-67F1FFF21EC6}"/>
                  </a:ext>
                </a:extLst>
              </p:cNvPr>
              <p:cNvSpPr/>
              <p:nvPr/>
            </p:nvSpPr>
            <p:spPr>
              <a:xfrm>
                <a:off x="1323848" y="4120438"/>
                <a:ext cx="10157216" cy="11629"/>
              </a:xfrm>
              <a:custGeom>
                <a:avLst/>
                <a:gdLst>
                  <a:gd name="connsiteX0" fmla="*/ 0 w 6251257"/>
                  <a:gd name="connsiteY0" fmla="*/ 0 h 9500"/>
                  <a:gd name="connsiteX1" fmla="*/ 6251258 w 6251257"/>
                  <a:gd name="connsiteY1" fmla="*/ 0 h 95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251257" h="9500">
                    <a:moveTo>
                      <a:pt x="0" y="0"/>
                    </a:moveTo>
                    <a:lnTo>
                      <a:pt x="6251258" y="0"/>
                    </a:lnTo>
                  </a:path>
                </a:pathLst>
              </a:custGeom>
              <a:ln w="9525" cap="rnd">
                <a:solidFill>
                  <a:srgbClr val="3F4444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grpSp>
            <p:nvGrpSpPr>
              <p:cNvPr id="1714" name="Graphic 26">
                <a:extLst>
                  <a:ext uri="{FF2B5EF4-FFF2-40B4-BE49-F238E27FC236}">
                    <a16:creationId xmlns:a16="http://schemas.microsoft.com/office/drawing/2014/main" id="{4FBB2A11-413E-F241-5D58-12A534ECA439}"/>
                  </a:ext>
                </a:extLst>
              </p:cNvPr>
              <p:cNvGrpSpPr/>
              <p:nvPr/>
            </p:nvGrpSpPr>
            <p:grpSpPr>
              <a:xfrm>
                <a:off x="1475516" y="1474813"/>
                <a:ext cx="9555181" cy="853577"/>
                <a:chOff x="9774554" y="-2272399"/>
                <a:chExt cx="5880735" cy="697299"/>
              </a:xfrm>
              <a:noFill/>
            </p:grpSpPr>
            <p:grpSp>
              <p:nvGrpSpPr>
                <p:cNvPr id="2089" name="Graphic 26">
                  <a:extLst>
                    <a:ext uri="{FF2B5EF4-FFF2-40B4-BE49-F238E27FC236}">
                      <a16:creationId xmlns:a16="http://schemas.microsoft.com/office/drawing/2014/main" id="{EDEDC4AE-C36F-E1E0-6886-DD7C43C6B56E}"/>
                    </a:ext>
                  </a:extLst>
                </p:cNvPr>
                <p:cNvGrpSpPr/>
                <p:nvPr/>
              </p:nvGrpSpPr>
              <p:grpSpPr>
                <a:xfrm>
                  <a:off x="10410825" y="-2199250"/>
                  <a:ext cx="5244465" cy="624150"/>
                  <a:chOff x="10410825" y="-2199250"/>
                  <a:chExt cx="5244465" cy="624150"/>
                </a:xfrm>
              </p:grpSpPr>
              <p:grpSp>
                <p:nvGrpSpPr>
                  <p:cNvPr id="2091" name="Graphic 26">
                    <a:extLst>
                      <a:ext uri="{FF2B5EF4-FFF2-40B4-BE49-F238E27FC236}">
                        <a16:creationId xmlns:a16="http://schemas.microsoft.com/office/drawing/2014/main" id="{5D113DE3-BD59-A74F-78C7-D7D400686E34}"/>
                      </a:ext>
                    </a:extLst>
                  </p:cNvPr>
                  <p:cNvGrpSpPr/>
                  <p:nvPr/>
                </p:nvGrpSpPr>
                <p:grpSpPr>
                  <a:xfrm>
                    <a:off x="10410825" y="-2199250"/>
                    <a:ext cx="62864" cy="62700"/>
                    <a:chOff x="10410825" y="-2199250"/>
                    <a:chExt cx="62864" cy="62700"/>
                  </a:xfrm>
                </p:grpSpPr>
                <p:sp>
                  <p:nvSpPr>
                    <p:cNvPr id="2467" name="Freeform 6791">
                      <a:extLst>
                        <a:ext uri="{FF2B5EF4-FFF2-40B4-BE49-F238E27FC236}">
                          <a16:creationId xmlns:a16="http://schemas.microsoft.com/office/drawing/2014/main" id="{B9377FBA-FB89-FA55-6205-A926627F79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10825" y="-2167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8" name="Freeform 6792">
                      <a:extLst>
                        <a:ext uri="{FF2B5EF4-FFF2-40B4-BE49-F238E27FC236}">
                          <a16:creationId xmlns:a16="http://schemas.microsoft.com/office/drawing/2014/main" id="{45706433-DB73-D8AB-C5A7-FFAF1C3D5C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442257" y="-2199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2" name="Graphic 26">
                    <a:extLst>
                      <a:ext uri="{FF2B5EF4-FFF2-40B4-BE49-F238E27FC236}">
                        <a16:creationId xmlns:a16="http://schemas.microsoft.com/office/drawing/2014/main" id="{E6D10515-93C8-99C2-FBC0-56D6872B2755}"/>
                      </a:ext>
                    </a:extLst>
                  </p:cNvPr>
                  <p:cNvGrpSpPr/>
                  <p:nvPr/>
                </p:nvGrpSpPr>
                <p:grpSpPr>
                  <a:xfrm>
                    <a:off x="11102340" y="-2098550"/>
                    <a:ext cx="62864" cy="62700"/>
                    <a:chOff x="11102340" y="-2098550"/>
                    <a:chExt cx="62864" cy="62700"/>
                  </a:xfrm>
                </p:grpSpPr>
                <p:sp>
                  <p:nvSpPr>
                    <p:cNvPr id="2465" name="Freeform 6789">
                      <a:extLst>
                        <a:ext uri="{FF2B5EF4-FFF2-40B4-BE49-F238E27FC236}">
                          <a16:creationId xmlns:a16="http://schemas.microsoft.com/office/drawing/2014/main" id="{DAC63223-B2D4-C4E6-E759-4FD8058690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02340" y="-20672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6" name="Freeform 6790">
                      <a:extLst>
                        <a:ext uri="{FF2B5EF4-FFF2-40B4-BE49-F238E27FC236}">
                          <a16:creationId xmlns:a16="http://schemas.microsoft.com/office/drawing/2014/main" id="{62E33FE1-4701-DE11-74E7-1125A65EEB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33772" y="-20985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3" name="Graphic 26">
                    <a:extLst>
                      <a:ext uri="{FF2B5EF4-FFF2-40B4-BE49-F238E27FC236}">
                        <a16:creationId xmlns:a16="http://schemas.microsoft.com/office/drawing/2014/main" id="{9B95330F-6472-A73F-40B5-09F0C692C045}"/>
                      </a:ext>
                    </a:extLst>
                  </p:cNvPr>
                  <p:cNvGrpSpPr/>
                  <p:nvPr/>
                </p:nvGrpSpPr>
                <p:grpSpPr>
                  <a:xfrm>
                    <a:off x="11145202" y="-2098550"/>
                    <a:ext cx="62864" cy="62700"/>
                    <a:chOff x="11145202" y="-2098550"/>
                    <a:chExt cx="62864" cy="62700"/>
                  </a:xfrm>
                </p:grpSpPr>
                <p:sp>
                  <p:nvSpPr>
                    <p:cNvPr id="2463" name="Freeform 6787">
                      <a:extLst>
                        <a:ext uri="{FF2B5EF4-FFF2-40B4-BE49-F238E27FC236}">
                          <a16:creationId xmlns:a16="http://schemas.microsoft.com/office/drawing/2014/main" id="{5BD4E517-BE1E-61AA-AECC-0062B2FD36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45202" y="-20672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4" name="Freeform 6788">
                      <a:extLst>
                        <a:ext uri="{FF2B5EF4-FFF2-40B4-BE49-F238E27FC236}">
                          <a16:creationId xmlns:a16="http://schemas.microsoft.com/office/drawing/2014/main" id="{47ABFAFB-4415-A27B-AB50-49B26538C4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76635" y="-20985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4" name="Graphic 26">
                    <a:extLst>
                      <a:ext uri="{FF2B5EF4-FFF2-40B4-BE49-F238E27FC236}">
                        <a16:creationId xmlns:a16="http://schemas.microsoft.com/office/drawing/2014/main" id="{69D8F49C-3CDE-4B44-82D9-1F5AFFA9E3CE}"/>
                      </a:ext>
                    </a:extLst>
                  </p:cNvPr>
                  <p:cNvGrpSpPr/>
                  <p:nvPr/>
                </p:nvGrpSpPr>
                <p:grpSpPr>
                  <a:xfrm>
                    <a:off x="11349990" y="-2072900"/>
                    <a:ext cx="62864" cy="63650"/>
                    <a:chOff x="11349990" y="-2072900"/>
                    <a:chExt cx="62864" cy="63650"/>
                  </a:xfrm>
                </p:grpSpPr>
                <p:sp>
                  <p:nvSpPr>
                    <p:cNvPr id="2461" name="Freeform 6785">
                      <a:extLst>
                        <a:ext uri="{FF2B5EF4-FFF2-40B4-BE49-F238E27FC236}">
                          <a16:creationId xmlns:a16="http://schemas.microsoft.com/office/drawing/2014/main" id="{ADFFFF92-BECC-BC26-031E-8C6840226B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49990" y="-2041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2" name="Freeform 6786">
                      <a:extLst>
                        <a:ext uri="{FF2B5EF4-FFF2-40B4-BE49-F238E27FC236}">
                          <a16:creationId xmlns:a16="http://schemas.microsoft.com/office/drawing/2014/main" id="{F811D158-25D5-58DC-6566-1E047609D2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81422" y="-20729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5" name="Graphic 26">
                    <a:extLst>
                      <a:ext uri="{FF2B5EF4-FFF2-40B4-BE49-F238E27FC236}">
                        <a16:creationId xmlns:a16="http://schemas.microsoft.com/office/drawing/2014/main" id="{47CC7AC4-A1B2-B177-A512-6987FC4617BE}"/>
                      </a:ext>
                    </a:extLst>
                  </p:cNvPr>
                  <p:cNvGrpSpPr/>
                  <p:nvPr/>
                </p:nvGrpSpPr>
                <p:grpSpPr>
                  <a:xfrm>
                    <a:off x="11470005" y="-2033950"/>
                    <a:ext cx="63817" cy="62700"/>
                    <a:chOff x="11470005" y="-2033950"/>
                    <a:chExt cx="63817" cy="62700"/>
                  </a:xfrm>
                </p:grpSpPr>
                <p:sp>
                  <p:nvSpPr>
                    <p:cNvPr id="2459" name="Freeform 6783">
                      <a:extLst>
                        <a:ext uri="{FF2B5EF4-FFF2-40B4-BE49-F238E27FC236}">
                          <a16:creationId xmlns:a16="http://schemas.microsoft.com/office/drawing/2014/main" id="{18D03E2B-55A8-5607-9BCE-07F3D5B787D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70005" y="-2002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60" name="Freeform 6784">
                      <a:extLst>
                        <a:ext uri="{FF2B5EF4-FFF2-40B4-BE49-F238E27FC236}">
                          <a16:creationId xmlns:a16="http://schemas.microsoft.com/office/drawing/2014/main" id="{60DE18DF-DB8E-E5D4-202E-07F9663B29B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01437" y="-2033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6" name="Graphic 26">
                    <a:extLst>
                      <a:ext uri="{FF2B5EF4-FFF2-40B4-BE49-F238E27FC236}">
                        <a16:creationId xmlns:a16="http://schemas.microsoft.com/office/drawing/2014/main" id="{0B628AF0-B46E-F624-6F8F-171E9784FB20}"/>
                      </a:ext>
                    </a:extLst>
                  </p:cNvPr>
                  <p:cNvGrpSpPr/>
                  <p:nvPr/>
                </p:nvGrpSpPr>
                <p:grpSpPr>
                  <a:xfrm>
                    <a:off x="11426190" y="-2054850"/>
                    <a:ext cx="63817" cy="62699"/>
                    <a:chOff x="11426190" y="-2054850"/>
                    <a:chExt cx="63817" cy="62699"/>
                  </a:xfrm>
                </p:grpSpPr>
                <p:sp>
                  <p:nvSpPr>
                    <p:cNvPr id="2457" name="Freeform 6781">
                      <a:extLst>
                        <a:ext uri="{FF2B5EF4-FFF2-40B4-BE49-F238E27FC236}">
                          <a16:creationId xmlns:a16="http://schemas.microsoft.com/office/drawing/2014/main" id="{37176E02-1CC0-0945-203A-789795C22C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26190" y="-20235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8" name="Freeform 6782">
                      <a:extLst>
                        <a:ext uri="{FF2B5EF4-FFF2-40B4-BE49-F238E27FC236}">
                          <a16:creationId xmlns:a16="http://schemas.microsoft.com/office/drawing/2014/main" id="{D3AC0546-6530-4E51-6865-7A2BAE94E7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57622" y="-20548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7" name="Graphic 26">
                    <a:extLst>
                      <a:ext uri="{FF2B5EF4-FFF2-40B4-BE49-F238E27FC236}">
                        <a16:creationId xmlns:a16="http://schemas.microsoft.com/office/drawing/2014/main" id="{FFEFCFFB-EB6F-620C-0D92-B61E25134BD4}"/>
                      </a:ext>
                    </a:extLst>
                  </p:cNvPr>
                  <p:cNvGrpSpPr/>
                  <p:nvPr/>
                </p:nvGrpSpPr>
                <p:grpSpPr>
                  <a:xfrm>
                    <a:off x="11355705" y="-2072900"/>
                    <a:ext cx="62865" cy="63650"/>
                    <a:chOff x="11355705" y="-2072900"/>
                    <a:chExt cx="62865" cy="63650"/>
                  </a:xfrm>
                </p:grpSpPr>
                <p:sp>
                  <p:nvSpPr>
                    <p:cNvPr id="2455" name="Freeform 6779">
                      <a:extLst>
                        <a:ext uri="{FF2B5EF4-FFF2-40B4-BE49-F238E27FC236}">
                          <a16:creationId xmlns:a16="http://schemas.microsoft.com/office/drawing/2014/main" id="{D50D5619-A956-7CBE-CB76-A40DAC920A4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55705" y="-2041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6" name="Freeform 6780">
                      <a:extLst>
                        <a:ext uri="{FF2B5EF4-FFF2-40B4-BE49-F238E27FC236}">
                          <a16:creationId xmlns:a16="http://schemas.microsoft.com/office/drawing/2014/main" id="{502A7989-FDCF-A878-1BE9-CE9C85DC41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87137" y="-20729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8" name="Graphic 26">
                    <a:extLst>
                      <a:ext uri="{FF2B5EF4-FFF2-40B4-BE49-F238E27FC236}">
                        <a16:creationId xmlns:a16="http://schemas.microsoft.com/office/drawing/2014/main" id="{07D0E260-87DD-199B-F126-82C55D96A3DA}"/>
                      </a:ext>
                    </a:extLst>
                  </p:cNvPr>
                  <p:cNvGrpSpPr/>
                  <p:nvPr/>
                </p:nvGrpSpPr>
                <p:grpSpPr>
                  <a:xfrm>
                    <a:off x="11641455" y="-2034900"/>
                    <a:ext cx="63817" cy="62700"/>
                    <a:chOff x="11641455" y="-2034900"/>
                    <a:chExt cx="63817" cy="62700"/>
                  </a:xfrm>
                </p:grpSpPr>
                <p:sp>
                  <p:nvSpPr>
                    <p:cNvPr id="2453" name="Freeform 6777">
                      <a:extLst>
                        <a:ext uri="{FF2B5EF4-FFF2-40B4-BE49-F238E27FC236}">
                          <a16:creationId xmlns:a16="http://schemas.microsoft.com/office/drawing/2014/main" id="{D6CDEF40-02C3-0065-E58D-BC5B12902D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41455" y="-200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4" name="Freeform 6778">
                      <a:extLst>
                        <a:ext uri="{FF2B5EF4-FFF2-40B4-BE49-F238E27FC236}">
                          <a16:creationId xmlns:a16="http://schemas.microsoft.com/office/drawing/2014/main" id="{BA26D7ED-FC3E-B1DB-F3B5-86CA74205B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73840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099" name="Graphic 26">
                    <a:extLst>
                      <a:ext uri="{FF2B5EF4-FFF2-40B4-BE49-F238E27FC236}">
                        <a16:creationId xmlns:a16="http://schemas.microsoft.com/office/drawing/2014/main" id="{13776B76-535D-1A7B-47C1-2B9ED44D8F79}"/>
                      </a:ext>
                    </a:extLst>
                  </p:cNvPr>
                  <p:cNvGrpSpPr/>
                  <p:nvPr/>
                </p:nvGrpSpPr>
                <p:grpSpPr>
                  <a:xfrm>
                    <a:off x="11732895" y="-2034900"/>
                    <a:ext cx="63817" cy="62700"/>
                    <a:chOff x="11732895" y="-2034900"/>
                    <a:chExt cx="63817" cy="62700"/>
                  </a:xfrm>
                </p:grpSpPr>
                <p:sp>
                  <p:nvSpPr>
                    <p:cNvPr id="2451" name="Freeform 6775">
                      <a:extLst>
                        <a:ext uri="{FF2B5EF4-FFF2-40B4-BE49-F238E27FC236}">
                          <a16:creationId xmlns:a16="http://schemas.microsoft.com/office/drawing/2014/main" id="{21CE52E1-034E-B3E3-022A-7C3875916D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32895" y="-200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2" name="Freeform 6776">
                      <a:extLst>
                        <a:ext uri="{FF2B5EF4-FFF2-40B4-BE49-F238E27FC236}">
                          <a16:creationId xmlns:a16="http://schemas.microsoft.com/office/drawing/2014/main" id="{9ACAE831-2382-201A-255B-5AE3D22C75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65280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0" name="Graphic 26">
                    <a:extLst>
                      <a:ext uri="{FF2B5EF4-FFF2-40B4-BE49-F238E27FC236}">
                        <a16:creationId xmlns:a16="http://schemas.microsoft.com/office/drawing/2014/main" id="{0CC3AAA4-C2CD-734A-827C-85A735037FAF}"/>
                      </a:ext>
                    </a:extLst>
                  </p:cNvPr>
                  <p:cNvGrpSpPr/>
                  <p:nvPr/>
                </p:nvGrpSpPr>
                <p:grpSpPr>
                  <a:xfrm>
                    <a:off x="11935777" y="-2034900"/>
                    <a:ext cx="62864" cy="62700"/>
                    <a:chOff x="11935777" y="-2034900"/>
                    <a:chExt cx="62864" cy="62700"/>
                  </a:xfrm>
                </p:grpSpPr>
                <p:sp>
                  <p:nvSpPr>
                    <p:cNvPr id="2449" name="Freeform 6773">
                      <a:extLst>
                        <a:ext uri="{FF2B5EF4-FFF2-40B4-BE49-F238E27FC236}">
                          <a16:creationId xmlns:a16="http://schemas.microsoft.com/office/drawing/2014/main" id="{7F02A253-4E2B-F853-FA74-48BF13FD8B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35777" y="-2003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50" name="Freeform 6774">
                      <a:extLst>
                        <a:ext uri="{FF2B5EF4-FFF2-40B4-BE49-F238E27FC236}">
                          <a16:creationId xmlns:a16="http://schemas.microsoft.com/office/drawing/2014/main" id="{14E476EC-B22B-F366-14ED-E98AFE43FEB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967210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1" name="Graphic 26">
                    <a:extLst>
                      <a:ext uri="{FF2B5EF4-FFF2-40B4-BE49-F238E27FC236}">
                        <a16:creationId xmlns:a16="http://schemas.microsoft.com/office/drawing/2014/main" id="{8B2343DD-0A91-621A-248A-EF620458CA3A}"/>
                      </a:ext>
                    </a:extLst>
                  </p:cNvPr>
                  <p:cNvGrpSpPr/>
                  <p:nvPr/>
                </p:nvGrpSpPr>
                <p:grpSpPr>
                  <a:xfrm>
                    <a:off x="12539662" y="-2000700"/>
                    <a:ext cx="62865" cy="62700"/>
                    <a:chOff x="12539662" y="-2000700"/>
                    <a:chExt cx="62865" cy="62700"/>
                  </a:xfrm>
                </p:grpSpPr>
                <p:sp>
                  <p:nvSpPr>
                    <p:cNvPr id="2447" name="Freeform 6771">
                      <a:extLst>
                        <a:ext uri="{FF2B5EF4-FFF2-40B4-BE49-F238E27FC236}">
                          <a16:creationId xmlns:a16="http://schemas.microsoft.com/office/drawing/2014/main" id="{C6050AE1-3CCB-6734-A32A-8AE0DCA2C2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39662" y="-1969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8" name="Freeform 6772">
                      <a:extLst>
                        <a:ext uri="{FF2B5EF4-FFF2-40B4-BE49-F238E27FC236}">
                          <a16:creationId xmlns:a16="http://schemas.microsoft.com/office/drawing/2014/main" id="{E25FE46C-AF0A-2527-7350-EEAD9A0A84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71095" y="-2000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2" name="Graphic 26">
                    <a:extLst>
                      <a:ext uri="{FF2B5EF4-FFF2-40B4-BE49-F238E27FC236}">
                        <a16:creationId xmlns:a16="http://schemas.microsoft.com/office/drawing/2014/main" id="{1B86A425-414C-D4C1-067A-2432B399B6EF}"/>
                      </a:ext>
                    </a:extLst>
                  </p:cNvPr>
                  <p:cNvGrpSpPr/>
                  <p:nvPr/>
                </p:nvGrpSpPr>
                <p:grpSpPr>
                  <a:xfrm>
                    <a:off x="12164377" y="-2034900"/>
                    <a:ext cx="63817" cy="62700"/>
                    <a:chOff x="12164377" y="-2034900"/>
                    <a:chExt cx="63817" cy="62700"/>
                  </a:xfrm>
                </p:grpSpPr>
                <p:sp>
                  <p:nvSpPr>
                    <p:cNvPr id="2445" name="Freeform 6769">
                      <a:extLst>
                        <a:ext uri="{FF2B5EF4-FFF2-40B4-BE49-F238E27FC236}">
                          <a16:creationId xmlns:a16="http://schemas.microsoft.com/office/drawing/2014/main" id="{45ABDD91-7606-34D6-76EE-921394F79F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64377" y="-200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6" name="Freeform 6770">
                      <a:extLst>
                        <a:ext uri="{FF2B5EF4-FFF2-40B4-BE49-F238E27FC236}">
                          <a16:creationId xmlns:a16="http://schemas.microsoft.com/office/drawing/2014/main" id="{C7E06092-E282-A463-67CD-E420645307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96762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3" name="Graphic 26">
                    <a:extLst>
                      <a:ext uri="{FF2B5EF4-FFF2-40B4-BE49-F238E27FC236}">
                        <a16:creationId xmlns:a16="http://schemas.microsoft.com/office/drawing/2014/main" id="{A3CF8DF0-B692-F558-4C3A-2B3A4C132969}"/>
                      </a:ext>
                    </a:extLst>
                  </p:cNvPr>
                  <p:cNvGrpSpPr/>
                  <p:nvPr/>
                </p:nvGrpSpPr>
                <p:grpSpPr>
                  <a:xfrm>
                    <a:off x="12931140" y="-1997850"/>
                    <a:ext cx="62864" cy="63649"/>
                    <a:chOff x="12931140" y="-1997850"/>
                    <a:chExt cx="62864" cy="63649"/>
                  </a:xfrm>
                </p:grpSpPr>
                <p:sp>
                  <p:nvSpPr>
                    <p:cNvPr id="2443" name="Freeform 6767">
                      <a:extLst>
                        <a:ext uri="{FF2B5EF4-FFF2-40B4-BE49-F238E27FC236}">
                          <a16:creationId xmlns:a16="http://schemas.microsoft.com/office/drawing/2014/main" id="{A08F3C6B-A865-F39D-5C30-9F0F656390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31140" y="-19665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4" name="Freeform 6768">
                      <a:extLst>
                        <a:ext uri="{FF2B5EF4-FFF2-40B4-BE49-F238E27FC236}">
                          <a16:creationId xmlns:a16="http://schemas.microsoft.com/office/drawing/2014/main" id="{A1200F92-74AB-926A-4A03-B11D4A9264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962572" y="-19978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4" name="Graphic 26">
                    <a:extLst>
                      <a:ext uri="{FF2B5EF4-FFF2-40B4-BE49-F238E27FC236}">
                        <a16:creationId xmlns:a16="http://schemas.microsoft.com/office/drawing/2014/main" id="{47516ED8-F78A-A4BE-A072-09955AA97D88}"/>
                      </a:ext>
                    </a:extLst>
                  </p:cNvPr>
                  <p:cNvGrpSpPr/>
                  <p:nvPr/>
                </p:nvGrpSpPr>
                <p:grpSpPr>
                  <a:xfrm>
                    <a:off x="13121640" y="-1980750"/>
                    <a:ext cx="62864" cy="62700"/>
                    <a:chOff x="13121640" y="-1980750"/>
                    <a:chExt cx="62864" cy="62700"/>
                  </a:xfrm>
                </p:grpSpPr>
                <p:sp>
                  <p:nvSpPr>
                    <p:cNvPr id="2441" name="Freeform 6765">
                      <a:extLst>
                        <a:ext uri="{FF2B5EF4-FFF2-40B4-BE49-F238E27FC236}">
                          <a16:creationId xmlns:a16="http://schemas.microsoft.com/office/drawing/2014/main" id="{4DDC9431-9028-40E2-EDDC-219701BE4C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21640" y="-19494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2" name="Freeform 6766">
                      <a:extLst>
                        <a:ext uri="{FF2B5EF4-FFF2-40B4-BE49-F238E27FC236}">
                          <a16:creationId xmlns:a16="http://schemas.microsoft.com/office/drawing/2014/main" id="{781578FD-48DF-758F-5342-9344435753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53072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5" name="Graphic 26">
                    <a:extLst>
                      <a:ext uri="{FF2B5EF4-FFF2-40B4-BE49-F238E27FC236}">
                        <a16:creationId xmlns:a16="http://schemas.microsoft.com/office/drawing/2014/main" id="{305B931A-1BD9-A399-D843-3D5388404DD3}"/>
                      </a:ext>
                    </a:extLst>
                  </p:cNvPr>
                  <p:cNvGrpSpPr/>
                  <p:nvPr/>
                </p:nvGrpSpPr>
                <p:grpSpPr>
                  <a:xfrm>
                    <a:off x="13127355" y="-1980750"/>
                    <a:ext cx="62865" cy="62700"/>
                    <a:chOff x="13127355" y="-1980750"/>
                    <a:chExt cx="62865" cy="62700"/>
                  </a:xfrm>
                </p:grpSpPr>
                <p:sp>
                  <p:nvSpPr>
                    <p:cNvPr id="2439" name="Freeform 6763">
                      <a:extLst>
                        <a:ext uri="{FF2B5EF4-FFF2-40B4-BE49-F238E27FC236}">
                          <a16:creationId xmlns:a16="http://schemas.microsoft.com/office/drawing/2014/main" id="{83E844B7-8D44-C129-71A1-B19746828B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27355" y="-19494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40" name="Freeform 6764">
                      <a:extLst>
                        <a:ext uri="{FF2B5EF4-FFF2-40B4-BE49-F238E27FC236}">
                          <a16:creationId xmlns:a16="http://schemas.microsoft.com/office/drawing/2014/main" id="{8A639175-D13A-81D0-31E0-CEEB45CF8B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58787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6" name="Graphic 26">
                    <a:extLst>
                      <a:ext uri="{FF2B5EF4-FFF2-40B4-BE49-F238E27FC236}">
                        <a16:creationId xmlns:a16="http://schemas.microsoft.com/office/drawing/2014/main" id="{C3E99217-62E5-FB3D-ED9D-42DF7F54E3F9}"/>
                      </a:ext>
                    </a:extLst>
                  </p:cNvPr>
                  <p:cNvGrpSpPr/>
                  <p:nvPr/>
                </p:nvGrpSpPr>
                <p:grpSpPr>
                  <a:xfrm>
                    <a:off x="13188315" y="-1980750"/>
                    <a:ext cx="63817" cy="62700"/>
                    <a:chOff x="13188315" y="-1980750"/>
                    <a:chExt cx="63817" cy="62700"/>
                  </a:xfrm>
                </p:grpSpPr>
                <p:sp>
                  <p:nvSpPr>
                    <p:cNvPr id="2437" name="Freeform 6761">
                      <a:extLst>
                        <a:ext uri="{FF2B5EF4-FFF2-40B4-BE49-F238E27FC236}">
                          <a16:creationId xmlns:a16="http://schemas.microsoft.com/office/drawing/2014/main" id="{6D898AFA-44E7-A19A-F749-BFB205C64F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88315" y="-1949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8" name="Freeform 6762">
                      <a:extLst>
                        <a:ext uri="{FF2B5EF4-FFF2-40B4-BE49-F238E27FC236}">
                          <a16:creationId xmlns:a16="http://schemas.microsoft.com/office/drawing/2014/main" id="{76A8E5AE-D160-AB7E-5FB6-8EFE9B1764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20700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7" name="Graphic 26">
                    <a:extLst>
                      <a:ext uri="{FF2B5EF4-FFF2-40B4-BE49-F238E27FC236}">
                        <a16:creationId xmlns:a16="http://schemas.microsoft.com/office/drawing/2014/main" id="{5810A934-3313-8252-F146-E8E153486B57}"/>
                      </a:ext>
                    </a:extLst>
                  </p:cNvPr>
                  <p:cNvGrpSpPr/>
                  <p:nvPr/>
                </p:nvGrpSpPr>
                <p:grpSpPr>
                  <a:xfrm>
                    <a:off x="13238797" y="-1968400"/>
                    <a:ext cx="62865" cy="62700"/>
                    <a:chOff x="13238797" y="-1968400"/>
                    <a:chExt cx="62865" cy="62700"/>
                  </a:xfrm>
                </p:grpSpPr>
                <p:sp>
                  <p:nvSpPr>
                    <p:cNvPr id="2435" name="Freeform 6759">
                      <a:extLst>
                        <a:ext uri="{FF2B5EF4-FFF2-40B4-BE49-F238E27FC236}">
                          <a16:creationId xmlns:a16="http://schemas.microsoft.com/office/drawing/2014/main" id="{C836C224-19B9-3029-7DD4-10B588D1D1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8797" y="-1937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6" name="Freeform 6760">
                      <a:extLst>
                        <a:ext uri="{FF2B5EF4-FFF2-40B4-BE49-F238E27FC236}">
                          <a16:creationId xmlns:a16="http://schemas.microsoft.com/office/drawing/2014/main" id="{4BDC6BD0-1560-DFD4-EAE3-16E107A64D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70230" y="-1968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8" name="Graphic 26">
                    <a:extLst>
                      <a:ext uri="{FF2B5EF4-FFF2-40B4-BE49-F238E27FC236}">
                        <a16:creationId xmlns:a16="http://schemas.microsoft.com/office/drawing/2014/main" id="{3506F7B8-739E-A1CE-A643-126AACD3ACE5}"/>
                      </a:ext>
                    </a:extLst>
                  </p:cNvPr>
                  <p:cNvGrpSpPr/>
                  <p:nvPr/>
                </p:nvGrpSpPr>
                <p:grpSpPr>
                  <a:xfrm>
                    <a:off x="13258800" y="-1968400"/>
                    <a:ext cx="62865" cy="62700"/>
                    <a:chOff x="13258800" y="-1968400"/>
                    <a:chExt cx="62865" cy="62700"/>
                  </a:xfrm>
                </p:grpSpPr>
                <p:sp>
                  <p:nvSpPr>
                    <p:cNvPr id="2433" name="Freeform 6757">
                      <a:extLst>
                        <a:ext uri="{FF2B5EF4-FFF2-40B4-BE49-F238E27FC236}">
                          <a16:creationId xmlns:a16="http://schemas.microsoft.com/office/drawing/2014/main" id="{E167F61E-E306-34D2-ED28-9F46A040F8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58800" y="-1937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4" name="Freeform 6758">
                      <a:extLst>
                        <a:ext uri="{FF2B5EF4-FFF2-40B4-BE49-F238E27FC236}">
                          <a16:creationId xmlns:a16="http://schemas.microsoft.com/office/drawing/2014/main" id="{1CDA219E-3E46-AC3D-468D-7879F541EC0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90232" y="-1968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09" name="Graphic 26">
                    <a:extLst>
                      <a:ext uri="{FF2B5EF4-FFF2-40B4-BE49-F238E27FC236}">
                        <a16:creationId xmlns:a16="http://schemas.microsoft.com/office/drawing/2014/main" id="{7EE07EAE-E25E-D915-77B7-D63C3B40E39E}"/>
                      </a:ext>
                    </a:extLst>
                  </p:cNvPr>
                  <p:cNvGrpSpPr/>
                  <p:nvPr/>
                </p:nvGrpSpPr>
                <p:grpSpPr>
                  <a:xfrm>
                    <a:off x="13282612" y="-1968400"/>
                    <a:ext cx="62865" cy="62700"/>
                    <a:chOff x="13282612" y="-1968400"/>
                    <a:chExt cx="62865" cy="62700"/>
                  </a:xfrm>
                </p:grpSpPr>
                <p:sp>
                  <p:nvSpPr>
                    <p:cNvPr id="2431" name="Freeform 6755">
                      <a:extLst>
                        <a:ext uri="{FF2B5EF4-FFF2-40B4-BE49-F238E27FC236}">
                          <a16:creationId xmlns:a16="http://schemas.microsoft.com/office/drawing/2014/main" id="{52D9558F-B8CF-2FDB-5E5B-65C3F5E7CC5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2612" y="-1937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2" name="Freeform 6756">
                      <a:extLst>
                        <a:ext uri="{FF2B5EF4-FFF2-40B4-BE49-F238E27FC236}">
                          <a16:creationId xmlns:a16="http://schemas.microsoft.com/office/drawing/2014/main" id="{07109FC4-32F8-C325-A399-FC93864C42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14045" y="-1968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0" name="Graphic 26">
                    <a:extLst>
                      <a:ext uri="{FF2B5EF4-FFF2-40B4-BE49-F238E27FC236}">
                        <a16:creationId xmlns:a16="http://schemas.microsoft.com/office/drawing/2014/main" id="{C2232DB6-206E-AD9F-A07F-36A88911E430}"/>
                      </a:ext>
                    </a:extLst>
                  </p:cNvPr>
                  <p:cNvGrpSpPr/>
                  <p:nvPr/>
                </p:nvGrpSpPr>
                <p:grpSpPr>
                  <a:xfrm>
                    <a:off x="13293090" y="-1955100"/>
                    <a:ext cx="62864" cy="63649"/>
                    <a:chOff x="13293090" y="-1955100"/>
                    <a:chExt cx="62864" cy="63649"/>
                  </a:xfrm>
                </p:grpSpPr>
                <p:sp>
                  <p:nvSpPr>
                    <p:cNvPr id="2429" name="Freeform 6753">
                      <a:extLst>
                        <a:ext uri="{FF2B5EF4-FFF2-40B4-BE49-F238E27FC236}">
                          <a16:creationId xmlns:a16="http://schemas.microsoft.com/office/drawing/2014/main" id="{A0C3E2D5-C5BD-CE1E-69B8-23FD792F38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93090" y="-1923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30" name="Freeform 6754">
                      <a:extLst>
                        <a:ext uri="{FF2B5EF4-FFF2-40B4-BE49-F238E27FC236}">
                          <a16:creationId xmlns:a16="http://schemas.microsoft.com/office/drawing/2014/main" id="{929FAECE-2EA7-A976-6B7E-07D3F5DE19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4522" y="-195510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1" name="Graphic 26">
                    <a:extLst>
                      <a:ext uri="{FF2B5EF4-FFF2-40B4-BE49-F238E27FC236}">
                        <a16:creationId xmlns:a16="http://schemas.microsoft.com/office/drawing/2014/main" id="{805A6973-8467-61AB-B380-1385793E6D4B}"/>
                      </a:ext>
                    </a:extLst>
                  </p:cNvPr>
                  <p:cNvGrpSpPr/>
                  <p:nvPr/>
                </p:nvGrpSpPr>
                <p:grpSpPr>
                  <a:xfrm>
                    <a:off x="13301662" y="-1950350"/>
                    <a:ext cx="62865" cy="63649"/>
                    <a:chOff x="13301662" y="-1950350"/>
                    <a:chExt cx="62865" cy="63649"/>
                  </a:xfrm>
                </p:grpSpPr>
                <p:sp>
                  <p:nvSpPr>
                    <p:cNvPr id="2427" name="Freeform 6751">
                      <a:extLst>
                        <a:ext uri="{FF2B5EF4-FFF2-40B4-BE49-F238E27FC236}">
                          <a16:creationId xmlns:a16="http://schemas.microsoft.com/office/drawing/2014/main" id="{152525BF-BAFE-7767-E681-93D5718F8B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01662" y="-1918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8" name="Freeform 6752">
                      <a:extLst>
                        <a:ext uri="{FF2B5EF4-FFF2-40B4-BE49-F238E27FC236}">
                          <a16:creationId xmlns:a16="http://schemas.microsoft.com/office/drawing/2014/main" id="{0EE54665-776E-4653-D335-925CEF36D8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3095" y="-19503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2" name="Graphic 26">
                    <a:extLst>
                      <a:ext uri="{FF2B5EF4-FFF2-40B4-BE49-F238E27FC236}">
                        <a16:creationId xmlns:a16="http://schemas.microsoft.com/office/drawing/2014/main" id="{519B0A99-0395-87E0-04A4-6205A285692E}"/>
                      </a:ext>
                    </a:extLst>
                  </p:cNvPr>
                  <p:cNvGrpSpPr/>
                  <p:nvPr/>
                </p:nvGrpSpPr>
                <p:grpSpPr>
                  <a:xfrm>
                    <a:off x="13396912" y="-1938950"/>
                    <a:ext cx="62865" cy="63650"/>
                    <a:chOff x="13396912" y="-1938950"/>
                    <a:chExt cx="62865" cy="63650"/>
                  </a:xfrm>
                </p:grpSpPr>
                <p:sp>
                  <p:nvSpPr>
                    <p:cNvPr id="2425" name="Freeform 6749">
                      <a:extLst>
                        <a:ext uri="{FF2B5EF4-FFF2-40B4-BE49-F238E27FC236}">
                          <a16:creationId xmlns:a16="http://schemas.microsoft.com/office/drawing/2014/main" id="{03E01747-7EF6-D382-CF88-74A3C4AD1D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96912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6" name="Freeform 6750">
                      <a:extLst>
                        <a:ext uri="{FF2B5EF4-FFF2-40B4-BE49-F238E27FC236}">
                          <a16:creationId xmlns:a16="http://schemas.microsoft.com/office/drawing/2014/main" id="{35EF0AF7-62CF-02E7-A248-4559CD1598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28345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3" name="Graphic 26">
                    <a:extLst>
                      <a:ext uri="{FF2B5EF4-FFF2-40B4-BE49-F238E27FC236}">
                        <a16:creationId xmlns:a16="http://schemas.microsoft.com/office/drawing/2014/main" id="{5268C33F-CEC3-E683-C92A-F96A9D9884DD}"/>
                      </a:ext>
                    </a:extLst>
                  </p:cNvPr>
                  <p:cNvGrpSpPr/>
                  <p:nvPr/>
                </p:nvGrpSpPr>
                <p:grpSpPr>
                  <a:xfrm>
                    <a:off x="13405485" y="-1938950"/>
                    <a:ext cx="62865" cy="63650"/>
                    <a:chOff x="13405485" y="-1938950"/>
                    <a:chExt cx="62865" cy="63650"/>
                  </a:xfrm>
                </p:grpSpPr>
                <p:sp>
                  <p:nvSpPr>
                    <p:cNvPr id="2423" name="Freeform 6747">
                      <a:extLst>
                        <a:ext uri="{FF2B5EF4-FFF2-40B4-BE49-F238E27FC236}">
                          <a16:creationId xmlns:a16="http://schemas.microsoft.com/office/drawing/2014/main" id="{E17D6D1C-6BB8-D38F-0012-C7BE78C1BD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05485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4" name="Freeform 6748">
                      <a:extLst>
                        <a:ext uri="{FF2B5EF4-FFF2-40B4-BE49-F238E27FC236}">
                          <a16:creationId xmlns:a16="http://schemas.microsoft.com/office/drawing/2014/main" id="{2A63D3AD-18D9-E441-E1C7-78485378A0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36917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4" name="Graphic 26">
                    <a:extLst>
                      <a:ext uri="{FF2B5EF4-FFF2-40B4-BE49-F238E27FC236}">
                        <a16:creationId xmlns:a16="http://schemas.microsoft.com/office/drawing/2014/main" id="{F74E5460-A1CF-4BCA-41AF-D711B37F9DCA}"/>
                      </a:ext>
                    </a:extLst>
                  </p:cNvPr>
                  <p:cNvGrpSpPr/>
                  <p:nvPr/>
                </p:nvGrpSpPr>
                <p:grpSpPr>
                  <a:xfrm>
                    <a:off x="13436917" y="-1938950"/>
                    <a:ext cx="63817" cy="63650"/>
                    <a:chOff x="13436917" y="-1938950"/>
                    <a:chExt cx="63817" cy="63650"/>
                  </a:xfrm>
                </p:grpSpPr>
                <p:sp>
                  <p:nvSpPr>
                    <p:cNvPr id="2421" name="Freeform 6745">
                      <a:extLst>
                        <a:ext uri="{FF2B5EF4-FFF2-40B4-BE49-F238E27FC236}">
                          <a16:creationId xmlns:a16="http://schemas.microsoft.com/office/drawing/2014/main" id="{5E6C0D67-55F4-E0C5-D3B5-B050DEC010E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36917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2" name="Freeform 6746">
                      <a:extLst>
                        <a:ext uri="{FF2B5EF4-FFF2-40B4-BE49-F238E27FC236}">
                          <a16:creationId xmlns:a16="http://schemas.microsoft.com/office/drawing/2014/main" id="{C6F08F81-61F4-EA63-A226-8E3CDF182F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6835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5" name="Graphic 26">
                    <a:extLst>
                      <a:ext uri="{FF2B5EF4-FFF2-40B4-BE49-F238E27FC236}">
                        <a16:creationId xmlns:a16="http://schemas.microsoft.com/office/drawing/2014/main" id="{AC7A0706-3A6B-71BF-249C-A873AA316BFE}"/>
                      </a:ext>
                    </a:extLst>
                  </p:cNvPr>
                  <p:cNvGrpSpPr/>
                  <p:nvPr/>
                </p:nvGrpSpPr>
                <p:grpSpPr>
                  <a:xfrm>
                    <a:off x="13478827" y="-1938950"/>
                    <a:ext cx="62864" cy="63650"/>
                    <a:chOff x="13478827" y="-1938950"/>
                    <a:chExt cx="62864" cy="63650"/>
                  </a:xfrm>
                </p:grpSpPr>
                <p:sp>
                  <p:nvSpPr>
                    <p:cNvPr id="2419" name="Freeform 6743">
                      <a:extLst>
                        <a:ext uri="{FF2B5EF4-FFF2-40B4-BE49-F238E27FC236}">
                          <a16:creationId xmlns:a16="http://schemas.microsoft.com/office/drawing/2014/main" id="{A3B1735E-B6A8-ECA7-C459-E391D14E227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78827" y="-1907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20" name="Freeform 6744">
                      <a:extLst>
                        <a:ext uri="{FF2B5EF4-FFF2-40B4-BE49-F238E27FC236}">
                          <a16:creationId xmlns:a16="http://schemas.microsoft.com/office/drawing/2014/main" id="{CEA1BD54-5CFF-C7B2-1386-7F11620046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1026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6" name="Graphic 26">
                    <a:extLst>
                      <a:ext uri="{FF2B5EF4-FFF2-40B4-BE49-F238E27FC236}">
                        <a16:creationId xmlns:a16="http://schemas.microsoft.com/office/drawing/2014/main" id="{DA6E2580-AE54-7D84-B855-0BBE10F45E88}"/>
                      </a:ext>
                    </a:extLst>
                  </p:cNvPr>
                  <p:cNvGrpSpPr/>
                  <p:nvPr/>
                </p:nvGrpSpPr>
                <p:grpSpPr>
                  <a:xfrm>
                    <a:off x="13528357" y="-1938950"/>
                    <a:ext cx="62864" cy="63650"/>
                    <a:chOff x="13528357" y="-1938950"/>
                    <a:chExt cx="62864" cy="63650"/>
                  </a:xfrm>
                </p:grpSpPr>
                <p:sp>
                  <p:nvSpPr>
                    <p:cNvPr id="2417" name="Freeform 6741">
                      <a:extLst>
                        <a:ext uri="{FF2B5EF4-FFF2-40B4-BE49-F238E27FC236}">
                          <a16:creationId xmlns:a16="http://schemas.microsoft.com/office/drawing/2014/main" id="{94508094-0732-0407-CDB8-3F17472EC11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28357" y="-1907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8" name="Freeform 6742">
                      <a:extLst>
                        <a:ext uri="{FF2B5EF4-FFF2-40B4-BE49-F238E27FC236}">
                          <a16:creationId xmlns:a16="http://schemas.microsoft.com/office/drawing/2014/main" id="{19E57A10-445A-CD1D-6AD7-90139A6E645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979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7" name="Graphic 26">
                    <a:extLst>
                      <a:ext uri="{FF2B5EF4-FFF2-40B4-BE49-F238E27FC236}">
                        <a16:creationId xmlns:a16="http://schemas.microsoft.com/office/drawing/2014/main" id="{2264EE68-5DEB-10FD-4A2F-50D44FB9FAAC}"/>
                      </a:ext>
                    </a:extLst>
                  </p:cNvPr>
                  <p:cNvGrpSpPr/>
                  <p:nvPr/>
                </p:nvGrpSpPr>
                <p:grpSpPr>
                  <a:xfrm>
                    <a:off x="13557885" y="-1938950"/>
                    <a:ext cx="63817" cy="63650"/>
                    <a:chOff x="13557885" y="-1938950"/>
                    <a:chExt cx="63817" cy="63650"/>
                  </a:xfrm>
                </p:grpSpPr>
                <p:sp>
                  <p:nvSpPr>
                    <p:cNvPr id="2415" name="Freeform 6739">
                      <a:extLst>
                        <a:ext uri="{FF2B5EF4-FFF2-40B4-BE49-F238E27FC236}">
                          <a16:creationId xmlns:a16="http://schemas.microsoft.com/office/drawing/2014/main" id="{0D5ECFAC-D192-4239-C113-0D2762D5E03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7885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6" name="Freeform 6740">
                      <a:extLst>
                        <a:ext uri="{FF2B5EF4-FFF2-40B4-BE49-F238E27FC236}">
                          <a16:creationId xmlns:a16="http://schemas.microsoft.com/office/drawing/2014/main" id="{AC513727-9A9D-A36E-DCAB-201AD5B4D7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9317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8" name="Graphic 26">
                    <a:extLst>
                      <a:ext uri="{FF2B5EF4-FFF2-40B4-BE49-F238E27FC236}">
                        <a16:creationId xmlns:a16="http://schemas.microsoft.com/office/drawing/2014/main" id="{38DE9A26-8AD8-C480-3537-06690603F4B2}"/>
                      </a:ext>
                    </a:extLst>
                  </p:cNvPr>
                  <p:cNvGrpSpPr/>
                  <p:nvPr/>
                </p:nvGrpSpPr>
                <p:grpSpPr>
                  <a:xfrm>
                    <a:off x="13562647" y="-1938950"/>
                    <a:ext cx="62865" cy="63650"/>
                    <a:chOff x="13562647" y="-1938950"/>
                    <a:chExt cx="62865" cy="63650"/>
                  </a:xfrm>
                </p:grpSpPr>
                <p:sp>
                  <p:nvSpPr>
                    <p:cNvPr id="2413" name="Freeform 6737">
                      <a:extLst>
                        <a:ext uri="{FF2B5EF4-FFF2-40B4-BE49-F238E27FC236}">
                          <a16:creationId xmlns:a16="http://schemas.microsoft.com/office/drawing/2014/main" id="{CAE9A339-BCE2-7DB3-8988-3A729C2172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2647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4" name="Freeform 6738">
                      <a:extLst>
                        <a:ext uri="{FF2B5EF4-FFF2-40B4-BE49-F238E27FC236}">
                          <a16:creationId xmlns:a16="http://schemas.microsoft.com/office/drawing/2014/main" id="{32775981-C866-27A0-94F5-88C87A07F4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408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19" name="Graphic 26">
                    <a:extLst>
                      <a:ext uri="{FF2B5EF4-FFF2-40B4-BE49-F238E27FC236}">
                        <a16:creationId xmlns:a16="http://schemas.microsoft.com/office/drawing/2014/main" id="{33A6323C-34B9-2B3A-A4DA-7D3D4F5AC5B2}"/>
                      </a:ext>
                    </a:extLst>
                  </p:cNvPr>
                  <p:cNvGrpSpPr/>
                  <p:nvPr/>
                </p:nvGrpSpPr>
                <p:grpSpPr>
                  <a:xfrm>
                    <a:off x="13568362" y="-1938950"/>
                    <a:ext cx="62865" cy="63650"/>
                    <a:chOff x="13568362" y="-1938950"/>
                    <a:chExt cx="62865" cy="63650"/>
                  </a:xfrm>
                </p:grpSpPr>
                <p:sp>
                  <p:nvSpPr>
                    <p:cNvPr id="2411" name="Freeform 6735">
                      <a:extLst>
                        <a:ext uri="{FF2B5EF4-FFF2-40B4-BE49-F238E27FC236}">
                          <a16:creationId xmlns:a16="http://schemas.microsoft.com/office/drawing/2014/main" id="{D4244010-AA98-204D-E674-549C8882D6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8362" y="-1907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2" name="Freeform 6736">
                      <a:extLst>
                        <a:ext uri="{FF2B5EF4-FFF2-40B4-BE49-F238E27FC236}">
                          <a16:creationId xmlns:a16="http://schemas.microsoft.com/office/drawing/2014/main" id="{B71A8640-BDAD-19CC-632F-EE787EA424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9795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0" name="Graphic 26">
                    <a:extLst>
                      <a:ext uri="{FF2B5EF4-FFF2-40B4-BE49-F238E27FC236}">
                        <a16:creationId xmlns:a16="http://schemas.microsoft.com/office/drawing/2014/main" id="{B1F3FBE0-3CB3-E914-5351-398AA6AD1111}"/>
                      </a:ext>
                    </a:extLst>
                  </p:cNvPr>
                  <p:cNvGrpSpPr/>
                  <p:nvPr/>
                </p:nvGrpSpPr>
                <p:grpSpPr>
                  <a:xfrm>
                    <a:off x="13591222" y="-1938950"/>
                    <a:ext cx="63817" cy="63650"/>
                    <a:chOff x="13591222" y="-1938950"/>
                    <a:chExt cx="63817" cy="63650"/>
                  </a:xfrm>
                </p:grpSpPr>
                <p:sp>
                  <p:nvSpPr>
                    <p:cNvPr id="2409" name="Freeform 6733">
                      <a:extLst>
                        <a:ext uri="{FF2B5EF4-FFF2-40B4-BE49-F238E27FC236}">
                          <a16:creationId xmlns:a16="http://schemas.microsoft.com/office/drawing/2014/main" id="{4E3E4990-E2D0-9B1B-BF8F-34512271C6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1222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10" name="Freeform 6734">
                      <a:extLst>
                        <a:ext uri="{FF2B5EF4-FFF2-40B4-BE49-F238E27FC236}">
                          <a16:creationId xmlns:a16="http://schemas.microsoft.com/office/drawing/2014/main" id="{47038769-6B8F-9DE7-CCD1-D7F5082FC3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3607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1" name="Graphic 26">
                    <a:extLst>
                      <a:ext uri="{FF2B5EF4-FFF2-40B4-BE49-F238E27FC236}">
                        <a16:creationId xmlns:a16="http://schemas.microsoft.com/office/drawing/2014/main" id="{62A28ED0-D96C-D64A-20B6-177CEC0AEEA8}"/>
                      </a:ext>
                    </a:extLst>
                  </p:cNvPr>
                  <p:cNvGrpSpPr/>
                  <p:nvPr/>
                </p:nvGrpSpPr>
                <p:grpSpPr>
                  <a:xfrm>
                    <a:off x="13599795" y="-1938950"/>
                    <a:ext cx="63817" cy="63650"/>
                    <a:chOff x="13599795" y="-1938950"/>
                    <a:chExt cx="63817" cy="63650"/>
                  </a:xfrm>
                </p:grpSpPr>
                <p:sp>
                  <p:nvSpPr>
                    <p:cNvPr id="2407" name="Freeform 6731">
                      <a:extLst>
                        <a:ext uri="{FF2B5EF4-FFF2-40B4-BE49-F238E27FC236}">
                          <a16:creationId xmlns:a16="http://schemas.microsoft.com/office/drawing/2014/main" id="{B68BC1FA-6C09-DFF4-20CA-EE1B46E6A2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9795" y="-1907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8" name="Freeform 6732">
                      <a:extLst>
                        <a:ext uri="{FF2B5EF4-FFF2-40B4-BE49-F238E27FC236}">
                          <a16:creationId xmlns:a16="http://schemas.microsoft.com/office/drawing/2014/main" id="{432DA7E2-4ABA-C054-156B-5125C91321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32180" y="-19389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2" name="Graphic 26">
                    <a:extLst>
                      <a:ext uri="{FF2B5EF4-FFF2-40B4-BE49-F238E27FC236}">
                        <a16:creationId xmlns:a16="http://schemas.microsoft.com/office/drawing/2014/main" id="{E94826EB-C9C4-8F44-6641-29CF60E98E0B}"/>
                      </a:ext>
                    </a:extLst>
                  </p:cNvPr>
                  <p:cNvGrpSpPr/>
                  <p:nvPr/>
                </p:nvGrpSpPr>
                <p:grpSpPr>
                  <a:xfrm>
                    <a:off x="13627417" y="-1920900"/>
                    <a:ext cx="62865" cy="62700"/>
                    <a:chOff x="13627417" y="-1920900"/>
                    <a:chExt cx="62865" cy="62700"/>
                  </a:xfrm>
                </p:grpSpPr>
                <p:sp>
                  <p:nvSpPr>
                    <p:cNvPr id="2405" name="Freeform 6729">
                      <a:extLst>
                        <a:ext uri="{FF2B5EF4-FFF2-40B4-BE49-F238E27FC236}">
                          <a16:creationId xmlns:a16="http://schemas.microsoft.com/office/drawing/2014/main" id="{5FDE4B63-3538-18E6-0A3E-DB98684960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7417" y="-1889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6" name="Freeform 6730">
                      <a:extLst>
                        <a:ext uri="{FF2B5EF4-FFF2-40B4-BE49-F238E27FC236}">
                          <a16:creationId xmlns:a16="http://schemas.microsoft.com/office/drawing/2014/main" id="{4C3B75C3-4ECD-52E8-A3A5-A9146128FC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5885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3" name="Graphic 26">
                    <a:extLst>
                      <a:ext uri="{FF2B5EF4-FFF2-40B4-BE49-F238E27FC236}">
                        <a16:creationId xmlns:a16="http://schemas.microsoft.com/office/drawing/2014/main" id="{B81C3485-3D53-4A13-EC5A-C230018E081C}"/>
                      </a:ext>
                    </a:extLst>
                  </p:cNvPr>
                  <p:cNvGrpSpPr/>
                  <p:nvPr/>
                </p:nvGrpSpPr>
                <p:grpSpPr>
                  <a:xfrm>
                    <a:off x="13635037" y="-1920900"/>
                    <a:ext cx="63817" cy="62700"/>
                    <a:chOff x="13635037" y="-1920900"/>
                    <a:chExt cx="63817" cy="62700"/>
                  </a:xfrm>
                </p:grpSpPr>
                <p:sp>
                  <p:nvSpPr>
                    <p:cNvPr id="2403" name="Freeform 6727">
                      <a:extLst>
                        <a:ext uri="{FF2B5EF4-FFF2-40B4-BE49-F238E27FC236}">
                          <a16:creationId xmlns:a16="http://schemas.microsoft.com/office/drawing/2014/main" id="{D97AB002-81D6-05E7-18D7-B2777473C8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35037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4" name="Freeform 6728">
                      <a:extLst>
                        <a:ext uri="{FF2B5EF4-FFF2-40B4-BE49-F238E27FC236}">
                          <a16:creationId xmlns:a16="http://schemas.microsoft.com/office/drawing/2014/main" id="{4EFF2DBE-DE2E-1600-A82C-ABDD0B8514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6647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4" name="Graphic 26">
                    <a:extLst>
                      <a:ext uri="{FF2B5EF4-FFF2-40B4-BE49-F238E27FC236}">
                        <a16:creationId xmlns:a16="http://schemas.microsoft.com/office/drawing/2014/main" id="{89046909-B553-B0C6-2E9A-5E20CD21C81D}"/>
                      </a:ext>
                    </a:extLst>
                  </p:cNvPr>
                  <p:cNvGrpSpPr/>
                  <p:nvPr/>
                </p:nvGrpSpPr>
                <p:grpSpPr>
                  <a:xfrm>
                    <a:off x="13676947" y="-1920900"/>
                    <a:ext cx="63817" cy="62700"/>
                    <a:chOff x="13676947" y="-1920900"/>
                    <a:chExt cx="63817" cy="62700"/>
                  </a:xfrm>
                </p:grpSpPr>
                <p:sp>
                  <p:nvSpPr>
                    <p:cNvPr id="2401" name="Freeform 6725">
                      <a:extLst>
                        <a:ext uri="{FF2B5EF4-FFF2-40B4-BE49-F238E27FC236}">
                          <a16:creationId xmlns:a16="http://schemas.microsoft.com/office/drawing/2014/main" id="{FE120E30-E7DD-9964-A316-EF5CB2EDD8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76947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2" name="Freeform 6726">
                      <a:extLst>
                        <a:ext uri="{FF2B5EF4-FFF2-40B4-BE49-F238E27FC236}">
                          <a16:creationId xmlns:a16="http://schemas.microsoft.com/office/drawing/2014/main" id="{2D4CD52F-5580-ABB2-73C6-E1A3F2CA29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09332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5" name="Graphic 26">
                    <a:extLst>
                      <a:ext uri="{FF2B5EF4-FFF2-40B4-BE49-F238E27FC236}">
                        <a16:creationId xmlns:a16="http://schemas.microsoft.com/office/drawing/2014/main" id="{56EAD547-7104-02C3-88E2-BDA701FF28B6}"/>
                      </a:ext>
                    </a:extLst>
                  </p:cNvPr>
                  <p:cNvGrpSpPr/>
                  <p:nvPr/>
                </p:nvGrpSpPr>
                <p:grpSpPr>
                  <a:xfrm>
                    <a:off x="13721715" y="-1920900"/>
                    <a:ext cx="63817" cy="62700"/>
                    <a:chOff x="13721715" y="-1920900"/>
                    <a:chExt cx="63817" cy="62700"/>
                  </a:xfrm>
                </p:grpSpPr>
                <p:sp>
                  <p:nvSpPr>
                    <p:cNvPr id="2399" name="Freeform 6723">
                      <a:extLst>
                        <a:ext uri="{FF2B5EF4-FFF2-40B4-BE49-F238E27FC236}">
                          <a16:creationId xmlns:a16="http://schemas.microsoft.com/office/drawing/2014/main" id="{3D771F34-4DEE-5EC2-A7D4-BBD306FC42D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1715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400" name="Freeform 6724">
                      <a:extLst>
                        <a:ext uri="{FF2B5EF4-FFF2-40B4-BE49-F238E27FC236}">
                          <a16:creationId xmlns:a16="http://schemas.microsoft.com/office/drawing/2014/main" id="{AC83EA59-CB8C-0FBD-CAEE-78DB3DE761C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410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6" name="Graphic 26">
                    <a:extLst>
                      <a:ext uri="{FF2B5EF4-FFF2-40B4-BE49-F238E27FC236}">
                        <a16:creationId xmlns:a16="http://schemas.microsoft.com/office/drawing/2014/main" id="{271C9841-C395-47E6-5AAE-A9BC354C2241}"/>
                      </a:ext>
                    </a:extLst>
                  </p:cNvPr>
                  <p:cNvGrpSpPr/>
                  <p:nvPr/>
                </p:nvGrpSpPr>
                <p:grpSpPr>
                  <a:xfrm>
                    <a:off x="13729335" y="-1920900"/>
                    <a:ext cx="63817" cy="62700"/>
                    <a:chOff x="13729335" y="-1920900"/>
                    <a:chExt cx="63817" cy="62700"/>
                  </a:xfrm>
                </p:grpSpPr>
                <p:sp>
                  <p:nvSpPr>
                    <p:cNvPr id="2397" name="Freeform 6721">
                      <a:extLst>
                        <a:ext uri="{FF2B5EF4-FFF2-40B4-BE49-F238E27FC236}">
                          <a16:creationId xmlns:a16="http://schemas.microsoft.com/office/drawing/2014/main" id="{DA5CF4DE-69DB-0A98-858F-A0FD558600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9335" y="-1889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8" name="Freeform 6722">
                      <a:extLst>
                        <a:ext uri="{FF2B5EF4-FFF2-40B4-BE49-F238E27FC236}">
                          <a16:creationId xmlns:a16="http://schemas.microsoft.com/office/drawing/2014/main" id="{9C7A286F-21EB-DCCD-FA97-BBFCEF5EFE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1720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7" name="Graphic 26">
                    <a:extLst>
                      <a:ext uri="{FF2B5EF4-FFF2-40B4-BE49-F238E27FC236}">
                        <a16:creationId xmlns:a16="http://schemas.microsoft.com/office/drawing/2014/main" id="{80A5F5CC-F9CA-277D-0580-38BEE6BF2334}"/>
                      </a:ext>
                    </a:extLst>
                  </p:cNvPr>
                  <p:cNvGrpSpPr/>
                  <p:nvPr/>
                </p:nvGrpSpPr>
                <p:grpSpPr>
                  <a:xfrm>
                    <a:off x="13735050" y="-1920900"/>
                    <a:ext cx="62865" cy="62700"/>
                    <a:chOff x="13735050" y="-1920900"/>
                    <a:chExt cx="62865" cy="62700"/>
                  </a:xfrm>
                </p:grpSpPr>
                <p:sp>
                  <p:nvSpPr>
                    <p:cNvPr id="2395" name="Freeform 6719">
                      <a:extLst>
                        <a:ext uri="{FF2B5EF4-FFF2-40B4-BE49-F238E27FC236}">
                          <a16:creationId xmlns:a16="http://schemas.microsoft.com/office/drawing/2014/main" id="{0F8B1ED9-8C59-4BCF-FA6B-1740AE3881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35050" y="-1889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6" name="Freeform 6720">
                      <a:extLst>
                        <a:ext uri="{FF2B5EF4-FFF2-40B4-BE49-F238E27FC236}">
                          <a16:creationId xmlns:a16="http://schemas.microsoft.com/office/drawing/2014/main" id="{E69F668D-E18A-CDE0-D17B-CCEA5259DD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6482" y="-1920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8" name="Graphic 26">
                    <a:extLst>
                      <a:ext uri="{FF2B5EF4-FFF2-40B4-BE49-F238E27FC236}">
                        <a16:creationId xmlns:a16="http://schemas.microsoft.com/office/drawing/2014/main" id="{F4C52971-82A1-2B3A-1170-440393F93A8E}"/>
                      </a:ext>
                    </a:extLst>
                  </p:cNvPr>
                  <p:cNvGrpSpPr/>
                  <p:nvPr/>
                </p:nvGrpSpPr>
                <p:grpSpPr>
                  <a:xfrm>
                    <a:off x="13792200" y="-1900950"/>
                    <a:ext cx="62865" cy="62700"/>
                    <a:chOff x="13792200" y="-1900950"/>
                    <a:chExt cx="62865" cy="62700"/>
                  </a:xfrm>
                </p:grpSpPr>
                <p:sp>
                  <p:nvSpPr>
                    <p:cNvPr id="2393" name="Freeform 6717">
                      <a:extLst>
                        <a:ext uri="{FF2B5EF4-FFF2-40B4-BE49-F238E27FC236}">
                          <a16:creationId xmlns:a16="http://schemas.microsoft.com/office/drawing/2014/main" id="{AD84422A-4783-A9B4-7DD2-93E1E3E238B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220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4" name="Freeform 6718">
                      <a:extLst>
                        <a:ext uri="{FF2B5EF4-FFF2-40B4-BE49-F238E27FC236}">
                          <a16:creationId xmlns:a16="http://schemas.microsoft.com/office/drawing/2014/main" id="{EE30CA8C-69E0-72D9-19AC-95E347A20D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363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29" name="Graphic 26">
                    <a:extLst>
                      <a:ext uri="{FF2B5EF4-FFF2-40B4-BE49-F238E27FC236}">
                        <a16:creationId xmlns:a16="http://schemas.microsoft.com/office/drawing/2014/main" id="{CF2E091A-C3A7-979D-4F9F-D4A70D6ECC79}"/>
                      </a:ext>
                    </a:extLst>
                  </p:cNvPr>
                  <p:cNvGrpSpPr/>
                  <p:nvPr/>
                </p:nvGrpSpPr>
                <p:grpSpPr>
                  <a:xfrm>
                    <a:off x="13796962" y="-1900950"/>
                    <a:ext cx="63817" cy="62700"/>
                    <a:chOff x="13796962" y="-1900950"/>
                    <a:chExt cx="63817" cy="62700"/>
                  </a:xfrm>
                </p:grpSpPr>
                <p:sp>
                  <p:nvSpPr>
                    <p:cNvPr id="2391" name="Freeform 6715">
                      <a:extLst>
                        <a:ext uri="{FF2B5EF4-FFF2-40B4-BE49-F238E27FC236}">
                          <a16:creationId xmlns:a16="http://schemas.microsoft.com/office/drawing/2014/main" id="{66E33BFC-E529-739D-14DC-E1CDFBDAE3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6962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2" name="Freeform 6716">
                      <a:extLst>
                        <a:ext uri="{FF2B5EF4-FFF2-40B4-BE49-F238E27FC236}">
                          <a16:creationId xmlns:a16="http://schemas.microsoft.com/office/drawing/2014/main" id="{6E2070C3-610B-0567-471B-54855AA12B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839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0" name="Graphic 26">
                    <a:extLst>
                      <a:ext uri="{FF2B5EF4-FFF2-40B4-BE49-F238E27FC236}">
                        <a16:creationId xmlns:a16="http://schemas.microsoft.com/office/drawing/2014/main" id="{B2FED456-EC11-E192-DDA6-AF638B0DDC86}"/>
                      </a:ext>
                    </a:extLst>
                  </p:cNvPr>
                  <p:cNvGrpSpPr/>
                  <p:nvPr/>
                </p:nvGrpSpPr>
                <p:grpSpPr>
                  <a:xfrm>
                    <a:off x="13871257" y="-1900950"/>
                    <a:ext cx="63817" cy="62700"/>
                    <a:chOff x="13871257" y="-1900950"/>
                    <a:chExt cx="63817" cy="62700"/>
                  </a:xfrm>
                </p:grpSpPr>
                <p:sp>
                  <p:nvSpPr>
                    <p:cNvPr id="2389" name="Freeform 6713">
                      <a:extLst>
                        <a:ext uri="{FF2B5EF4-FFF2-40B4-BE49-F238E27FC236}">
                          <a16:creationId xmlns:a16="http://schemas.microsoft.com/office/drawing/2014/main" id="{62AD087E-F7AB-EC78-678A-475497654F6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1257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90" name="Freeform 6714">
                      <a:extLst>
                        <a:ext uri="{FF2B5EF4-FFF2-40B4-BE49-F238E27FC236}">
                          <a16:creationId xmlns:a16="http://schemas.microsoft.com/office/drawing/2014/main" id="{DD0DDB0D-1A5B-1BD5-EB3B-ED19DF5514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364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1" name="Graphic 26">
                    <a:extLst>
                      <a:ext uri="{FF2B5EF4-FFF2-40B4-BE49-F238E27FC236}">
                        <a16:creationId xmlns:a16="http://schemas.microsoft.com/office/drawing/2014/main" id="{0FF1E38B-B9AC-58A7-FD0A-A29D4C3189DC}"/>
                      </a:ext>
                    </a:extLst>
                  </p:cNvPr>
                  <p:cNvGrpSpPr/>
                  <p:nvPr/>
                </p:nvGrpSpPr>
                <p:grpSpPr>
                  <a:xfrm>
                    <a:off x="13878877" y="-1900950"/>
                    <a:ext cx="62864" cy="62700"/>
                    <a:chOff x="13878877" y="-1900950"/>
                    <a:chExt cx="62864" cy="62700"/>
                  </a:xfrm>
                </p:grpSpPr>
                <p:sp>
                  <p:nvSpPr>
                    <p:cNvPr id="2387" name="Freeform 6711">
                      <a:extLst>
                        <a:ext uri="{FF2B5EF4-FFF2-40B4-BE49-F238E27FC236}">
                          <a16:creationId xmlns:a16="http://schemas.microsoft.com/office/drawing/2014/main" id="{67B102AE-42D6-C238-D417-41542AD44C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78877" y="-1869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8" name="Freeform 6712">
                      <a:extLst>
                        <a:ext uri="{FF2B5EF4-FFF2-40B4-BE49-F238E27FC236}">
                          <a16:creationId xmlns:a16="http://schemas.microsoft.com/office/drawing/2014/main" id="{0ACFF790-1F8D-46C6-6FD4-18F59E588F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1031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2" name="Graphic 26">
                    <a:extLst>
                      <a:ext uri="{FF2B5EF4-FFF2-40B4-BE49-F238E27FC236}">
                        <a16:creationId xmlns:a16="http://schemas.microsoft.com/office/drawing/2014/main" id="{B79AEAD1-DF5A-C770-CB66-A156B1164E9D}"/>
                      </a:ext>
                    </a:extLst>
                  </p:cNvPr>
                  <p:cNvGrpSpPr/>
                  <p:nvPr/>
                </p:nvGrpSpPr>
                <p:grpSpPr>
                  <a:xfrm>
                    <a:off x="13886497" y="-1900950"/>
                    <a:ext cx="63817" cy="62700"/>
                    <a:chOff x="13886497" y="-1900950"/>
                    <a:chExt cx="63817" cy="62700"/>
                  </a:xfrm>
                </p:grpSpPr>
                <p:sp>
                  <p:nvSpPr>
                    <p:cNvPr id="2385" name="Freeform 6709">
                      <a:extLst>
                        <a:ext uri="{FF2B5EF4-FFF2-40B4-BE49-F238E27FC236}">
                          <a16:creationId xmlns:a16="http://schemas.microsoft.com/office/drawing/2014/main" id="{09E65CB4-1A5F-27AC-2678-E3CA5C6AE0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86497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6" name="Freeform 6710">
                      <a:extLst>
                        <a:ext uri="{FF2B5EF4-FFF2-40B4-BE49-F238E27FC236}">
                          <a16:creationId xmlns:a16="http://schemas.microsoft.com/office/drawing/2014/main" id="{018DC8C6-50BD-498F-4487-8F4CEBCEFD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1793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3" name="Graphic 26">
                    <a:extLst>
                      <a:ext uri="{FF2B5EF4-FFF2-40B4-BE49-F238E27FC236}">
                        <a16:creationId xmlns:a16="http://schemas.microsoft.com/office/drawing/2014/main" id="{17A655FF-7017-B745-7CC3-E04B4F40A57B}"/>
                      </a:ext>
                    </a:extLst>
                  </p:cNvPr>
                  <p:cNvGrpSpPr/>
                  <p:nvPr/>
                </p:nvGrpSpPr>
                <p:grpSpPr>
                  <a:xfrm>
                    <a:off x="13891260" y="-1900950"/>
                    <a:ext cx="63817" cy="62700"/>
                    <a:chOff x="13891260" y="-1900950"/>
                    <a:chExt cx="63817" cy="62700"/>
                  </a:xfrm>
                </p:grpSpPr>
                <p:sp>
                  <p:nvSpPr>
                    <p:cNvPr id="2383" name="Freeform 6707">
                      <a:extLst>
                        <a:ext uri="{FF2B5EF4-FFF2-40B4-BE49-F238E27FC236}">
                          <a16:creationId xmlns:a16="http://schemas.microsoft.com/office/drawing/2014/main" id="{7FDFBF25-EC97-A44F-4960-24590068A25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91260" y="-18696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4" name="Freeform 6708">
                      <a:extLst>
                        <a:ext uri="{FF2B5EF4-FFF2-40B4-BE49-F238E27FC236}">
                          <a16:creationId xmlns:a16="http://schemas.microsoft.com/office/drawing/2014/main" id="{96F7E504-95CF-46BB-951E-170C57E1DE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2364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4" name="Graphic 26">
                    <a:extLst>
                      <a:ext uri="{FF2B5EF4-FFF2-40B4-BE49-F238E27FC236}">
                        <a16:creationId xmlns:a16="http://schemas.microsoft.com/office/drawing/2014/main" id="{A30962B7-0FBF-1A1A-C546-0076976F1819}"/>
                      </a:ext>
                    </a:extLst>
                  </p:cNvPr>
                  <p:cNvGrpSpPr/>
                  <p:nvPr/>
                </p:nvGrpSpPr>
                <p:grpSpPr>
                  <a:xfrm>
                    <a:off x="13917930" y="-1900950"/>
                    <a:ext cx="62865" cy="62700"/>
                    <a:chOff x="13917930" y="-1900950"/>
                    <a:chExt cx="62865" cy="62700"/>
                  </a:xfrm>
                </p:grpSpPr>
                <p:sp>
                  <p:nvSpPr>
                    <p:cNvPr id="2381" name="Freeform 6705">
                      <a:extLst>
                        <a:ext uri="{FF2B5EF4-FFF2-40B4-BE49-F238E27FC236}">
                          <a16:creationId xmlns:a16="http://schemas.microsoft.com/office/drawing/2014/main" id="{C60DCA24-46F2-2CAC-FD4A-569E6C1EA2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1793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2" name="Freeform 6706">
                      <a:extLst>
                        <a:ext uri="{FF2B5EF4-FFF2-40B4-BE49-F238E27FC236}">
                          <a16:creationId xmlns:a16="http://schemas.microsoft.com/office/drawing/2014/main" id="{0AC19134-AC4C-C8F7-CEF0-628444B900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4936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5" name="Graphic 26">
                    <a:extLst>
                      <a:ext uri="{FF2B5EF4-FFF2-40B4-BE49-F238E27FC236}">
                        <a16:creationId xmlns:a16="http://schemas.microsoft.com/office/drawing/2014/main" id="{38EFD438-3F80-CBBC-EA17-36EBF00DE04E}"/>
                      </a:ext>
                    </a:extLst>
                  </p:cNvPr>
                  <p:cNvGrpSpPr/>
                  <p:nvPr/>
                </p:nvGrpSpPr>
                <p:grpSpPr>
                  <a:xfrm>
                    <a:off x="13925550" y="-1900950"/>
                    <a:ext cx="62865" cy="62700"/>
                    <a:chOff x="13925550" y="-1900950"/>
                    <a:chExt cx="62865" cy="62700"/>
                  </a:xfrm>
                </p:grpSpPr>
                <p:sp>
                  <p:nvSpPr>
                    <p:cNvPr id="2379" name="Freeform 6703">
                      <a:extLst>
                        <a:ext uri="{FF2B5EF4-FFF2-40B4-BE49-F238E27FC236}">
                          <a16:creationId xmlns:a16="http://schemas.microsoft.com/office/drawing/2014/main" id="{C2432EFB-8858-723F-7AC2-76ABD1BA2F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2555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80" name="Freeform 6704">
                      <a:extLst>
                        <a:ext uri="{FF2B5EF4-FFF2-40B4-BE49-F238E27FC236}">
                          <a16:creationId xmlns:a16="http://schemas.microsoft.com/office/drawing/2014/main" id="{396917B3-0143-E6E0-9815-2CA4FB28B9C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5698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6" name="Graphic 26">
                    <a:extLst>
                      <a:ext uri="{FF2B5EF4-FFF2-40B4-BE49-F238E27FC236}">
                        <a16:creationId xmlns:a16="http://schemas.microsoft.com/office/drawing/2014/main" id="{EB644F38-D29C-79D3-32C5-5A15DA5A9450}"/>
                      </a:ext>
                    </a:extLst>
                  </p:cNvPr>
                  <p:cNvGrpSpPr/>
                  <p:nvPr/>
                </p:nvGrpSpPr>
                <p:grpSpPr>
                  <a:xfrm>
                    <a:off x="13930312" y="-1900950"/>
                    <a:ext cx="62865" cy="62700"/>
                    <a:chOff x="13930312" y="-1900950"/>
                    <a:chExt cx="62865" cy="62700"/>
                  </a:xfrm>
                </p:grpSpPr>
                <p:sp>
                  <p:nvSpPr>
                    <p:cNvPr id="2377" name="Freeform 6701">
                      <a:extLst>
                        <a:ext uri="{FF2B5EF4-FFF2-40B4-BE49-F238E27FC236}">
                          <a16:creationId xmlns:a16="http://schemas.microsoft.com/office/drawing/2014/main" id="{F6C13C87-6F07-BD66-4F89-E16C52A0F6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0312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8" name="Freeform 6702">
                      <a:extLst>
                        <a:ext uri="{FF2B5EF4-FFF2-40B4-BE49-F238E27FC236}">
                          <a16:creationId xmlns:a16="http://schemas.microsoft.com/office/drawing/2014/main" id="{9D779A3C-E451-FAAE-16B7-12C9A8AE7E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6174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7" name="Graphic 26">
                    <a:extLst>
                      <a:ext uri="{FF2B5EF4-FFF2-40B4-BE49-F238E27FC236}">
                        <a16:creationId xmlns:a16="http://schemas.microsoft.com/office/drawing/2014/main" id="{ECC9E37C-CF78-EE26-102C-DC606CED5E27}"/>
                      </a:ext>
                    </a:extLst>
                  </p:cNvPr>
                  <p:cNvGrpSpPr/>
                  <p:nvPr/>
                </p:nvGrpSpPr>
                <p:grpSpPr>
                  <a:xfrm>
                    <a:off x="13942695" y="-1900950"/>
                    <a:ext cx="62864" cy="62700"/>
                    <a:chOff x="13942695" y="-1900950"/>
                    <a:chExt cx="62864" cy="62700"/>
                  </a:xfrm>
                </p:grpSpPr>
                <p:sp>
                  <p:nvSpPr>
                    <p:cNvPr id="2375" name="Freeform 6699">
                      <a:extLst>
                        <a:ext uri="{FF2B5EF4-FFF2-40B4-BE49-F238E27FC236}">
                          <a16:creationId xmlns:a16="http://schemas.microsoft.com/office/drawing/2014/main" id="{80E610B3-8F11-0773-40CA-1AE25B0601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42695" y="-1869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6" name="Freeform 6700">
                      <a:extLst>
                        <a:ext uri="{FF2B5EF4-FFF2-40B4-BE49-F238E27FC236}">
                          <a16:creationId xmlns:a16="http://schemas.microsoft.com/office/drawing/2014/main" id="{F1FD02DE-9254-066D-1164-9B44BD89FD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74127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8" name="Graphic 26">
                    <a:extLst>
                      <a:ext uri="{FF2B5EF4-FFF2-40B4-BE49-F238E27FC236}">
                        <a16:creationId xmlns:a16="http://schemas.microsoft.com/office/drawing/2014/main" id="{76135085-79D6-4475-B2B1-75CFDB386092}"/>
                      </a:ext>
                    </a:extLst>
                  </p:cNvPr>
                  <p:cNvGrpSpPr/>
                  <p:nvPr/>
                </p:nvGrpSpPr>
                <p:grpSpPr>
                  <a:xfrm>
                    <a:off x="13958887" y="-1900950"/>
                    <a:ext cx="62865" cy="62700"/>
                    <a:chOff x="13958887" y="-1900950"/>
                    <a:chExt cx="62865" cy="62700"/>
                  </a:xfrm>
                </p:grpSpPr>
                <p:sp>
                  <p:nvSpPr>
                    <p:cNvPr id="2373" name="Freeform 6697">
                      <a:extLst>
                        <a:ext uri="{FF2B5EF4-FFF2-40B4-BE49-F238E27FC236}">
                          <a16:creationId xmlns:a16="http://schemas.microsoft.com/office/drawing/2014/main" id="{AAE111B0-652C-31D3-955C-8CA42CAEE4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58887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4" name="Freeform 6698">
                      <a:extLst>
                        <a:ext uri="{FF2B5EF4-FFF2-40B4-BE49-F238E27FC236}">
                          <a16:creationId xmlns:a16="http://schemas.microsoft.com/office/drawing/2014/main" id="{DBACCB1C-5649-05AA-7B52-A75607D2F3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032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39" name="Graphic 26">
                    <a:extLst>
                      <a:ext uri="{FF2B5EF4-FFF2-40B4-BE49-F238E27FC236}">
                        <a16:creationId xmlns:a16="http://schemas.microsoft.com/office/drawing/2014/main" id="{BD8428A4-18FA-6995-FD31-B8B33FBF95EB}"/>
                      </a:ext>
                    </a:extLst>
                  </p:cNvPr>
                  <p:cNvGrpSpPr/>
                  <p:nvPr/>
                </p:nvGrpSpPr>
                <p:grpSpPr>
                  <a:xfrm>
                    <a:off x="13966507" y="-1900950"/>
                    <a:ext cx="62864" cy="62700"/>
                    <a:chOff x="13966507" y="-1900950"/>
                    <a:chExt cx="62864" cy="62700"/>
                  </a:xfrm>
                </p:grpSpPr>
                <p:sp>
                  <p:nvSpPr>
                    <p:cNvPr id="2371" name="Freeform 6695">
                      <a:extLst>
                        <a:ext uri="{FF2B5EF4-FFF2-40B4-BE49-F238E27FC236}">
                          <a16:creationId xmlns:a16="http://schemas.microsoft.com/office/drawing/2014/main" id="{04557352-8171-4FE3-B411-7D7DB2FA03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66507" y="-1869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2" name="Freeform 6696">
                      <a:extLst>
                        <a:ext uri="{FF2B5EF4-FFF2-40B4-BE49-F238E27FC236}">
                          <a16:creationId xmlns:a16="http://schemas.microsoft.com/office/drawing/2014/main" id="{778B31DE-7707-E1BF-2708-3429496E887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7940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0" name="Graphic 26">
                    <a:extLst>
                      <a:ext uri="{FF2B5EF4-FFF2-40B4-BE49-F238E27FC236}">
                        <a16:creationId xmlns:a16="http://schemas.microsoft.com/office/drawing/2014/main" id="{B039C460-5923-1B9C-A615-C748B9136BD4}"/>
                      </a:ext>
                    </a:extLst>
                  </p:cNvPr>
                  <p:cNvGrpSpPr/>
                  <p:nvPr/>
                </p:nvGrpSpPr>
                <p:grpSpPr>
                  <a:xfrm>
                    <a:off x="13982700" y="-1900950"/>
                    <a:ext cx="62865" cy="62700"/>
                    <a:chOff x="13982700" y="-1900950"/>
                    <a:chExt cx="62865" cy="62700"/>
                  </a:xfrm>
                </p:grpSpPr>
                <p:sp>
                  <p:nvSpPr>
                    <p:cNvPr id="2369" name="Freeform 6693">
                      <a:extLst>
                        <a:ext uri="{FF2B5EF4-FFF2-40B4-BE49-F238E27FC236}">
                          <a16:creationId xmlns:a16="http://schemas.microsoft.com/office/drawing/2014/main" id="{7FE90DB3-F8A8-98DD-EB5E-CDEB9AF52C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82700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70" name="Freeform 6694">
                      <a:extLst>
                        <a:ext uri="{FF2B5EF4-FFF2-40B4-BE49-F238E27FC236}">
                          <a16:creationId xmlns:a16="http://schemas.microsoft.com/office/drawing/2014/main" id="{50AFDFD1-6CCB-9A73-EF77-2CC71A528DB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14132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1" name="Graphic 26">
                    <a:extLst>
                      <a:ext uri="{FF2B5EF4-FFF2-40B4-BE49-F238E27FC236}">
                        <a16:creationId xmlns:a16="http://schemas.microsoft.com/office/drawing/2014/main" id="{BF70F079-32E8-496F-2779-D95E54B3A537}"/>
                      </a:ext>
                    </a:extLst>
                  </p:cNvPr>
                  <p:cNvGrpSpPr/>
                  <p:nvPr/>
                </p:nvGrpSpPr>
                <p:grpSpPr>
                  <a:xfrm>
                    <a:off x="13991272" y="-1900950"/>
                    <a:ext cx="62865" cy="62700"/>
                    <a:chOff x="13991272" y="-1900950"/>
                    <a:chExt cx="62865" cy="62700"/>
                  </a:xfrm>
                </p:grpSpPr>
                <p:sp>
                  <p:nvSpPr>
                    <p:cNvPr id="2367" name="Freeform 6691">
                      <a:extLst>
                        <a:ext uri="{FF2B5EF4-FFF2-40B4-BE49-F238E27FC236}">
                          <a16:creationId xmlns:a16="http://schemas.microsoft.com/office/drawing/2014/main" id="{3AEC771B-3837-2D77-7221-2C3DF86D4B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1272" y="-1869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8" name="Freeform 6692">
                      <a:extLst>
                        <a:ext uri="{FF2B5EF4-FFF2-40B4-BE49-F238E27FC236}">
                          <a16:creationId xmlns:a16="http://schemas.microsoft.com/office/drawing/2014/main" id="{559082C0-0D2B-3FAD-8ED2-609F961715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2705" y="-1900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2" name="Graphic 26">
                    <a:extLst>
                      <a:ext uri="{FF2B5EF4-FFF2-40B4-BE49-F238E27FC236}">
                        <a16:creationId xmlns:a16="http://schemas.microsoft.com/office/drawing/2014/main" id="{D98DDEBC-456C-4561-314C-BE0D3FC3A10A}"/>
                      </a:ext>
                    </a:extLst>
                  </p:cNvPr>
                  <p:cNvGrpSpPr/>
                  <p:nvPr/>
                </p:nvGrpSpPr>
                <p:grpSpPr>
                  <a:xfrm>
                    <a:off x="14011275" y="-1878150"/>
                    <a:ext cx="62865" cy="63650"/>
                    <a:chOff x="14011275" y="-1878150"/>
                    <a:chExt cx="62865" cy="63650"/>
                  </a:xfrm>
                </p:grpSpPr>
                <p:sp>
                  <p:nvSpPr>
                    <p:cNvPr id="2365" name="Freeform 6689">
                      <a:extLst>
                        <a:ext uri="{FF2B5EF4-FFF2-40B4-BE49-F238E27FC236}">
                          <a16:creationId xmlns:a16="http://schemas.microsoft.com/office/drawing/2014/main" id="{02201B33-28C0-6354-5ADA-564C647246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11275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6" name="Freeform 6690">
                      <a:extLst>
                        <a:ext uri="{FF2B5EF4-FFF2-40B4-BE49-F238E27FC236}">
                          <a16:creationId xmlns:a16="http://schemas.microsoft.com/office/drawing/2014/main" id="{009F4561-01E2-D7A5-B351-FABC853CF4A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270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3" name="Graphic 26">
                    <a:extLst>
                      <a:ext uri="{FF2B5EF4-FFF2-40B4-BE49-F238E27FC236}">
                        <a16:creationId xmlns:a16="http://schemas.microsoft.com/office/drawing/2014/main" id="{95D742F2-7400-DB0F-E666-7ACA2E3AF2E6}"/>
                      </a:ext>
                    </a:extLst>
                  </p:cNvPr>
                  <p:cNvGrpSpPr/>
                  <p:nvPr/>
                </p:nvGrpSpPr>
                <p:grpSpPr>
                  <a:xfrm>
                    <a:off x="14016990" y="-1878150"/>
                    <a:ext cx="62865" cy="63650"/>
                    <a:chOff x="14016990" y="-1878150"/>
                    <a:chExt cx="62865" cy="63650"/>
                  </a:xfrm>
                </p:grpSpPr>
                <p:sp>
                  <p:nvSpPr>
                    <p:cNvPr id="2363" name="Freeform 6687">
                      <a:extLst>
                        <a:ext uri="{FF2B5EF4-FFF2-40B4-BE49-F238E27FC236}">
                          <a16:creationId xmlns:a16="http://schemas.microsoft.com/office/drawing/2014/main" id="{5616506C-0ED7-620D-FE02-AB5306E7E7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16990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4" name="Freeform 6688">
                      <a:extLst>
                        <a:ext uri="{FF2B5EF4-FFF2-40B4-BE49-F238E27FC236}">
                          <a16:creationId xmlns:a16="http://schemas.microsoft.com/office/drawing/2014/main" id="{764CB64F-62D0-D035-BAC4-90D6AC21F3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842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4" name="Graphic 26">
                    <a:extLst>
                      <a:ext uri="{FF2B5EF4-FFF2-40B4-BE49-F238E27FC236}">
                        <a16:creationId xmlns:a16="http://schemas.microsoft.com/office/drawing/2014/main" id="{2792001C-007F-C96F-3D50-9E9FBDE7C93A}"/>
                      </a:ext>
                    </a:extLst>
                  </p:cNvPr>
                  <p:cNvGrpSpPr/>
                  <p:nvPr/>
                </p:nvGrpSpPr>
                <p:grpSpPr>
                  <a:xfrm>
                    <a:off x="14022705" y="-1878150"/>
                    <a:ext cx="62864" cy="63650"/>
                    <a:chOff x="14022705" y="-1878150"/>
                    <a:chExt cx="62864" cy="63650"/>
                  </a:xfrm>
                </p:grpSpPr>
                <p:sp>
                  <p:nvSpPr>
                    <p:cNvPr id="2361" name="Freeform 6685">
                      <a:extLst>
                        <a:ext uri="{FF2B5EF4-FFF2-40B4-BE49-F238E27FC236}">
                          <a16:creationId xmlns:a16="http://schemas.microsoft.com/office/drawing/2014/main" id="{D7715FD3-7B77-5A13-52B4-6DFB3E3FC4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2705" y="-1846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2" name="Freeform 6686">
                      <a:extLst>
                        <a:ext uri="{FF2B5EF4-FFF2-40B4-BE49-F238E27FC236}">
                          <a16:creationId xmlns:a16="http://schemas.microsoft.com/office/drawing/2014/main" id="{6F398D9D-DFE5-C358-D60B-195EC96FE6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5413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5" name="Graphic 26">
                    <a:extLst>
                      <a:ext uri="{FF2B5EF4-FFF2-40B4-BE49-F238E27FC236}">
                        <a16:creationId xmlns:a16="http://schemas.microsoft.com/office/drawing/2014/main" id="{423C9CE1-DFB7-EC50-1FE3-9441C841F454}"/>
                      </a:ext>
                    </a:extLst>
                  </p:cNvPr>
                  <p:cNvGrpSpPr/>
                  <p:nvPr/>
                </p:nvGrpSpPr>
                <p:grpSpPr>
                  <a:xfrm>
                    <a:off x="14028420" y="-1878150"/>
                    <a:ext cx="63817" cy="63650"/>
                    <a:chOff x="14028420" y="-1878150"/>
                    <a:chExt cx="63817" cy="63650"/>
                  </a:xfrm>
                </p:grpSpPr>
                <p:sp>
                  <p:nvSpPr>
                    <p:cNvPr id="2359" name="Freeform 6683">
                      <a:extLst>
                        <a:ext uri="{FF2B5EF4-FFF2-40B4-BE49-F238E27FC236}">
                          <a16:creationId xmlns:a16="http://schemas.microsoft.com/office/drawing/2014/main" id="{1A9FDE61-F165-D992-5290-BFD7C436C0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8420" y="-1846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60" name="Freeform 6684">
                      <a:extLst>
                        <a:ext uri="{FF2B5EF4-FFF2-40B4-BE49-F238E27FC236}">
                          <a16:creationId xmlns:a16="http://schemas.microsoft.com/office/drawing/2014/main" id="{49A9C3C7-C166-C660-E51F-5F453D1A9E9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5985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6" name="Graphic 26">
                    <a:extLst>
                      <a:ext uri="{FF2B5EF4-FFF2-40B4-BE49-F238E27FC236}">
                        <a16:creationId xmlns:a16="http://schemas.microsoft.com/office/drawing/2014/main" id="{F69A82E6-74A0-0EA2-61D3-36BE24669782}"/>
                      </a:ext>
                    </a:extLst>
                  </p:cNvPr>
                  <p:cNvGrpSpPr/>
                  <p:nvPr/>
                </p:nvGrpSpPr>
                <p:grpSpPr>
                  <a:xfrm>
                    <a:off x="14049375" y="-1878150"/>
                    <a:ext cx="63817" cy="63650"/>
                    <a:chOff x="14049375" y="-1878150"/>
                    <a:chExt cx="63817" cy="63650"/>
                  </a:xfrm>
                </p:grpSpPr>
                <p:sp>
                  <p:nvSpPr>
                    <p:cNvPr id="2357" name="Freeform 6681">
                      <a:extLst>
                        <a:ext uri="{FF2B5EF4-FFF2-40B4-BE49-F238E27FC236}">
                          <a16:creationId xmlns:a16="http://schemas.microsoft.com/office/drawing/2014/main" id="{6B54A219-413B-AD4E-C473-4F111226B8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9375" y="-1846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8" name="Freeform 6682">
                      <a:extLst>
                        <a:ext uri="{FF2B5EF4-FFF2-40B4-BE49-F238E27FC236}">
                          <a16:creationId xmlns:a16="http://schemas.microsoft.com/office/drawing/2014/main" id="{3C4C1A40-2325-6D02-A468-C3B3E893C3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81760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7" name="Graphic 26">
                    <a:extLst>
                      <a:ext uri="{FF2B5EF4-FFF2-40B4-BE49-F238E27FC236}">
                        <a16:creationId xmlns:a16="http://schemas.microsoft.com/office/drawing/2014/main" id="{495F88F1-EA79-45C8-4074-2F5643BD6256}"/>
                      </a:ext>
                    </a:extLst>
                  </p:cNvPr>
                  <p:cNvGrpSpPr/>
                  <p:nvPr/>
                </p:nvGrpSpPr>
                <p:grpSpPr>
                  <a:xfrm>
                    <a:off x="14055090" y="-1878150"/>
                    <a:ext cx="62865" cy="63650"/>
                    <a:chOff x="14055090" y="-1878150"/>
                    <a:chExt cx="62865" cy="63650"/>
                  </a:xfrm>
                </p:grpSpPr>
                <p:sp>
                  <p:nvSpPr>
                    <p:cNvPr id="2355" name="Freeform 6679">
                      <a:extLst>
                        <a:ext uri="{FF2B5EF4-FFF2-40B4-BE49-F238E27FC236}">
                          <a16:creationId xmlns:a16="http://schemas.microsoft.com/office/drawing/2014/main" id="{417AE8DD-E78E-8E9F-AAD7-4BB36B9D9B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55090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6" name="Freeform 6680">
                      <a:extLst>
                        <a:ext uri="{FF2B5EF4-FFF2-40B4-BE49-F238E27FC236}">
                          <a16:creationId xmlns:a16="http://schemas.microsoft.com/office/drawing/2014/main" id="{A7BAB57D-22E8-C114-E9F0-408B0FD3CD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8652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8" name="Graphic 26">
                    <a:extLst>
                      <a:ext uri="{FF2B5EF4-FFF2-40B4-BE49-F238E27FC236}">
                        <a16:creationId xmlns:a16="http://schemas.microsoft.com/office/drawing/2014/main" id="{B397C638-2E32-BBE9-9D9C-7BFBDD2E11C8}"/>
                      </a:ext>
                    </a:extLst>
                  </p:cNvPr>
                  <p:cNvGrpSpPr/>
                  <p:nvPr/>
                </p:nvGrpSpPr>
                <p:grpSpPr>
                  <a:xfrm>
                    <a:off x="14060805" y="-1878150"/>
                    <a:ext cx="62864" cy="63650"/>
                    <a:chOff x="14060805" y="-1878150"/>
                    <a:chExt cx="62864" cy="63650"/>
                  </a:xfrm>
                </p:grpSpPr>
                <p:sp>
                  <p:nvSpPr>
                    <p:cNvPr id="2353" name="Freeform 6677">
                      <a:extLst>
                        <a:ext uri="{FF2B5EF4-FFF2-40B4-BE49-F238E27FC236}">
                          <a16:creationId xmlns:a16="http://schemas.microsoft.com/office/drawing/2014/main" id="{2EC4D14B-C9E6-F0B7-7473-1A0CD23909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60805" y="-1846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4" name="Freeform 6678">
                      <a:extLst>
                        <a:ext uri="{FF2B5EF4-FFF2-40B4-BE49-F238E27FC236}">
                          <a16:creationId xmlns:a16="http://schemas.microsoft.com/office/drawing/2014/main" id="{ED4FC3E7-EBAF-8C24-F908-B8658254DC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9223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49" name="Graphic 26">
                    <a:extLst>
                      <a:ext uri="{FF2B5EF4-FFF2-40B4-BE49-F238E27FC236}">
                        <a16:creationId xmlns:a16="http://schemas.microsoft.com/office/drawing/2014/main" id="{D9B328F0-63D8-334E-18D1-BCF04B512E52}"/>
                      </a:ext>
                    </a:extLst>
                  </p:cNvPr>
                  <p:cNvGrpSpPr/>
                  <p:nvPr/>
                </p:nvGrpSpPr>
                <p:grpSpPr>
                  <a:xfrm>
                    <a:off x="14130337" y="-1878150"/>
                    <a:ext cx="63817" cy="63650"/>
                    <a:chOff x="14130337" y="-1878150"/>
                    <a:chExt cx="63817" cy="63650"/>
                  </a:xfrm>
                </p:grpSpPr>
                <p:sp>
                  <p:nvSpPr>
                    <p:cNvPr id="2351" name="Freeform 6675">
                      <a:extLst>
                        <a:ext uri="{FF2B5EF4-FFF2-40B4-BE49-F238E27FC236}">
                          <a16:creationId xmlns:a16="http://schemas.microsoft.com/office/drawing/2014/main" id="{7123ABD0-873E-CD1D-E76F-3C0F94AD98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0337" y="-1846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2" name="Freeform 6676">
                      <a:extLst>
                        <a:ext uri="{FF2B5EF4-FFF2-40B4-BE49-F238E27FC236}">
                          <a16:creationId xmlns:a16="http://schemas.microsoft.com/office/drawing/2014/main" id="{461C35A7-7502-315D-4C74-F72D67D9D6A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272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0" name="Graphic 26">
                    <a:extLst>
                      <a:ext uri="{FF2B5EF4-FFF2-40B4-BE49-F238E27FC236}">
                        <a16:creationId xmlns:a16="http://schemas.microsoft.com/office/drawing/2014/main" id="{25E4AA91-056C-F0BB-369D-CE0D06242AF8}"/>
                      </a:ext>
                    </a:extLst>
                  </p:cNvPr>
                  <p:cNvGrpSpPr/>
                  <p:nvPr/>
                </p:nvGrpSpPr>
                <p:grpSpPr>
                  <a:xfrm>
                    <a:off x="14137957" y="-1878150"/>
                    <a:ext cx="62865" cy="63650"/>
                    <a:chOff x="14137957" y="-1878150"/>
                    <a:chExt cx="62865" cy="63650"/>
                  </a:xfrm>
                </p:grpSpPr>
                <p:sp>
                  <p:nvSpPr>
                    <p:cNvPr id="2349" name="Freeform 6673">
                      <a:extLst>
                        <a:ext uri="{FF2B5EF4-FFF2-40B4-BE49-F238E27FC236}">
                          <a16:creationId xmlns:a16="http://schemas.microsoft.com/office/drawing/2014/main" id="{27DD2477-E8F2-5CBA-3848-1EC783B3D7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7957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50" name="Freeform 6674">
                      <a:extLst>
                        <a:ext uri="{FF2B5EF4-FFF2-40B4-BE49-F238E27FC236}">
                          <a16:creationId xmlns:a16="http://schemas.microsoft.com/office/drawing/2014/main" id="{CD5FF969-83C9-5A36-0799-8829A1577E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9390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1" name="Graphic 26">
                    <a:extLst>
                      <a:ext uri="{FF2B5EF4-FFF2-40B4-BE49-F238E27FC236}">
                        <a16:creationId xmlns:a16="http://schemas.microsoft.com/office/drawing/2014/main" id="{6AC113BE-6395-87CD-7626-DF436C7582B2}"/>
                      </a:ext>
                    </a:extLst>
                  </p:cNvPr>
                  <p:cNvGrpSpPr/>
                  <p:nvPr/>
                </p:nvGrpSpPr>
                <p:grpSpPr>
                  <a:xfrm>
                    <a:off x="14143672" y="-1878150"/>
                    <a:ext cx="62865" cy="63650"/>
                    <a:chOff x="14143672" y="-1878150"/>
                    <a:chExt cx="62865" cy="63650"/>
                  </a:xfrm>
                </p:grpSpPr>
                <p:sp>
                  <p:nvSpPr>
                    <p:cNvPr id="2347" name="Freeform 6671">
                      <a:extLst>
                        <a:ext uri="{FF2B5EF4-FFF2-40B4-BE49-F238E27FC236}">
                          <a16:creationId xmlns:a16="http://schemas.microsoft.com/office/drawing/2014/main" id="{8C205BD7-495B-C3DA-E75F-44A0334643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3672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8" name="Freeform 6672">
                      <a:extLst>
                        <a:ext uri="{FF2B5EF4-FFF2-40B4-BE49-F238E27FC236}">
                          <a16:creationId xmlns:a16="http://schemas.microsoft.com/office/drawing/2014/main" id="{B9C44C7A-9A81-03BC-129E-C97B3EB005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5105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2" name="Graphic 26">
                    <a:extLst>
                      <a:ext uri="{FF2B5EF4-FFF2-40B4-BE49-F238E27FC236}">
                        <a16:creationId xmlns:a16="http://schemas.microsoft.com/office/drawing/2014/main" id="{BF895795-1EEA-EC62-749B-51AD0A3134A9}"/>
                      </a:ext>
                    </a:extLst>
                  </p:cNvPr>
                  <p:cNvGrpSpPr/>
                  <p:nvPr/>
                </p:nvGrpSpPr>
                <p:grpSpPr>
                  <a:xfrm>
                    <a:off x="14150340" y="-1878150"/>
                    <a:ext cx="62865" cy="63650"/>
                    <a:chOff x="14150340" y="-1878150"/>
                    <a:chExt cx="62865" cy="63650"/>
                  </a:xfrm>
                </p:grpSpPr>
                <p:sp>
                  <p:nvSpPr>
                    <p:cNvPr id="2345" name="Freeform 6669">
                      <a:extLst>
                        <a:ext uri="{FF2B5EF4-FFF2-40B4-BE49-F238E27FC236}">
                          <a16:creationId xmlns:a16="http://schemas.microsoft.com/office/drawing/2014/main" id="{09216D6E-E477-42C8-73E8-D281B84C65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0340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6" name="Freeform 6670">
                      <a:extLst>
                        <a:ext uri="{FF2B5EF4-FFF2-40B4-BE49-F238E27FC236}">
                          <a16:creationId xmlns:a16="http://schemas.microsoft.com/office/drawing/2014/main" id="{CD320019-4AFC-F536-13DA-266BB18434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1772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3" name="Graphic 26">
                    <a:extLst>
                      <a:ext uri="{FF2B5EF4-FFF2-40B4-BE49-F238E27FC236}">
                        <a16:creationId xmlns:a16="http://schemas.microsoft.com/office/drawing/2014/main" id="{251B9D78-C9E8-732D-9F57-086F9D5D10AB}"/>
                      </a:ext>
                    </a:extLst>
                  </p:cNvPr>
                  <p:cNvGrpSpPr/>
                  <p:nvPr/>
                </p:nvGrpSpPr>
                <p:grpSpPr>
                  <a:xfrm>
                    <a:off x="14157007" y="-1878150"/>
                    <a:ext cx="62865" cy="63650"/>
                    <a:chOff x="14157007" y="-1878150"/>
                    <a:chExt cx="62865" cy="63650"/>
                  </a:xfrm>
                </p:grpSpPr>
                <p:sp>
                  <p:nvSpPr>
                    <p:cNvPr id="2343" name="Freeform 6667">
                      <a:extLst>
                        <a:ext uri="{FF2B5EF4-FFF2-40B4-BE49-F238E27FC236}">
                          <a16:creationId xmlns:a16="http://schemas.microsoft.com/office/drawing/2014/main" id="{29FE0F01-3830-17DF-AEB3-DC79318315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7007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4" name="Freeform 6668">
                      <a:extLst>
                        <a:ext uri="{FF2B5EF4-FFF2-40B4-BE49-F238E27FC236}">
                          <a16:creationId xmlns:a16="http://schemas.microsoft.com/office/drawing/2014/main" id="{CED07469-BC3B-BEA3-A904-62F6C6B7B7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8440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4" name="Graphic 26">
                    <a:extLst>
                      <a:ext uri="{FF2B5EF4-FFF2-40B4-BE49-F238E27FC236}">
                        <a16:creationId xmlns:a16="http://schemas.microsoft.com/office/drawing/2014/main" id="{278A2B7A-7867-F324-7B80-8F9E127F2178}"/>
                      </a:ext>
                    </a:extLst>
                  </p:cNvPr>
                  <p:cNvGrpSpPr/>
                  <p:nvPr/>
                </p:nvGrpSpPr>
                <p:grpSpPr>
                  <a:xfrm>
                    <a:off x="14163675" y="-1878150"/>
                    <a:ext cx="62865" cy="63650"/>
                    <a:chOff x="14163675" y="-1878150"/>
                    <a:chExt cx="62865" cy="63650"/>
                  </a:xfrm>
                </p:grpSpPr>
                <p:sp>
                  <p:nvSpPr>
                    <p:cNvPr id="2341" name="Freeform 6665">
                      <a:extLst>
                        <a:ext uri="{FF2B5EF4-FFF2-40B4-BE49-F238E27FC236}">
                          <a16:creationId xmlns:a16="http://schemas.microsoft.com/office/drawing/2014/main" id="{05BEF6D6-7883-885D-134B-CEBE80D6B05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3675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2" name="Freeform 6666">
                      <a:extLst>
                        <a:ext uri="{FF2B5EF4-FFF2-40B4-BE49-F238E27FC236}">
                          <a16:creationId xmlns:a16="http://schemas.microsoft.com/office/drawing/2014/main" id="{A002D29A-2FA2-B397-3EF7-95BD4970EF0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510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5" name="Graphic 26">
                    <a:extLst>
                      <a:ext uri="{FF2B5EF4-FFF2-40B4-BE49-F238E27FC236}">
                        <a16:creationId xmlns:a16="http://schemas.microsoft.com/office/drawing/2014/main" id="{2CC79BD4-E140-4562-E2BC-E1D84C2F263D}"/>
                      </a:ext>
                    </a:extLst>
                  </p:cNvPr>
                  <p:cNvGrpSpPr/>
                  <p:nvPr/>
                </p:nvGrpSpPr>
                <p:grpSpPr>
                  <a:xfrm>
                    <a:off x="14171295" y="-1878150"/>
                    <a:ext cx="62865" cy="63650"/>
                    <a:chOff x="14171295" y="-1878150"/>
                    <a:chExt cx="62865" cy="63650"/>
                  </a:xfrm>
                </p:grpSpPr>
                <p:sp>
                  <p:nvSpPr>
                    <p:cNvPr id="2339" name="Freeform 6663">
                      <a:extLst>
                        <a:ext uri="{FF2B5EF4-FFF2-40B4-BE49-F238E27FC236}">
                          <a16:creationId xmlns:a16="http://schemas.microsoft.com/office/drawing/2014/main" id="{145D9423-492C-EA62-D2C2-6BFFC9EAF2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1295" y="-1846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40" name="Freeform 6664">
                      <a:extLst>
                        <a:ext uri="{FF2B5EF4-FFF2-40B4-BE49-F238E27FC236}">
                          <a16:creationId xmlns:a16="http://schemas.microsoft.com/office/drawing/2014/main" id="{6403E29C-9FA8-9B4B-89FD-8C947B0749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02727" y="-1878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6" name="Graphic 26">
                    <a:extLst>
                      <a:ext uri="{FF2B5EF4-FFF2-40B4-BE49-F238E27FC236}">
                        <a16:creationId xmlns:a16="http://schemas.microsoft.com/office/drawing/2014/main" id="{01C6F67A-B370-237E-AD7C-18037D926EC2}"/>
                      </a:ext>
                    </a:extLst>
                  </p:cNvPr>
                  <p:cNvGrpSpPr/>
                  <p:nvPr/>
                </p:nvGrpSpPr>
                <p:grpSpPr>
                  <a:xfrm>
                    <a:off x="14218920" y="-1848700"/>
                    <a:ext cx="63817" cy="62700"/>
                    <a:chOff x="14218920" y="-1848700"/>
                    <a:chExt cx="63817" cy="62700"/>
                  </a:xfrm>
                </p:grpSpPr>
                <p:sp>
                  <p:nvSpPr>
                    <p:cNvPr id="2337" name="Freeform 6661">
                      <a:extLst>
                        <a:ext uri="{FF2B5EF4-FFF2-40B4-BE49-F238E27FC236}">
                          <a16:creationId xmlns:a16="http://schemas.microsoft.com/office/drawing/2014/main" id="{28B10489-D7E6-BA91-5735-E0F9D2FDE4F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18920" y="-1817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8" name="Freeform 6662">
                      <a:extLst>
                        <a:ext uri="{FF2B5EF4-FFF2-40B4-BE49-F238E27FC236}">
                          <a16:creationId xmlns:a16="http://schemas.microsoft.com/office/drawing/2014/main" id="{1560EF04-EF4D-1DBF-2DD3-638ADB708D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50352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7" name="Graphic 26">
                    <a:extLst>
                      <a:ext uri="{FF2B5EF4-FFF2-40B4-BE49-F238E27FC236}">
                        <a16:creationId xmlns:a16="http://schemas.microsoft.com/office/drawing/2014/main" id="{8CDA970B-1F4F-C7C3-BF41-CF27D1FDBB11}"/>
                      </a:ext>
                    </a:extLst>
                  </p:cNvPr>
                  <p:cNvGrpSpPr/>
                  <p:nvPr/>
                </p:nvGrpSpPr>
                <p:grpSpPr>
                  <a:xfrm>
                    <a:off x="14262735" y="-1848700"/>
                    <a:ext cx="62865" cy="62700"/>
                    <a:chOff x="14262735" y="-1848700"/>
                    <a:chExt cx="62865" cy="62700"/>
                  </a:xfrm>
                </p:grpSpPr>
                <p:sp>
                  <p:nvSpPr>
                    <p:cNvPr id="2335" name="Freeform 6659">
                      <a:extLst>
                        <a:ext uri="{FF2B5EF4-FFF2-40B4-BE49-F238E27FC236}">
                          <a16:creationId xmlns:a16="http://schemas.microsoft.com/office/drawing/2014/main" id="{D5E32A67-14B9-89C5-A085-33B3EE1025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62735" y="-1817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6" name="Freeform 6660">
                      <a:extLst>
                        <a:ext uri="{FF2B5EF4-FFF2-40B4-BE49-F238E27FC236}">
                          <a16:creationId xmlns:a16="http://schemas.microsoft.com/office/drawing/2014/main" id="{9ED46424-2F4A-A16A-EE39-2C74A84BAD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94167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8" name="Graphic 26">
                    <a:extLst>
                      <a:ext uri="{FF2B5EF4-FFF2-40B4-BE49-F238E27FC236}">
                        <a16:creationId xmlns:a16="http://schemas.microsoft.com/office/drawing/2014/main" id="{19B95E16-4BCB-6D57-57B5-2F70BDCD779F}"/>
                      </a:ext>
                    </a:extLst>
                  </p:cNvPr>
                  <p:cNvGrpSpPr/>
                  <p:nvPr/>
                </p:nvGrpSpPr>
                <p:grpSpPr>
                  <a:xfrm>
                    <a:off x="14285595" y="-1848700"/>
                    <a:ext cx="62865" cy="62700"/>
                    <a:chOff x="14285595" y="-1848700"/>
                    <a:chExt cx="62865" cy="62700"/>
                  </a:xfrm>
                </p:grpSpPr>
                <p:sp>
                  <p:nvSpPr>
                    <p:cNvPr id="2333" name="Freeform 6657">
                      <a:extLst>
                        <a:ext uri="{FF2B5EF4-FFF2-40B4-BE49-F238E27FC236}">
                          <a16:creationId xmlns:a16="http://schemas.microsoft.com/office/drawing/2014/main" id="{256CD2D7-ABCA-E3D2-46A8-5233DCCF76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85595" y="-1817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4" name="Freeform 6658">
                      <a:extLst>
                        <a:ext uri="{FF2B5EF4-FFF2-40B4-BE49-F238E27FC236}">
                          <a16:creationId xmlns:a16="http://schemas.microsoft.com/office/drawing/2014/main" id="{1BF68F20-A7C2-442A-FEA7-E19A301D79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17027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59" name="Graphic 26">
                    <a:extLst>
                      <a:ext uri="{FF2B5EF4-FFF2-40B4-BE49-F238E27FC236}">
                        <a16:creationId xmlns:a16="http://schemas.microsoft.com/office/drawing/2014/main" id="{9C706F9F-7ACE-FD75-DACE-EAA10CC1FEE3}"/>
                      </a:ext>
                    </a:extLst>
                  </p:cNvPr>
                  <p:cNvGrpSpPr/>
                  <p:nvPr/>
                </p:nvGrpSpPr>
                <p:grpSpPr>
                  <a:xfrm>
                    <a:off x="14309407" y="-1848700"/>
                    <a:ext cx="63817" cy="62700"/>
                    <a:chOff x="14309407" y="-1848700"/>
                    <a:chExt cx="63817" cy="62700"/>
                  </a:xfrm>
                </p:grpSpPr>
                <p:sp>
                  <p:nvSpPr>
                    <p:cNvPr id="2331" name="Freeform 6655">
                      <a:extLst>
                        <a:ext uri="{FF2B5EF4-FFF2-40B4-BE49-F238E27FC236}">
                          <a16:creationId xmlns:a16="http://schemas.microsoft.com/office/drawing/2014/main" id="{228671C7-0E1C-50FE-D639-ABD0F88027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09407" y="-1817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2" name="Freeform 6656">
                      <a:extLst>
                        <a:ext uri="{FF2B5EF4-FFF2-40B4-BE49-F238E27FC236}">
                          <a16:creationId xmlns:a16="http://schemas.microsoft.com/office/drawing/2014/main" id="{799595E3-62DE-E8E2-BD76-04F6ADCA44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41792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0" name="Graphic 26">
                    <a:extLst>
                      <a:ext uri="{FF2B5EF4-FFF2-40B4-BE49-F238E27FC236}">
                        <a16:creationId xmlns:a16="http://schemas.microsoft.com/office/drawing/2014/main" id="{93AF01A1-B370-46DE-5894-F2E3C5FBAFA7}"/>
                      </a:ext>
                    </a:extLst>
                  </p:cNvPr>
                  <p:cNvGrpSpPr/>
                  <p:nvPr/>
                </p:nvGrpSpPr>
                <p:grpSpPr>
                  <a:xfrm>
                    <a:off x="14316075" y="-1848700"/>
                    <a:ext cx="63817" cy="62700"/>
                    <a:chOff x="14316075" y="-1848700"/>
                    <a:chExt cx="63817" cy="62700"/>
                  </a:xfrm>
                </p:grpSpPr>
                <p:sp>
                  <p:nvSpPr>
                    <p:cNvPr id="2329" name="Freeform 6653">
                      <a:extLst>
                        <a:ext uri="{FF2B5EF4-FFF2-40B4-BE49-F238E27FC236}">
                          <a16:creationId xmlns:a16="http://schemas.microsoft.com/office/drawing/2014/main" id="{A9225089-D2EA-45A8-9C48-06FB6BDB75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16075" y="-1817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30" name="Freeform 6654">
                      <a:extLst>
                        <a:ext uri="{FF2B5EF4-FFF2-40B4-BE49-F238E27FC236}">
                          <a16:creationId xmlns:a16="http://schemas.microsoft.com/office/drawing/2014/main" id="{E7B21F3B-1D11-D469-0F5B-328BF7D4BC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47507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1" name="Graphic 26">
                    <a:extLst>
                      <a:ext uri="{FF2B5EF4-FFF2-40B4-BE49-F238E27FC236}">
                        <a16:creationId xmlns:a16="http://schemas.microsoft.com/office/drawing/2014/main" id="{0BE74527-1CFC-3D13-27F1-EF4661EFE927}"/>
                      </a:ext>
                    </a:extLst>
                  </p:cNvPr>
                  <p:cNvGrpSpPr/>
                  <p:nvPr/>
                </p:nvGrpSpPr>
                <p:grpSpPr>
                  <a:xfrm>
                    <a:off x="14321790" y="-1848700"/>
                    <a:ext cx="62865" cy="62700"/>
                    <a:chOff x="14321790" y="-1848700"/>
                    <a:chExt cx="62865" cy="62700"/>
                  </a:xfrm>
                </p:grpSpPr>
                <p:sp>
                  <p:nvSpPr>
                    <p:cNvPr id="2327" name="Freeform 6651">
                      <a:extLst>
                        <a:ext uri="{FF2B5EF4-FFF2-40B4-BE49-F238E27FC236}">
                          <a16:creationId xmlns:a16="http://schemas.microsoft.com/office/drawing/2014/main" id="{7432D9C3-A4BD-0AE1-C7A2-9A3153F5ED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21790" y="-18173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8" name="Freeform 6652">
                      <a:extLst>
                        <a:ext uri="{FF2B5EF4-FFF2-40B4-BE49-F238E27FC236}">
                          <a16:creationId xmlns:a16="http://schemas.microsoft.com/office/drawing/2014/main" id="{CB106B31-4F55-C32F-E6F0-0DA99CED2A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53222" y="-1848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2" name="Graphic 26">
                    <a:extLst>
                      <a:ext uri="{FF2B5EF4-FFF2-40B4-BE49-F238E27FC236}">
                        <a16:creationId xmlns:a16="http://schemas.microsoft.com/office/drawing/2014/main" id="{729AF698-3A26-420E-1AA5-828FB6EBEF4A}"/>
                      </a:ext>
                    </a:extLst>
                  </p:cNvPr>
                  <p:cNvGrpSpPr/>
                  <p:nvPr/>
                </p:nvGrpSpPr>
                <p:grpSpPr>
                  <a:xfrm>
                    <a:off x="14333220" y="-1821150"/>
                    <a:ext cx="63817" cy="63650"/>
                    <a:chOff x="14333220" y="-1821150"/>
                    <a:chExt cx="63817" cy="63650"/>
                  </a:xfrm>
                </p:grpSpPr>
                <p:sp>
                  <p:nvSpPr>
                    <p:cNvPr id="2325" name="Freeform 6649">
                      <a:extLst>
                        <a:ext uri="{FF2B5EF4-FFF2-40B4-BE49-F238E27FC236}">
                          <a16:creationId xmlns:a16="http://schemas.microsoft.com/office/drawing/2014/main" id="{30AEB3FC-F707-1E3D-9F87-5E3FC4FA496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33220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6" name="Freeform 6650">
                      <a:extLst>
                        <a:ext uri="{FF2B5EF4-FFF2-40B4-BE49-F238E27FC236}">
                          <a16:creationId xmlns:a16="http://schemas.microsoft.com/office/drawing/2014/main" id="{A9915AF3-5994-7BC4-9116-D8A826FE0C0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6560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3" name="Graphic 26">
                    <a:extLst>
                      <a:ext uri="{FF2B5EF4-FFF2-40B4-BE49-F238E27FC236}">
                        <a16:creationId xmlns:a16="http://schemas.microsoft.com/office/drawing/2014/main" id="{102D3A25-432E-85B5-6396-C2A9F2CB1C81}"/>
                      </a:ext>
                    </a:extLst>
                  </p:cNvPr>
                  <p:cNvGrpSpPr/>
                  <p:nvPr/>
                </p:nvGrpSpPr>
                <p:grpSpPr>
                  <a:xfrm>
                    <a:off x="14373225" y="-1821150"/>
                    <a:ext cx="62865" cy="63650"/>
                    <a:chOff x="14373225" y="-1821150"/>
                    <a:chExt cx="62865" cy="63650"/>
                  </a:xfrm>
                </p:grpSpPr>
                <p:sp>
                  <p:nvSpPr>
                    <p:cNvPr id="2323" name="Freeform 6647">
                      <a:extLst>
                        <a:ext uri="{FF2B5EF4-FFF2-40B4-BE49-F238E27FC236}">
                          <a16:creationId xmlns:a16="http://schemas.microsoft.com/office/drawing/2014/main" id="{3508233C-2F38-C594-23BD-DE59ECF435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7322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4" name="Freeform 6648">
                      <a:extLst>
                        <a:ext uri="{FF2B5EF4-FFF2-40B4-BE49-F238E27FC236}">
                          <a16:creationId xmlns:a16="http://schemas.microsoft.com/office/drawing/2014/main" id="{23BCC369-B547-A85D-F976-34588B2C7F6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465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4" name="Graphic 26">
                    <a:extLst>
                      <a:ext uri="{FF2B5EF4-FFF2-40B4-BE49-F238E27FC236}">
                        <a16:creationId xmlns:a16="http://schemas.microsoft.com/office/drawing/2014/main" id="{F99A4C88-414C-BDC1-A009-DFB66C82A0FE}"/>
                      </a:ext>
                    </a:extLst>
                  </p:cNvPr>
                  <p:cNvGrpSpPr/>
                  <p:nvPr/>
                </p:nvGrpSpPr>
                <p:grpSpPr>
                  <a:xfrm>
                    <a:off x="14399895" y="-1821150"/>
                    <a:ext cx="62865" cy="63650"/>
                    <a:chOff x="14399895" y="-1821150"/>
                    <a:chExt cx="62865" cy="63650"/>
                  </a:xfrm>
                </p:grpSpPr>
                <p:sp>
                  <p:nvSpPr>
                    <p:cNvPr id="2321" name="Freeform 6645">
                      <a:extLst>
                        <a:ext uri="{FF2B5EF4-FFF2-40B4-BE49-F238E27FC236}">
                          <a16:creationId xmlns:a16="http://schemas.microsoft.com/office/drawing/2014/main" id="{6D61CDE1-F0D5-ABDB-EFE1-5F5FFF39A85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9989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2" name="Freeform 6646">
                      <a:extLst>
                        <a:ext uri="{FF2B5EF4-FFF2-40B4-BE49-F238E27FC236}">
                          <a16:creationId xmlns:a16="http://schemas.microsoft.com/office/drawing/2014/main" id="{2190CBFB-003D-F7EA-218C-955AFBE085C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132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5" name="Graphic 26">
                    <a:extLst>
                      <a:ext uri="{FF2B5EF4-FFF2-40B4-BE49-F238E27FC236}">
                        <a16:creationId xmlns:a16="http://schemas.microsoft.com/office/drawing/2014/main" id="{1886AC47-C805-0B22-3DB3-A42CF158921D}"/>
                      </a:ext>
                    </a:extLst>
                  </p:cNvPr>
                  <p:cNvGrpSpPr/>
                  <p:nvPr/>
                </p:nvGrpSpPr>
                <p:grpSpPr>
                  <a:xfrm>
                    <a:off x="14409420" y="-1821150"/>
                    <a:ext cx="62865" cy="63650"/>
                    <a:chOff x="14409420" y="-1821150"/>
                    <a:chExt cx="62865" cy="63650"/>
                  </a:xfrm>
                </p:grpSpPr>
                <p:sp>
                  <p:nvSpPr>
                    <p:cNvPr id="2319" name="Freeform 6643">
                      <a:extLst>
                        <a:ext uri="{FF2B5EF4-FFF2-40B4-BE49-F238E27FC236}">
                          <a16:creationId xmlns:a16="http://schemas.microsoft.com/office/drawing/2014/main" id="{41B664F0-4496-9289-5540-B0B640CC12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9420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20" name="Freeform 6644">
                      <a:extLst>
                        <a:ext uri="{FF2B5EF4-FFF2-40B4-BE49-F238E27FC236}">
                          <a16:creationId xmlns:a16="http://schemas.microsoft.com/office/drawing/2014/main" id="{8AF9917B-AF17-CA9B-5E35-71E99182527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4085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6" name="Graphic 26">
                    <a:extLst>
                      <a:ext uri="{FF2B5EF4-FFF2-40B4-BE49-F238E27FC236}">
                        <a16:creationId xmlns:a16="http://schemas.microsoft.com/office/drawing/2014/main" id="{1AABA01F-834B-1F60-E9C0-446265A23523}"/>
                      </a:ext>
                    </a:extLst>
                  </p:cNvPr>
                  <p:cNvGrpSpPr/>
                  <p:nvPr/>
                </p:nvGrpSpPr>
                <p:grpSpPr>
                  <a:xfrm>
                    <a:off x="14417992" y="-1821150"/>
                    <a:ext cx="62864" cy="63650"/>
                    <a:chOff x="14417992" y="-1821150"/>
                    <a:chExt cx="62864" cy="63650"/>
                  </a:xfrm>
                </p:grpSpPr>
                <p:sp>
                  <p:nvSpPr>
                    <p:cNvPr id="2317" name="Freeform 6641">
                      <a:extLst>
                        <a:ext uri="{FF2B5EF4-FFF2-40B4-BE49-F238E27FC236}">
                          <a16:creationId xmlns:a16="http://schemas.microsoft.com/office/drawing/2014/main" id="{766AB85E-9557-5FAB-6070-812943B6E1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17992" y="-1788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8" name="Freeform 6642">
                      <a:extLst>
                        <a:ext uri="{FF2B5EF4-FFF2-40B4-BE49-F238E27FC236}">
                          <a16:creationId xmlns:a16="http://schemas.microsoft.com/office/drawing/2014/main" id="{0CB7A773-A331-5F08-1A68-8FB7D4FDBDA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4942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7" name="Graphic 26">
                    <a:extLst>
                      <a:ext uri="{FF2B5EF4-FFF2-40B4-BE49-F238E27FC236}">
                        <a16:creationId xmlns:a16="http://schemas.microsoft.com/office/drawing/2014/main" id="{EE86B33A-4519-D754-8EE5-678B6FEE5600}"/>
                      </a:ext>
                    </a:extLst>
                  </p:cNvPr>
                  <p:cNvGrpSpPr/>
                  <p:nvPr/>
                </p:nvGrpSpPr>
                <p:grpSpPr>
                  <a:xfrm>
                    <a:off x="14427517" y="-1821150"/>
                    <a:ext cx="62864" cy="63650"/>
                    <a:chOff x="14427517" y="-1821150"/>
                    <a:chExt cx="62864" cy="63650"/>
                  </a:xfrm>
                </p:grpSpPr>
                <p:sp>
                  <p:nvSpPr>
                    <p:cNvPr id="2315" name="Freeform 6639">
                      <a:extLst>
                        <a:ext uri="{FF2B5EF4-FFF2-40B4-BE49-F238E27FC236}">
                          <a16:creationId xmlns:a16="http://schemas.microsoft.com/office/drawing/2014/main" id="{6DAD4DDC-AEE4-2A4B-9C47-0702018DEB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7517" y="-1788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6" name="Freeform 6640">
                      <a:extLst>
                        <a:ext uri="{FF2B5EF4-FFF2-40B4-BE49-F238E27FC236}">
                          <a16:creationId xmlns:a16="http://schemas.microsoft.com/office/drawing/2014/main" id="{3BB9816E-EAF9-C3E5-563C-FFFD85DA5B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895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8" name="Graphic 26">
                    <a:extLst>
                      <a:ext uri="{FF2B5EF4-FFF2-40B4-BE49-F238E27FC236}">
                        <a16:creationId xmlns:a16="http://schemas.microsoft.com/office/drawing/2014/main" id="{F54372AF-4BA1-4B11-72C7-B7A97AC8DE19}"/>
                      </a:ext>
                    </a:extLst>
                  </p:cNvPr>
                  <p:cNvGrpSpPr/>
                  <p:nvPr/>
                </p:nvGrpSpPr>
                <p:grpSpPr>
                  <a:xfrm>
                    <a:off x="14447520" y="-1821150"/>
                    <a:ext cx="63817" cy="63650"/>
                    <a:chOff x="14447520" y="-1821150"/>
                    <a:chExt cx="63817" cy="63650"/>
                  </a:xfrm>
                </p:grpSpPr>
                <p:sp>
                  <p:nvSpPr>
                    <p:cNvPr id="2313" name="Freeform 6637">
                      <a:extLst>
                        <a:ext uri="{FF2B5EF4-FFF2-40B4-BE49-F238E27FC236}">
                          <a16:creationId xmlns:a16="http://schemas.microsoft.com/office/drawing/2014/main" id="{C19A3599-7B95-3343-9C25-B7F42E2CB7B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47520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4" name="Freeform 6638">
                      <a:extLst>
                        <a:ext uri="{FF2B5EF4-FFF2-40B4-BE49-F238E27FC236}">
                          <a16:creationId xmlns:a16="http://schemas.microsoft.com/office/drawing/2014/main" id="{A927679D-A00D-CE6F-CAD4-A6503115B3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895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69" name="Graphic 26">
                    <a:extLst>
                      <a:ext uri="{FF2B5EF4-FFF2-40B4-BE49-F238E27FC236}">
                        <a16:creationId xmlns:a16="http://schemas.microsoft.com/office/drawing/2014/main" id="{BD9811D6-B43B-E5AF-9FA9-83D7973A35E9}"/>
                      </a:ext>
                    </a:extLst>
                  </p:cNvPr>
                  <p:cNvGrpSpPr/>
                  <p:nvPr/>
                </p:nvGrpSpPr>
                <p:grpSpPr>
                  <a:xfrm>
                    <a:off x="14455140" y="-1821150"/>
                    <a:ext cx="62865" cy="63650"/>
                    <a:chOff x="14455140" y="-1821150"/>
                    <a:chExt cx="62865" cy="63650"/>
                  </a:xfrm>
                </p:grpSpPr>
                <p:sp>
                  <p:nvSpPr>
                    <p:cNvPr id="2311" name="Freeform 6635">
                      <a:extLst>
                        <a:ext uri="{FF2B5EF4-FFF2-40B4-BE49-F238E27FC236}">
                          <a16:creationId xmlns:a16="http://schemas.microsoft.com/office/drawing/2014/main" id="{D7077D5C-F2A8-AF55-78B4-5423A64E28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5140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2" name="Freeform 6636">
                      <a:extLst>
                        <a:ext uri="{FF2B5EF4-FFF2-40B4-BE49-F238E27FC236}">
                          <a16:creationId xmlns:a16="http://schemas.microsoft.com/office/drawing/2014/main" id="{DB213C1E-54DD-BB61-1C1D-C4449B9EE6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657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0" name="Graphic 26">
                    <a:extLst>
                      <a:ext uri="{FF2B5EF4-FFF2-40B4-BE49-F238E27FC236}">
                        <a16:creationId xmlns:a16="http://schemas.microsoft.com/office/drawing/2014/main" id="{4E6ACF90-FD09-9962-8A06-8954B51C8153}"/>
                      </a:ext>
                    </a:extLst>
                  </p:cNvPr>
                  <p:cNvGrpSpPr/>
                  <p:nvPr/>
                </p:nvGrpSpPr>
                <p:grpSpPr>
                  <a:xfrm>
                    <a:off x="14459902" y="-1821150"/>
                    <a:ext cx="63817" cy="63650"/>
                    <a:chOff x="14459902" y="-1821150"/>
                    <a:chExt cx="63817" cy="63650"/>
                  </a:xfrm>
                </p:grpSpPr>
                <p:sp>
                  <p:nvSpPr>
                    <p:cNvPr id="2309" name="Freeform 6633">
                      <a:extLst>
                        <a:ext uri="{FF2B5EF4-FFF2-40B4-BE49-F238E27FC236}">
                          <a16:creationId xmlns:a16="http://schemas.microsoft.com/office/drawing/2014/main" id="{7B9ADF1E-1ACB-3343-FB1C-71BF12D399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59902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10" name="Freeform 6634">
                      <a:extLst>
                        <a:ext uri="{FF2B5EF4-FFF2-40B4-BE49-F238E27FC236}">
                          <a16:creationId xmlns:a16="http://schemas.microsoft.com/office/drawing/2014/main" id="{25162F29-85BF-6E50-7197-9967EC6F100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133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1" name="Graphic 26">
                    <a:extLst>
                      <a:ext uri="{FF2B5EF4-FFF2-40B4-BE49-F238E27FC236}">
                        <a16:creationId xmlns:a16="http://schemas.microsoft.com/office/drawing/2014/main" id="{44F1AB6D-894F-9370-964B-00D47201439D}"/>
                      </a:ext>
                    </a:extLst>
                  </p:cNvPr>
                  <p:cNvGrpSpPr/>
                  <p:nvPr/>
                </p:nvGrpSpPr>
                <p:grpSpPr>
                  <a:xfrm>
                    <a:off x="14465617" y="-1821150"/>
                    <a:ext cx="62864" cy="63650"/>
                    <a:chOff x="14465617" y="-1821150"/>
                    <a:chExt cx="62864" cy="63650"/>
                  </a:xfrm>
                </p:grpSpPr>
                <p:sp>
                  <p:nvSpPr>
                    <p:cNvPr id="2307" name="Freeform 6631">
                      <a:extLst>
                        <a:ext uri="{FF2B5EF4-FFF2-40B4-BE49-F238E27FC236}">
                          <a16:creationId xmlns:a16="http://schemas.microsoft.com/office/drawing/2014/main" id="{AEB9D865-B46D-2690-0ECB-C4AB8FBFCB3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65617" y="-17888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8" name="Freeform 6632">
                      <a:extLst>
                        <a:ext uri="{FF2B5EF4-FFF2-40B4-BE49-F238E27FC236}">
                          <a16:creationId xmlns:a16="http://schemas.microsoft.com/office/drawing/2014/main" id="{C2C5F005-84B2-8E34-CFE3-3DCC6CB43F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705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2" name="Graphic 26">
                    <a:extLst>
                      <a:ext uri="{FF2B5EF4-FFF2-40B4-BE49-F238E27FC236}">
                        <a16:creationId xmlns:a16="http://schemas.microsoft.com/office/drawing/2014/main" id="{C7468A54-0E7C-8D61-0327-5D4E067BFE4F}"/>
                      </a:ext>
                    </a:extLst>
                  </p:cNvPr>
                  <p:cNvGrpSpPr/>
                  <p:nvPr/>
                </p:nvGrpSpPr>
                <p:grpSpPr>
                  <a:xfrm>
                    <a:off x="14488477" y="-1821150"/>
                    <a:ext cx="62865" cy="63650"/>
                    <a:chOff x="14488477" y="-1821150"/>
                    <a:chExt cx="62865" cy="63650"/>
                  </a:xfrm>
                </p:grpSpPr>
                <p:sp>
                  <p:nvSpPr>
                    <p:cNvPr id="2305" name="Freeform 6629">
                      <a:extLst>
                        <a:ext uri="{FF2B5EF4-FFF2-40B4-BE49-F238E27FC236}">
                          <a16:creationId xmlns:a16="http://schemas.microsoft.com/office/drawing/2014/main" id="{E2C5F4C7-BC62-95D7-D55A-3298A44391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88477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6" name="Freeform 6630">
                      <a:extLst>
                        <a:ext uri="{FF2B5EF4-FFF2-40B4-BE49-F238E27FC236}">
                          <a16:creationId xmlns:a16="http://schemas.microsoft.com/office/drawing/2014/main" id="{6628DDE4-A622-97BB-AC5D-5620CB9091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1991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3" name="Graphic 26">
                    <a:extLst>
                      <a:ext uri="{FF2B5EF4-FFF2-40B4-BE49-F238E27FC236}">
                        <a16:creationId xmlns:a16="http://schemas.microsoft.com/office/drawing/2014/main" id="{7CF46935-FD8D-07D6-9CEF-81F6F3BFD526}"/>
                      </a:ext>
                    </a:extLst>
                  </p:cNvPr>
                  <p:cNvGrpSpPr/>
                  <p:nvPr/>
                </p:nvGrpSpPr>
                <p:grpSpPr>
                  <a:xfrm>
                    <a:off x="14493240" y="-1821150"/>
                    <a:ext cx="63817" cy="63650"/>
                    <a:chOff x="14493240" y="-1821150"/>
                    <a:chExt cx="63817" cy="63650"/>
                  </a:xfrm>
                </p:grpSpPr>
                <p:sp>
                  <p:nvSpPr>
                    <p:cNvPr id="2303" name="Freeform 6627">
                      <a:extLst>
                        <a:ext uri="{FF2B5EF4-FFF2-40B4-BE49-F238E27FC236}">
                          <a16:creationId xmlns:a16="http://schemas.microsoft.com/office/drawing/2014/main" id="{7B9FF952-F3B8-4F45-C4A9-04654D3C84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3240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4" name="Freeform 6628">
                      <a:extLst>
                        <a:ext uri="{FF2B5EF4-FFF2-40B4-BE49-F238E27FC236}">
                          <a16:creationId xmlns:a16="http://schemas.microsoft.com/office/drawing/2014/main" id="{2321268E-58DC-43B5-909F-858226D0BF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2562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4" name="Graphic 26">
                    <a:extLst>
                      <a:ext uri="{FF2B5EF4-FFF2-40B4-BE49-F238E27FC236}">
                        <a16:creationId xmlns:a16="http://schemas.microsoft.com/office/drawing/2014/main" id="{A507F6EA-6D2E-40C7-B549-9DA7FB499008}"/>
                      </a:ext>
                    </a:extLst>
                  </p:cNvPr>
                  <p:cNvGrpSpPr/>
                  <p:nvPr/>
                </p:nvGrpSpPr>
                <p:grpSpPr>
                  <a:xfrm>
                    <a:off x="14499907" y="-1821150"/>
                    <a:ext cx="62865" cy="63650"/>
                    <a:chOff x="14499907" y="-1821150"/>
                    <a:chExt cx="62865" cy="63650"/>
                  </a:xfrm>
                </p:grpSpPr>
                <p:sp>
                  <p:nvSpPr>
                    <p:cNvPr id="2301" name="Freeform 6625">
                      <a:extLst>
                        <a:ext uri="{FF2B5EF4-FFF2-40B4-BE49-F238E27FC236}">
                          <a16:creationId xmlns:a16="http://schemas.microsoft.com/office/drawing/2014/main" id="{55F1C7F5-9677-08B6-D498-8B71EB845B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99907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2" name="Freeform 6626">
                      <a:extLst>
                        <a:ext uri="{FF2B5EF4-FFF2-40B4-BE49-F238E27FC236}">
                          <a16:creationId xmlns:a16="http://schemas.microsoft.com/office/drawing/2014/main" id="{1F700C42-E075-3869-4D8C-6A98997D9C6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3134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5" name="Graphic 26">
                    <a:extLst>
                      <a:ext uri="{FF2B5EF4-FFF2-40B4-BE49-F238E27FC236}">
                        <a16:creationId xmlns:a16="http://schemas.microsoft.com/office/drawing/2014/main" id="{752359DE-C078-C411-0BD6-EDD800635682}"/>
                      </a:ext>
                    </a:extLst>
                  </p:cNvPr>
                  <p:cNvGrpSpPr/>
                  <p:nvPr/>
                </p:nvGrpSpPr>
                <p:grpSpPr>
                  <a:xfrm>
                    <a:off x="14614207" y="-1821150"/>
                    <a:ext cx="62865" cy="63650"/>
                    <a:chOff x="14614207" y="-1821150"/>
                    <a:chExt cx="62865" cy="63650"/>
                  </a:xfrm>
                </p:grpSpPr>
                <p:sp>
                  <p:nvSpPr>
                    <p:cNvPr id="2299" name="Freeform 6623">
                      <a:extLst>
                        <a:ext uri="{FF2B5EF4-FFF2-40B4-BE49-F238E27FC236}">
                          <a16:creationId xmlns:a16="http://schemas.microsoft.com/office/drawing/2014/main" id="{0ABA68AF-7F62-437A-BAD1-13D081DAA3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4207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300" name="Freeform 6624">
                      <a:extLst>
                        <a:ext uri="{FF2B5EF4-FFF2-40B4-BE49-F238E27FC236}">
                          <a16:creationId xmlns:a16="http://schemas.microsoft.com/office/drawing/2014/main" id="{E3B4A8DD-445D-4974-B1B7-BE74F39B1B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45640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6" name="Graphic 26">
                    <a:extLst>
                      <a:ext uri="{FF2B5EF4-FFF2-40B4-BE49-F238E27FC236}">
                        <a16:creationId xmlns:a16="http://schemas.microsoft.com/office/drawing/2014/main" id="{CFA3A90C-3717-4039-ACAA-94B698892129}"/>
                      </a:ext>
                    </a:extLst>
                  </p:cNvPr>
                  <p:cNvGrpSpPr/>
                  <p:nvPr/>
                </p:nvGrpSpPr>
                <p:grpSpPr>
                  <a:xfrm>
                    <a:off x="14638020" y="-1821150"/>
                    <a:ext cx="62865" cy="63650"/>
                    <a:chOff x="14638020" y="-1821150"/>
                    <a:chExt cx="62865" cy="63650"/>
                  </a:xfrm>
                </p:grpSpPr>
                <p:sp>
                  <p:nvSpPr>
                    <p:cNvPr id="2297" name="Freeform 6621">
                      <a:extLst>
                        <a:ext uri="{FF2B5EF4-FFF2-40B4-BE49-F238E27FC236}">
                          <a16:creationId xmlns:a16="http://schemas.microsoft.com/office/drawing/2014/main" id="{8A7A28B9-556C-F38F-59C8-F236554C65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38020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8" name="Freeform 6622">
                      <a:extLst>
                        <a:ext uri="{FF2B5EF4-FFF2-40B4-BE49-F238E27FC236}">
                          <a16:creationId xmlns:a16="http://schemas.microsoft.com/office/drawing/2014/main" id="{1153E6CB-6DCE-9384-D9EF-5D076868A9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69452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7" name="Graphic 26">
                    <a:extLst>
                      <a:ext uri="{FF2B5EF4-FFF2-40B4-BE49-F238E27FC236}">
                        <a16:creationId xmlns:a16="http://schemas.microsoft.com/office/drawing/2014/main" id="{09D58422-1080-667C-3123-666C6D60B2D5}"/>
                      </a:ext>
                    </a:extLst>
                  </p:cNvPr>
                  <p:cNvGrpSpPr/>
                  <p:nvPr/>
                </p:nvGrpSpPr>
                <p:grpSpPr>
                  <a:xfrm>
                    <a:off x="14727555" y="-1821150"/>
                    <a:ext cx="63817" cy="63650"/>
                    <a:chOff x="14727555" y="-1821150"/>
                    <a:chExt cx="63817" cy="63650"/>
                  </a:xfrm>
                </p:grpSpPr>
                <p:sp>
                  <p:nvSpPr>
                    <p:cNvPr id="2295" name="Freeform 6619">
                      <a:extLst>
                        <a:ext uri="{FF2B5EF4-FFF2-40B4-BE49-F238E27FC236}">
                          <a16:creationId xmlns:a16="http://schemas.microsoft.com/office/drawing/2014/main" id="{BB7FC971-BB88-47A7-BB8B-E74E748515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7555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6" name="Freeform 6620">
                      <a:extLst>
                        <a:ext uri="{FF2B5EF4-FFF2-40B4-BE49-F238E27FC236}">
                          <a16:creationId xmlns:a16="http://schemas.microsoft.com/office/drawing/2014/main" id="{8EA330F1-A8B9-0AD5-33B7-F5A66057CC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5898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8" name="Graphic 26">
                    <a:extLst>
                      <a:ext uri="{FF2B5EF4-FFF2-40B4-BE49-F238E27FC236}">
                        <a16:creationId xmlns:a16="http://schemas.microsoft.com/office/drawing/2014/main" id="{04076E72-A2D8-92D5-77C3-BE64A8901425}"/>
                      </a:ext>
                    </a:extLst>
                  </p:cNvPr>
                  <p:cNvGrpSpPr/>
                  <p:nvPr/>
                </p:nvGrpSpPr>
                <p:grpSpPr>
                  <a:xfrm>
                    <a:off x="14760892" y="-1821150"/>
                    <a:ext cx="63817" cy="63650"/>
                    <a:chOff x="14760892" y="-1821150"/>
                    <a:chExt cx="63817" cy="63650"/>
                  </a:xfrm>
                </p:grpSpPr>
                <p:sp>
                  <p:nvSpPr>
                    <p:cNvPr id="2293" name="Freeform 6617">
                      <a:extLst>
                        <a:ext uri="{FF2B5EF4-FFF2-40B4-BE49-F238E27FC236}">
                          <a16:creationId xmlns:a16="http://schemas.microsoft.com/office/drawing/2014/main" id="{1F4B1614-28E8-A026-3536-5EC3B3C8D0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60892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4" name="Freeform 6618">
                      <a:extLst>
                        <a:ext uri="{FF2B5EF4-FFF2-40B4-BE49-F238E27FC236}">
                          <a16:creationId xmlns:a16="http://schemas.microsoft.com/office/drawing/2014/main" id="{B2DFEEC9-812D-0B0A-7FD3-9D0EE3EC62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327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79" name="Graphic 26">
                    <a:extLst>
                      <a:ext uri="{FF2B5EF4-FFF2-40B4-BE49-F238E27FC236}">
                        <a16:creationId xmlns:a16="http://schemas.microsoft.com/office/drawing/2014/main" id="{3D880EA5-1312-4BCA-5DFF-00056ED467E2}"/>
                      </a:ext>
                    </a:extLst>
                  </p:cNvPr>
                  <p:cNvGrpSpPr/>
                  <p:nvPr/>
                </p:nvGrpSpPr>
                <p:grpSpPr>
                  <a:xfrm>
                    <a:off x="14768512" y="-1821150"/>
                    <a:ext cx="62865" cy="63650"/>
                    <a:chOff x="14768512" y="-1821150"/>
                    <a:chExt cx="62865" cy="63650"/>
                  </a:xfrm>
                </p:grpSpPr>
                <p:sp>
                  <p:nvSpPr>
                    <p:cNvPr id="2291" name="Freeform 6615">
                      <a:extLst>
                        <a:ext uri="{FF2B5EF4-FFF2-40B4-BE49-F238E27FC236}">
                          <a16:creationId xmlns:a16="http://schemas.microsoft.com/office/drawing/2014/main" id="{F781D5D8-B396-05B7-BBC7-DA69ACDE54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68512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2" name="Freeform 6616">
                      <a:extLst>
                        <a:ext uri="{FF2B5EF4-FFF2-40B4-BE49-F238E27FC236}">
                          <a16:creationId xmlns:a16="http://schemas.microsoft.com/office/drawing/2014/main" id="{03178C95-D51B-53FB-6732-8CEC8383C5E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994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0" name="Graphic 26">
                    <a:extLst>
                      <a:ext uri="{FF2B5EF4-FFF2-40B4-BE49-F238E27FC236}">
                        <a16:creationId xmlns:a16="http://schemas.microsoft.com/office/drawing/2014/main" id="{E7745C53-E424-7CA5-4871-99D830FA52F7}"/>
                      </a:ext>
                    </a:extLst>
                  </p:cNvPr>
                  <p:cNvGrpSpPr/>
                  <p:nvPr/>
                </p:nvGrpSpPr>
                <p:grpSpPr>
                  <a:xfrm>
                    <a:off x="14776132" y="-1821150"/>
                    <a:ext cx="62865" cy="63650"/>
                    <a:chOff x="14776132" y="-1821150"/>
                    <a:chExt cx="62865" cy="63650"/>
                  </a:xfrm>
                </p:grpSpPr>
                <p:sp>
                  <p:nvSpPr>
                    <p:cNvPr id="2289" name="Freeform 6613">
                      <a:extLst>
                        <a:ext uri="{FF2B5EF4-FFF2-40B4-BE49-F238E27FC236}">
                          <a16:creationId xmlns:a16="http://schemas.microsoft.com/office/drawing/2014/main" id="{8FB6A094-9228-68FF-C2F8-0940A578AD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76132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90" name="Freeform 6614">
                      <a:extLst>
                        <a:ext uri="{FF2B5EF4-FFF2-40B4-BE49-F238E27FC236}">
                          <a16:creationId xmlns:a16="http://schemas.microsoft.com/office/drawing/2014/main" id="{8CE2CB9C-4C41-1C02-617F-44A9E35EF1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07565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1" name="Graphic 26">
                    <a:extLst>
                      <a:ext uri="{FF2B5EF4-FFF2-40B4-BE49-F238E27FC236}">
                        <a16:creationId xmlns:a16="http://schemas.microsoft.com/office/drawing/2014/main" id="{6A54B268-E854-15C3-9C3F-3AB34ED597A8}"/>
                      </a:ext>
                    </a:extLst>
                  </p:cNvPr>
                  <p:cNvGrpSpPr/>
                  <p:nvPr/>
                </p:nvGrpSpPr>
                <p:grpSpPr>
                  <a:xfrm>
                    <a:off x="14939962" y="-1763200"/>
                    <a:ext cx="63817" cy="62699"/>
                    <a:chOff x="14939962" y="-1763200"/>
                    <a:chExt cx="63817" cy="62699"/>
                  </a:xfrm>
                </p:grpSpPr>
                <p:sp>
                  <p:nvSpPr>
                    <p:cNvPr id="2287" name="Freeform 6611">
                      <a:extLst>
                        <a:ext uri="{FF2B5EF4-FFF2-40B4-BE49-F238E27FC236}">
                          <a16:creationId xmlns:a16="http://schemas.microsoft.com/office/drawing/2014/main" id="{451C5EF8-725B-3F16-83D8-98C4D99635E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39962" y="-1731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8" name="Freeform 6612">
                      <a:extLst>
                        <a:ext uri="{FF2B5EF4-FFF2-40B4-BE49-F238E27FC236}">
                          <a16:creationId xmlns:a16="http://schemas.microsoft.com/office/drawing/2014/main" id="{C415C78A-EC36-8463-F073-4AA42F3DF4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72347" y="-17632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2" name="Graphic 26">
                    <a:extLst>
                      <a:ext uri="{FF2B5EF4-FFF2-40B4-BE49-F238E27FC236}">
                        <a16:creationId xmlns:a16="http://schemas.microsoft.com/office/drawing/2014/main" id="{37350200-EE9D-6E87-872E-41907B10D407}"/>
                      </a:ext>
                    </a:extLst>
                  </p:cNvPr>
                  <p:cNvGrpSpPr/>
                  <p:nvPr/>
                </p:nvGrpSpPr>
                <p:grpSpPr>
                  <a:xfrm>
                    <a:off x="14956155" y="-1705250"/>
                    <a:ext cx="63817" cy="62699"/>
                    <a:chOff x="14956155" y="-1705250"/>
                    <a:chExt cx="63817" cy="62699"/>
                  </a:xfrm>
                </p:grpSpPr>
                <p:sp>
                  <p:nvSpPr>
                    <p:cNvPr id="2285" name="Freeform 6609">
                      <a:extLst>
                        <a:ext uri="{FF2B5EF4-FFF2-40B4-BE49-F238E27FC236}">
                          <a16:creationId xmlns:a16="http://schemas.microsoft.com/office/drawing/2014/main" id="{30133749-A069-B2BB-AB04-2DFFE90546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56155" y="-1673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6" name="Freeform 6610">
                      <a:extLst>
                        <a:ext uri="{FF2B5EF4-FFF2-40B4-BE49-F238E27FC236}">
                          <a16:creationId xmlns:a16="http://schemas.microsoft.com/office/drawing/2014/main" id="{C0600A64-437B-98FF-3E0E-767854998A7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88540" y="-1705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3" name="Graphic 26">
                    <a:extLst>
                      <a:ext uri="{FF2B5EF4-FFF2-40B4-BE49-F238E27FC236}">
                        <a16:creationId xmlns:a16="http://schemas.microsoft.com/office/drawing/2014/main" id="{4D7A98C9-51E1-1265-2D1C-B73C60B04E8D}"/>
                      </a:ext>
                    </a:extLst>
                  </p:cNvPr>
                  <p:cNvGrpSpPr/>
                  <p:nvPr/>
                </p:nvGrpSpPr>
                <p:grpSpPr>
                  <a:xfrm>
                    <a:off x="14962822" y="-1701450"/>
                    <a:ext cx="62865" cy="62699"/>
                    <a:chOff x="14962822" y="-1701450"/>
                    <a:chExt cx="62865" cy="62699"/>
                  </a:xfrm>
                </p:grpSpPr>
                <p:sp>
                  <p:nvSpPr>
                    <p:cNvPr id="2283" name="Freeform 6607">
                      <a:extLst>
                        <a:ext uri="{FF2B5EF4-FFF2-40B4-BE49-F238E27FC236}">
                          <a16:creationId xmlns:a16="http://schemas.microsoft.com/office/drawing/2014/main" id="{20BB42BA-A4AD-237E-DDF3-2005651244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62822" y="-16701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4" name="Freeform 6608">
                      <a:extLst>
                        <a:ext uri="{FF2B5EF4-FFF2-40B4-BE49-F238E27FC236}">
                          <a16:creationId xmlns:a16="http://schemas.microsoft.com/office/drawing/2014/main" id="{4E4B6009-CC03-125F-61CD-2B8AD99E27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4255" y="-17014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4" name="Graphic 26">
                    <a:extLst>
                      <a:ext uri="{FF2B5EF4-FFF2-40B4-BE49-F238E27FC236}">
                        <a16:creationId xmlns:a16="http://schemas.microsoft.com/office/drawing/2014/main" id="{473208E4-81B3-A3F0-6DA6-EEBBBB3BF75B}"/>
                      </a:ext>
                    </a:extLst>
                  </p:cNvPr>
                  <p:cNvGrpSpPr/>
                  <p:nvPr/>
                </p:nvGrpSpPr>
                <p:grpSpPr>
                  <a:xfrm>
                    <a:off x="14991397" y="-1638750"/>
                    <a:ext cx="62865" cy="63650"/>
                    <a:chOff x="14991397" y="-1638750"/>
                    <a:chExt cx="62865" cy="63650"/>
                  </a:xfrm>
                </p:grpSpPr>
                <p:sp>
                  <p:nvSpPr>
                    <p:cNvPr id="2281" name="Freeform 6605">
                      <a:extLst>
                        <a:ext uri="{FF2B5EF4-FFF2-40B4-BE49-F238E27FC236}">
                          <a16:creationId xmlns:a16="http://schemas.microsoft.com/office/drawing/2014/main" id="{6C5324CF-3C56-D861-7EA0-EEB16255C42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99139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2" name="Freeform 6606">
                      <a:extLst>
                        <a:ext uri="{FF2B5EF4-FFF2-40B4-BE49-F238E27FC236}">
                          <a16:creationId xmlns:a16="http://schemas.microsoft.com/office/drawing/2014/main" id="{36592ABB-4A7C-261B-B7D5-517EBFC8227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2283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5" name="Graphic 26">
                    <a:extLst>
                      <a:ext uri="{FF2B5EF4-FFF2-40B4-BE49-F238E27FC236}">
                        <a16:creationId xmlns:a16="http://schemas.microsoft.com/office/drawing/2014/main" id="{BA75BF93-170E-3963-5804-65CF1FA62EF0}"/>
                      </a:ext>
                    </a:extLst>
                  </p:cNvPr>
                  <p:cNvGrpSpPr/>
                  <p:nvPr/>
                </p:nvGrpSpPr>
                <p:grpSpPr>
                  <a:xfrm>
                    <a:off x="15002827" y="-1638750"/>
                    <a:ext cx="63817" cy="63650"/>
                    <a:chOff x="15002827" y="-1638750"/>
                    <a:chExt cx="63817" cy="63650"/>
                  </a:xfrm>
                </p:grpSpPr>
                <p:sp>
                  <p:nvSpPr>
                    <p:cNvPr id="2279" name="Freeform 6603">
                      <a:extLst>
                        <a:ext uri="{FF2B5EF4-FFF2-40B4-BE49-F238E27FC236}">
                          <a16:creationId xmlns:a16="http://schemas.microsoft.com/office/drawing/2014/main" id="{770363AD-EB20-4DE3-E641-555C99117EE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02827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80" name="Freeform 6604">
                      <a:extLst>
                        <a:ext uri="{FF2B5EF4-FFF2-40B4-BE49-F238E27FC236}">
                          <a16:creationId xmlns:a16="http://schemas.microsoft.com/office/drawing/2014/main" id="{6AD0D163-AB77-2FDF-2086-EB0524DB922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3426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6" name="Graphic 26">
                    <a:extLst>
                      <a:ext uri="{FF2B5EF4-FFF2-40B4-BE49-F238E27FC236}">
                        <a16:creationId xmlns:a16="http://schemas.microsoft.com/office/drawing/2014/main" id="{4469BB03-758D-CD7D-80D2-3419875EA715}"/>
                      </a:ext>
                    </a:extLst>
                  </p:cNvPr>
                  <p:cNvGrpSpPr/>
                  <p:nvPr/>
                </p:nvGrpSpPr>
                <p:grpSpPr>
                  <a:xfrm>
                    <a:off x="15010447" y="-1638750"/>
                    <a:ext cx="62865" cy="63650"/>
                    <a:chOff x="15010447" y="-1638750"/>
                    <a:chExt cx="62865" cy="63650"/>
                  </a:xfrm>
                </p:grpSpPr>
                <p:sp>
                  <p:nvSpPr>
                    <p:cNvPr id="2277" name="Freeform 6601">
                      <a:extLst>
                        <a:ext uri="{FF2B5EF4-FFF2-40B4-BE49-F238E27FC236}">
                          <a16:creationId xmlns:a16="http://schemas.microsoft.com/office/drawing/2014/main" id="{795D0B8E-C0F2-E696-E961-9DFABD4663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1044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8" name="Freeform 6602">
                      <a:extLst>
                        <a:ext uri="{FF2B5EF4-FFF2-40B4-BE49-F238E27FC236}">
                          <a16:creationId xmlns:a16="http://schemas.microsoft.com/office/drawing/2014/main" id="{409C0299-5A2C-21AC-F540-64668ED25F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4188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7" name="Graphic 26">
                    <a:extLst>
                      <a:ext uri="{FF2B5EF4-FFF2-40B4-BE49-F238E27FC236}">
                        <a16:creationId xmlns:a16="http://schemas.microsoft.com/office/drawing/2014/main" id="{4B42FB58-C63F-BFB5-0441-F671D904F213}"/>
                      </a:ext>
                    </a:extLst>
                  </p:cNvPr>
                  <p:cNvGrpSpPr/>
                  <p:nvPr/>
                </p:nvGrpSpPr>
                <p:grpSpPr>
                  <a:xfrm>
                    <a:off x="15018067" y="-1638750"/>
                    <a:ext cx="62864" cy="63650"/>
                    <a:chOff x="15018067" y="-1638750"/>
                    <a:chExt cx="62864" cy="63650"/>
                  </a:xfrm>
                </p:grpSpPr>
                <p:sp>
                  <p:nvSpPr>
                    <p:cNvPr id="2275" name="Freeform 6599">
                      <a:extLst>
                        <a:ext uri="{FF2B5EF4-FFF2-40B4-BE49-F238E27FC236}">
                          <a16:creationId xmlns:a16="http://schemas.microsoft.com/office/drawing/2014/main" id="{D77D8B77-50AB-B553-AE53-B80B4D3C20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18067" y="-1606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6" name="Freeform 6600">
                      <a:extLst>
                        <a:ext uri="{FF2B5EF4-FFF2-40B4-BE49-F238E27FC236}">
                          <a16:creationId xmlns:a16="http://schemas.microsoft.com/office/drawing/2014/main" id="{5D47A755-A7E4-B945-A5A5-9B911D4E76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4950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8" name="Graphic 26">
                    <a:extLst>
                      <a:ext uri="{FF2B5EF4-FFF2-40B4-BE49-F238E27FC236}">
                        <a16:creationId xmlns:a16="http://schemas.microsoft.com/office/drawing/2014/main" id="{03FC679F-FEA7-3D13-5157-867D2739C3C9}"/>
                      </a:ext>
                    </a:extLst>
                  </p:cNvPr>
                  <p:cNvGrpSpPr/>
                  <p:nvPr/>
                </p:nvGrpSpPr>
                <p:grpSpPr>
                  <a:xfrm>
                    <a:off x="15023782" y="-1638750"/>
                    <a:ext cx="63817" cy="63650"/>
                    <a:chOff x="15023782" y="-1638750"/>
                    <a:chExt cx="63817" cy="63650"/>
                  </a:xfrm>
                </p:grpSpPr>
                <p:sp>
                  <p:nvSpPr>
                    <p:cNvPr id="2273" name="Freeform 6597">
                      <a:extLst>
                        <a:ext uri="{FF2B5EF4-FFF2-40B4-BE49-F238E27FC236}">
                          <a16:creationId xmlns:a16="http://schemas.microsoft.com/office/drawing/2014/main" id="{02B5CC00-11A1-F499-8782-46C8A51CE0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2378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4" name="Freeform 6598">
                      <a:extLst>
                        <a:ext uri="{FF2B5EF4-FFF2-40B4-BE49-F238E27FC236}">
                          <a16:creationId xmlns:a16="http://schemas.microsoft.com/office/drawing/2014/main" id="{238F4F8D-5C0A-B81B-5B6B-134A8A7BA4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5521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89" name="Graphic 26">
                    <a:extLst>
                      <a:ext uri="{FF2B5EF4-FFF2-40B4-BE49-F238E27FC236}">
                        <a16:creationId xmlns:a16="http://schemas.microsoft.com/office/drawing/2014/main" id="{8DC1C776-6484-1932-770A-519179BE4759}"/>
                      </a:ext>
                    </a:extLst>
                  </p:cNvPr>
                  <p:cNvGrpSpPr/>
                  <p:nvPr/>
                </p:nvGrpSpPr>
                <p:grpSpPr>
                  <a:xfrm>
                    <a:off x="15053310" y="-1638750"/>
                    <a:ext cx="63817" cy="63650"/>
                    <a:chOff x="15053310" y="-1638750"/>
                    <a:chExt cx="63817" cy="63650"/>
                  </a:xfrm>
                </p:grpSpPr>
                <p:sp>
                  <p:nvSpPr>
                    <p:cNvPr id="2271" name="Freeform 6595">
                      <a:extLst>
                        <a:ext uri="{FF2B5EF4-FFF2-40B4-BE49-F238E27FC236}">
                          <a16:creationId xmlns:a16="http://schemas.microsoft.com/office/drawing/2014/main" id="{01AA9781-7976-BBA9-1CA6-8F7F9C7B25D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5331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2" name="Freeform 6596">
                      <a:extLst>
                        <a:ext uri="{FF2B5EF4-FFF2-40B4-BE49-F238E27FC236}">
                          <a16:creationId xmlns:a16="http://schemas.microsoft.com/office/drawing/2014/main" id="{560C5F2F-AD8A-6D34-721F-8B474FA88D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8569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0" name="Graphic 26">
                    <a:extLst>
                      <a:ext uri="{FF2B5EF4-FFF2-40B4-BE49-F238E27FC236}">
                        <a16:creationId xmlns:a16="http://schemas.microsoft.com/office/drawing/2014/main" id="{CE32D1AA-4404-CE80-D696-046CCAB1D51D}"/>
                      </a:ext>
                    </a:extLst>
                  </p:cNvPr>
                  <p:cNvGrpSpPr/>
                  <p:nvPr/>
                </p:nvGrpSpPr>
                <p:grpSpPr>
                  <a:xfrm>
                    <a:off x="15067597" y="-1638750"/>
                    <a:ext cx="62865" cy="63650"/>
                    <a:chOff x="15067597" y="-1638750"/>
                    <a:chExt cx="62865" cy="63650"/>
                  </a:xfrm>
                </p:grpSpPr>
                <p:sp>
                  <p:nvSpPr>
                    <p:cNvPr id="2269" name="Freeform 6593">
                      <a:extLst>
                        <a:ext uri="{FF2B5EF4-FFF2-40B4-BE49-F238E27FC236}">
                          <a16:creationId xmlns:a16="http://schemas.microsoft.com/office/drawing/2014/main" id="{031D69A3-EB31-A233-B06D-6205C435F1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6759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70" name="Freeform 6594">
                      <a:extLst>
                        <a:ext uri="{FF2B5EF4-FFF2-40B4-BE49-F238E27FC236}">
                          <a16:creationId xmlns:a16="http://schemas.microsoft.com/office/drawing/2014/main" id="{2D041D17-717C-7F81-127C-A704F5DB3F3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9903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1" name="Graphic 26">
                    <a:extLst>
                      <a:ext uri="{FF2B5EF4-FFF2-40B4-BE49-F238E27FC236}">
                        <a16:creationId xmlns:a16="http://schemas.microsoft.com/office/drawing/2014/main" id="{4CDF7D40-DD61-7276-693A-1C0B8CA7317E}"/>
                      </a:ext>
                    </a:extLst>
                  </p:cNvPr>
                  <p:cNvGrpSpPr/>
                  <p:nvPr/>
                </p:nvGrpSpPr>
                <p:grpSpPr>
                  <a:xfrm>
                    <a:off x="15074265" y="-1638750"/>
                    <a:ext cx="62865" cy="63650"/>
                    <a:chOff x="15074265" y="-1638750"/>
                    <a:chExt cx="62865" cy="63650"/>
                  </a:xfrm>
                </p:grpSpPr>
                <p:sp>
                  <p:nvSpPr>
                    <p:cNvPr id="2267" name="Freeform 6591">
                      <a:extLst>
                        <a:ext uri="{FF2B5EF4-FFF2-40B4-BE49-F238E27FC236}">
                          <a16:creationId xmlns:a16="http://schemas.microsoft.com/office/drawing/2014/main" id="{BCEC4C67-0F21-7F3E-513F-C6692547E93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4265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8" name="Freeform 6592">
                      <a:extLst>
                        <a:ext uri="{FF2B5EF4-FFF2-40B4-BE49-F238E27FC236}">
                          <a16:creationId xmlns:a16="http://schemas.microsoft.com/office/drawing/2014/main" id="{34C71417-0FA4-952E-2875-6345214C66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0569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2" name="Graphic 26">
                    <a:extLst>
                      <a:ext uri="{FF2B5EF4-FFF2-40B4-BE49-F238E27FC236}">
                        <a16:creationId xmlns:a16="http://schemas.microsoft.com/office/drawing/2014/main" id="{DB7D2594-8F8D-4287-A054-198B8F095340}"/>
                      </a:ext>
                    </a:extLst>
                  </p:cNvPr>
                  <p:cNvGrpSpPr/>
                  <p:nvPr/>
                </p:nvGrpSpPr>
                <p:grpSpPr>
                  <a:xfrm>
                    <a:off x="15079980" y="-1638750"/>
                    <a:ext cx="63817" cy="63650"/>
                    <a:chOff x="15079980" y="-1638750"/>
                    <a:chExt cx="63817" cy="63650"/>
                  </a:xfrm>
                </p:grpSpPr>
                <p:sp>
                  <p:nvSpPr>
                    <p:cNvPr id="2265" name="Freeform 6589">
                      <a:extLst>
                        <a:ext uri="{FF2B5EF4-FFF2-40B4-BE49-F238E27FC236}">
                          <a16:creationId xmlns:a16="http://schemas.microsoft.com/office/drawing/2014/main" id="{42712483-8775-E7A3-1D2D-1CE6B209DE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07998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6" name="Freeform 6590">
                      <a:extLst>
                        <a:ext uri="{FF2B5EF4-FFF2-40B4-BE49-F238E27FC236}">
                          <a16:creationId xmlns:a16="http://schemas.microsoft.com/office/drawing/2014/main" id="{D32C5477-343D-0C2D-023A-F3273261D2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1141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3" name="Graphic 26">
                    <a:extLst>
                      <a:ext uri="{FF2B5EF4-FFF2-40B4-BE49-F238E27FC236}">
                        <a16:creationId xmlns:a16="http://schemas.microsoft.com/office/drawing/2014/main" id="{F92CE0E3-7B49-41EC-0CEE-17A4F1E7445E}"/>
                      </a:ext>
                    </a:extLst>
                  </p:cNvPr>
                  <p:cNvGrpSpPr/>
                  <p:nvPr/>
                </p:nvGrpSpPr>
                <p:grpSpPr>
                  <a:xfrm>
                    <a:off x="15100935" y="-1638750"/>
                    <a:ext cx="63817" cy="63650"/>
                    <a:chOff x="15100935" y="-1638750"/>
                    <a:chExt cx="63817" cy="63650"/>
                  </a:xfrm>
                </p:grpSpPr>
                <p:sp>
                  <p:nvSpPr>
                    <p:cNvPr id="2263" name="Freeform 6587">
                      <a:extLst>
                        <a:ext uri="{FF2B5EF4-FFF2-40B4-BE49-F238E27FC236}">
                          <a16:creationId xmlns:a16="http://schemas.microsoft.com/office/drawing/2014/main" id="{4BED3DF4-5189-4242-507A-57930E2E4E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0093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4" name="Freeform 6588">
                      <a:extLst>
                        <a:ext uri="{FF2B5EF4-FFF2-40B4-BE49-F238E27FC236}">
                          <a16:creationId xmlns:a16="http://schemas.microsoft.com/office/drawing/2014/main" id="{D22001D4-1F43-DB89-1F60-29DBEF0DB4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3236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4" name="Graphic 26">
                    <a:extLst>
                      <a:ext uri="{FF2B5EF4-FFF2-40B4-BE49-F238E27FC236}">
                        <a16:creationId xmlns:a16="http://schemas.microsoft.com/office/drawing/2014/main" id="{24F781EF-89F7-4D0B-F970-B119464D6F44}"/>
                      </a:ext>
                    </a:extLst>
                  </p:cNvPr>
                  <p:cNvGrpSpPr/>
                  <p:nvPr/>
                </p:nvGrpSpPr>
                <p:grpSpPr>
                  <a:xfrm>
                    <a:off x="15126652" y="-1638750"/>
                    <a:ext cx="62865" cy="63650"/>
                    <a:chOff x="15126652" y="-1638750"/>
                    <a:chExt cx="62865" cy="63650"/>
                  </a:xfrm>
                </p:grpSpPr>
                <p:sp>
                  <p:nvSpPr>
                    <p:cNvPr id="2261" name="Freeform 6585">
                      <a:extLst>
                        <a:ext uri="{FF2B5EF4-FFF2-40B4-BE49-F238E27FC236}">
                          <a16:creationId xmlns:a16="http://schemas.microsoft.com/office/drawing/2014/main" id="{AE93BB0E-133F-A78A-D57A-DD169CB248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26652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2" name="Freeform 6586">
                      <a:extLst>
                        <a:ext uri="{FF2B5EF4-FFF2-40B4-BE49-F238E27FC236}">
                          <a16:creationId xmlns:a16="http://schemas.microsoft.com/office/drawing/2014/main" id="{178CA2D7-8E20-3DDA-6570-7F26982512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5808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5" name="Graphic 26">
                    <a:extLst>
                      <a:ext uri="{FF2B5EF4-FFF2-40B4-BE49-F238E27FC236}">
                        <a16:creationId xmlns:a16="http://schemas.microsoft.com/office/drawing/2014/main" id="{57E640A4-4C28-C9C7-8BF7-2DA64BD0EC80}"/>
                      </a:ext>
                    </a:extLst>
                  </p:cNvPr>
                  <p:cNvGrpSpPr/>
                  <p:nvPr/>
                </p:nvGrpSpPr>
                <p:grpSpPr>
                  <a:xfrm>
                    <a:off x="15144750" y="-1638750"/>
                    <a:ext cx="62865" cy="63650"/>
                    <a:chOff x="15144750" y="-1638750"/>
                    <a:chExt cx="62865" cy="63650"/>
                  </a:xfrm>
                </p:grpSpPr>
                <p:sp>
                  <p:nvSpPr>
                    <p:cNvPr id="2259" name="Freeform 6583">
                      <a:extLst>
                        <a:ext uri="{FF2B5EF4-FFF2-40B4-BE49-F238E27FC236}">
                          <a16:creationId xmlns:a16="http://schemas.microsoft.com/office/drawing/2014/main" id="{ACE40A73-F0DE-2ED0-76CB-FC5EEB1264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4475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60" name="Freeform 6584">
                      <a:extLst>
                        <a:ext uri="{FF2B5EF4-FFF2-40B4-BE49-F238E27FC236}">
                          <a16:creationId xmlns:a16="http://schemas.microsoft.com/office/drawing/2014/main" id="{036BE364-4F0F-C95C-9507-24B8E7606E6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618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6" name="Graphic 26">
                    <a:extLst>
                      <a:ext uri="{FF2B5EF4-FFF2-40B4-BE49-F238E27FC236}">
                        <a16:creationId xmlns:a16="http://schemas.microsoft.com/office/drawing/2014/main" id="{5C5F64DE-5A92-04D3-7075-387E19B2BD0E}"/>
                      </a:ext>
                    </a:extLst>
                  </p:cNvPr>
                  <p:cNvGrpSpPr/>
                  <p:nvPr/>
                </p:nvGrpSpPr>
                <p:grpSpPr>
                  <a:xfrm>
                    <a:off x="15155227" y="-1638750"/>
                    <a:ext cx="62865" cy="63650"/>
                    <a:chOff x="15155227" y="-1638750"/>
                    <a:chExt cx="62865" cy="63650"/>
                  </a:xfrm>
                </p:grpSpPr>
                <p:sp>
                  <p:nvSpPr>
                    <p:cNvPr id="2257" name="Freeform 6581">
                      <a:extLst>
                        <a:ext uri="{FF2B5EF4-FFF2-40B4-BE49-F238E27FC236}">
                          <a16:creationId xmlns:a16="http://schemas.microsoft.com/office/drawing/2014/main" id="{C99926A3-AFBC-D003-E2FB-16298A75C2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55227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8" name="Freeform 6582">
                      <a:extLst>
                        <a:ext uri="{FF2B5EF4-FFF2-40B4-BE49-F238E27FC236}">
                          <a16:creationId xmlns:a16="http://schemas.microsoft.com/office/drawing/2014/main" id="{994FF9EE-2867-2EC6-C8B5-1F861E84A32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8666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7" name="Graphic 26">
                    <a:extLst>
                      <a:ext uri="{FF2B5EF4-FFF2-40B4-BE49-F238E27FC236}">
                        <a16:creationId xmlns:a16="http://schemas.microsoft.com/office/drawing/2014/main" id="{3B36A2D3-85CC-1D88-9B15-20AFE104F6E3}"/>
                      </a:ext>
                    </a:extLst>
                  </p:cNvPr>
                  <p:cNvGrpSpPr/>
                  <p:nvPr/>
                </p:nvGrpSpPr>
                <p:grpSpPr>
                  <a:xfrm>
                    <a:off x="15161895" y="-1638750"/>
                    <a:ext cx="63817" cy="63650"/>
                    <a:chOff x="15161895" y="-1638750"/>
                    <a:chExt cx="63817" cy="63650"/>
                  </a:xfrm>
                </p:grpSpPr>
                <p:sp>
                  <p:nvSpPr>
                    <p:cNvPr id="2255" name="Freeform 6579">
                      <a:extLst>
                        <a:ext uri="{FF2B5EF4-FFF2-40B4-BE49-F238E27FC236}">
                          <a16:creationId xmlns:a16="http://schemas.microsoft.com/office/drawing/2014/main" id="{B7A2860C-13C6-1348-5CC4-E5762F9247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189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6" name="Freeform 6580">
                      <a:extLst>
                        <a:ext uri="{FF2B5EF4-FFF2-40B4-BE49-F238E27FC236}">
                          <a16:creationId xmlns:a16="http://schemas.microsoft.com/office/drawing/2014/main" id="{71791C55-3E0F-8BFA-9E35-A167C7AFBC4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332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8" name="Graphic 26">
                    <a:extLst>
                      <a:ext uri="{FF2B5EF4-FFF2-40B4-BE49-F238E27FC236}">
                        <a16:creationId xmlns:a16="http://schemas.microsoft.com/office/drawing/2014/main" id="{914840E9-E5E5-1085-F17C-9B0C6D7B0E6E}"/>
                      </a:ext>
                    </a:extLst>
                  </p:cNvPr>
                  <p:cNvGrpSpPr/>
                  <p:nvPr/>
                </p:nvGrpSpPr>
                <p:grpSpPr>
                  <a:xfrm>
                    <a:off x="15165705" y="-1638750"/>
                    <a:ext cx="62864" cy="63650"/>
                    <a:chOff x="15165705" y="-1638750"/>
                    <a:chExt cx="62864" cy="63650"/>
                  </a:xfrm>
                </p:grpSpPr>
                <p:sp>
                  <p:nvSpPr>
                    <p:cNvPr id="2253" name="Freeform 6577">
                      <a:extLst>
                        <a:ext uri="{FF2B5EF4-FFF2-40B4-BE49-F238E27FC236}">
                          <a16:creationId xmlns:a16="http://schemas.microsoft.com/office/drawing/2014/main" id="{C5405FF3-4897-EBFC-C00F-D7F9B16FFFD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5705" y="-1606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4" name="Freeform 6578">
                      <a:extLst>
                        <a:ext uri="{FF2B5EF4-FFF2-40B4-BE49-F238E27FC236}">
                          <a16:creationId xmlns:a16="http://schemas.microsoft.com/office/drawing/2014/main" id="{5F3F7E71-E684-F405-296B-9F7CA44E72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713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199" name="Graphic 26">
                    <a:extLst>
                      <a:ext uri="{FF2B5EF4-FFF2-40B4-BE49-F238E27FC236}">
                        <a16:creationId xmlns:a16="http://schemas.microsoft.com/office/drawing/2014/main" id="{96B6D01A-5A7F-5D36-04F8-898D719B6F5C}"/>
                      </a:ext>
                    </a:extLst>
                  </p:cNvPr>
                  <p:cNvGrpSpPr/>
                  <p:nvPr/>
                </p:nvGrpSpPr>
                <p:grpSpPr>
                  <a:xfrm>
                    <a:off x="15171420" y="-1638750"/>
                    <a:ext cx="62865" cy="63650"/>
                    <a:chOff x="15171420" y="-1638750"/>
                    <a:chExt cx="62865" cy="63650"/>
                  </a:xfrm>
                </p:grpSpPr>
                <p:sp>
                  <p:nvSpPr>
                    <p:cNvPr id="2251" name="Freeform 6575">
                      <a:extLst>
                        <a:ext uri="{FF2B5EF4-FFF2-40B4-BE49-F238E27FC236}">
                          <a16:creationId xmlns:a16="http://schemas.microsoft.com/office/drawing/2014/main" id="{AAA4D911-0701-5F3B-B82D-F99C7484EF4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142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2" name="Freeform 6576">
                      <a:extLst>
                        <a:ext uri="{FF2B5EF4-FFF2-40B4-BE49-F238E27FC236}">
                          <a16:creationId xmlns:a16="http://schemas.microsoft.com/office/drawing/2014/main" id="{F3AF56CC-8F8F-0E4F-645C-58713F0A5D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0285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0" name="Graphic 26">
                    <a:extLst>
                      <a:ext uri="{FF2B5EF4-FFF2-40B4-BE49-F238E27FC236}">
                        <a16:creationId xmlns:a16="http://schemas.microsoft.com/office/drawing/2014/main" id="{4E0875C7-18D3-3992-0E05-82DC50861AD7}"/>
                      </a:ext>
                    </a:extLst>
                  </p:cNvPr>
                  <p:cNvGrpSpPr/>
                  <p:nvPr/>
                </p:nvGrpSpPr>
                <p:grpSpPr>
                  <a:xfrm>
                    <a:off x="15210472" y="-1638750"/>
                    <a:ext cx="63817" cy="63650"/>
                    <a:chOff x="15210472" y="-1638750"/>
                    <a:chExt cx="63817" cy="63650"/>
                  </a:xfrm>
                </p:grpSpPr>
                <p:sp>
                  <p:nvSpPr>
                    <p:cNvPr id="2249" name="Freeform 6573">
                      <a:extLst>
                        <a:ext uri="{FF2B5EF4-FFF2-40B4-BE49-F238E27FC236}">
                          <a16:creationId xmlns:a16="http://schemas.microsoft.com/office/drawing/2014/main" id="{334E922B-E2FC-BF9C-D05B-C6F5F60E3E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1047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50" name="Freeform 6574">
                      <a:extLst>
                        <a:ext uri="{FF2B5EF4-FFF2-40B4-BE49-F238E27FC236}">
                          <a16:creationId xmlns:a16="http://schemas.microsoft.com/office/drawing/2014/main" id="{8F5E9642-D3CE-B514-1621-40A173AEC2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4190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1" name="Graphic 26">
                    <a:extLst>
                      <a:ext uri="{FF2B5EF4-FFF2-40B4-BE49-F238E27FC236}">
                        <a16:creationId xmlns:a16="http://schemas.microsoft.com/office/drawing/2014/main" id="{597F3640-88C1-85DD-6DCA-9B6E097FF3D6}"/>
                      </a:ext>
                    </a:extLst>
                  </p:cNvPr>
                  <p:cNvGrpSpPr/>
                  <p:nvPr/>
                </p:nvGrpSpPr>
                <p:grpSpPr>
                  <a:xfrm>
                    <a:off x="15215235" y="-1638750"/>
                    <a:ext cx="63817" cy="63650"/>
                    <a:chOff x="15215235" y="-1638750"/>
                    <a:chExt cx="63817" cy="63650"/>
                  </a:xfrm>
                </p:grpSpPr>
                <p:sp>
                  <p:nvSpPr>
                    <p:cNvPr id="2247" name="Freeform 6571">
                      <a:extLst>
                        <a:ext uri="{FF2B5EF4-FFF2-40B4-BE49-F238E27FC236}">
                          <a16:creationId xmlns:a16="http://schemas.microsoft.com/office/drawing/2014/main" id="{CA3D9357-1755-899F-BCFB-2440ABF879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1523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8" name="Freeform 6572">
                      <a:extLst>
                        <a:ext uri="{FF2B5EF4-FFF2-40B4-BE49-F238E27FC236}">
                          <a16:creationId xmlns:a16="http://schemas.microsoft.com/office/drawing/2014/main" id="{24019F29-BC6F-1404-4EF8-93335B31882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4762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2" name="Graphic 26">
                    <a:extLst>
                      <a:ext uri="{FF2B5EF4-FFF2-40B4-BE49-F238E27FC236}">
                        <a16:creationId xmlns:a16="http://schemas.microsoft.com/office/drawing/2014/main" id="{F9A63A96-7241-5C57-DCF5-8845ECB739FA}"/>
                      </a:ext>
                    </a:extLst>
                  </p:cNvPr>
                  <p:cNvGrpSpPr/>
                  <p:nvPr/>
                </p:nvGrpSpPr>
                <p:grpSpPr>
                  <a:xfrm>
                    <a:off x="15299055" y="-1638750"/>
                    <a:ext cx="63817" cy="63650"/>
                    <a:chOff x="15299055" y="-1638750"/>
                    <a:chExt cx="63817" cy="63650"/>
                  </a:xfrm>
                </p:grpSpPr>
                <p:sp>
                  <p:nvSpPr>
                    <p:cNvPr id="2245" name="Freeform 6569">
                      <a:extLst>
                        <a:ext uri="{FF2B5EF4-FFF2-40B4-BE49-F238E27FC236}">
                          <a16:creationId xmlns:a16="http://schemas.microsoft.com/office/drawing/2014/main" id="{E9DB0E24-9673-EAA2-53A0-2C30AA6338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9905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6" name="Freeform 6570">
                      <a:extLst>
                        <a:ext uri="{FF2B5EF4-FFF2-40B4-BE49-F238E27FC236}">
                          <a16:creationId xmlns:a16="http://schemas.microsoft.com/office/drawing/2014/main" id="{E3D0C287-D6EA-4885-569E-C2D45A7E78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3048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3" name="Graphic 26">
                    <a:extLst>
                      <a:ext uri="{FF2B5EF4-FFF2-40B4-BE49-F238E27FC236}">
                        <a16:creationId xmlns:a16="http://schemas.microsoft.com/office/drawing/2014/main" id="{8EA5467B-D3B7-8681-3005-008C17B451C1}"/>
                      </a:ext>
                    </a:extLst>
                  </p:cNvPr>
                  <p:cNvGrpSpPr/>
                  <p:nvPr/>
                </p:nvGrpSpPr>
                <p:grpSpPr>
                  <a:xfrm>
                    <a:off x="15520035" y="-1638750"/>
                    <a:ext cx="62865" cy="63650"/>
                    <a:chOff x="15520035" y="-1638750"/>
                    <a:chExt cx="62865" cy="63650"/>
                  </a:xfrm>
                </p:grpSpPr>
                <p:sp>
                  <p:nvSpPr>
                    <p:cNvPr id="2243" name="Freeform 6567">
                      <a:extLst>
                        <a:ext uri="{FF2B5EF4-FFF2-40B4-BE49-F238E27FC236}">
                          <a16:creationId xmlns:a16="http://schemas.microsoft.com/office/drawing/2014/main" id="{D1DF09A4-33BD-D596-8AAC-A1317C97287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20035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4" name="Freeform 6568">
                      <a:extLst>
                        <a:ext uri="{FF2B5EF4-FFF2-40B4-BE49-F238E27FC236}">
                          <a16:creationId xmlns:a16="http://schemas.microsoft.com/office/drawing/2014/main" id="{54D04EFE-C713-0B1E-CD04-6E3C742EBCC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146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4" name="Graphic 26">
                    <a:extLst>
                      <a:ext uri="{FF2B5EF4-FFF2-40B4-BE49-F238E27FC236}">
                        <a16:creationId xmlns:a16="http://schemas.microsoft.com/office/drawing/2014/main" id="{F947180D-4D10-35B9-729E-3BBED3EC8469}"/>
                      </a:ext>
                    </a:extLst>
                  </p:cNvPr>
                  <p:cNvGrpSpPr/>
                  <p:nvPr/>
                </p:nvGrpSpPr>
                <p:grpSpPr>
                  <a:xfrm>
                    <a:off x="15526702" y="-1638750"/>
                    <a:ext cx="62865" cy="63650"/>
                    <a:chOff x="15526702" y="-1638750"/>
                    <a:chExt cx="62865" cy="63650"/>
                  </a:xfrm>
                </p:grpSpPr>
                <p:sp>
                  <p:nvSpPr>
                    <p:cNvPr id="2241" name="Freeform 6565">
                      <a:extLst>
                        <a:ext uri="{FF2B5EF4-FFF2-40B4-BE49-F238E27FC236}">
                          <a16:creationId xmlns:a16="http://schemas.microsoft.com/office/drawing/2014/main" id="{2EF7D2B8-EF9F-FD9B-666B-4109ED14FE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26702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2" name="Freeform 6566">
                      <a:extLst>
                        <a:ext uri="{FF2B5EF4-FFF2-40B4-BE49-F238E27FC236}">
                          <a16:creationId xmlns:a16="http://schemas.microsoft.com/office/drawing/2014/main" id="{99AA9DC1-5275-5A84-F24E-C947BF427B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813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5" name="Graphic 26">
                    <a:extLst>
                      <a:ext uri="{FF2B5EF4-FFF2-40B4-BE49-F238E27FC236}">
                        <a16:creationId xmlns:a16="http://schemas.microsoft.com/office/drawing/2014/main" id="{E75948C8-6D3F-C18C-0EDF-0EF7960784FD}"/>
                      </a:ext>
                    </a:extLst>
                  </p:cNvPr>
                  <p:cNvGrpSpPr/>
                  <p:nvPr/>
                </p:nvGrpSpPr>
                <p:grpSpPr>
                  <a:xfrm>
                    <a:off x="15529560" y="-1638750"/>
                    <a:ext cx="62865" cy="63650"/>
                    <a:chOff x="15529560" y="-1638750"/>
                    <a:chExt cx="62865" cy="63650"/>
                  </a:xfrm>
                </p:grpSpPr>
                <p:sp>
                  <p:nvSpPr>
                    <p:cNvPr id="2239" name="Freeform 6563">
                      <a:extLst>
                        <a:ext uri="{FF2B5EF4-FFF2-40B4-BE49-F238E27FC236}">
                          <a16:creationId xmlns:a16="http://schemas.microsoft.com/office/drawing/2014/main" id="{18EE6D13-AE92-A364-77B2-CF728428F8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2956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40" name="Freeform 6564">
                      <a:extLst>
                        <a:ext uri="{FF2B5EF4-FFF2-40B4-BE49-F238E27FC236}">
                          <a16:creationId xmlns:a16="http://schemas.microsoft.com/office/drawing/2014/main" id="{7AD36983-D7FB-4F26-4B71-4D3383BB98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6099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6" name="Graphic 26">
                    <a:extLst>
                      <a:ext uri="{FF2B5EF4-FFF2-40B4-BE49-F238E27FC236}">
                        <a16:creationId xmlns:a16="http://schemas.microsoft.com/office/drawing/2014/main" id="{337DE507-1B6D-0495-88C9-FAB5B3102828}"/>
                      </a:ext>
                    </a:extLst>
                  </p:cNvPr>
                  <p:cNvGrpSpPr/>
                  <p:nvPr/>
                </p:nvGrpSpPr>
                <p:grpSpPr>
                  <a:xfrm>
                    <a:off x="15552420" y="-1638750"/>
                    <a:ext cx="62865" cy="63650"/>
                    <a:chOff x="15552420" y="-1638750"/>
                    <a:chExt cx="62865" cy="63650"/>
                  </a:xfrm>
                </p:grpSpPr>
                <p:sp>
                  <p:nvSpPr>
                    <p:cNvPr id="2237" name="Freeform 6561">
                      <a:extLst>
                        <a:ext uri="{FF2B5EF4-FFF2-40B4-BE49-F238E27FC236}">
                          <a16:creationId xmlns:a16="http://schemas.microsoft.com/office/drawing/2014/main" id="{50397FC5-D7EA-C647-0674-B11FB6F287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2420" y="-16064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8" name="Freeform 6562">
                      <a:extLst>
                        <a:ext uri="{FF2B5EF4-FFF2-40B4-BE49-F238E27FC236}">
                          <a16:creationId xmlns:a16="http://schemas.microsoft.com/office/drawing/2014/main" id="{D9A7CB1B-D1D3-DF8D-E789-BB017655A1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3852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7" name="Graphic 26">
                    <a:extLst>
                      <a:ext uri="{FF2B5EF4-FFF2-40B4-BE49-F238E27FC236}">
                        <a16:creationId xmlns:a16="http://schemas.microsoft.com/office/drawing/2014/main" id="{3B162A3D-4A81-4E38-E4C3-0DB82550B488}"/>
                      </a:ext>
                    </a:extLst>
                  </p:cNvPr>
                  <p:cNvGrpSpPr/>
                  <p:nvPr/>
                </p:nvGrpSpPr>
                <p:grpSpPr>
                  <a:xfrm>
                    <a:off x="15556230" y="-1638750"/>
                    <a:ext cx="63817" cy="63650"/>
                    <a:chOff x="15556230" y="-1638750"/>
                    <a:chExt cx="63817" cy="63650"/>
                  </a:xfrm>
                </p:grpSpPr>
                <p:sp>
                  <p:nvSpPr>
                    <p:cNvPr id="2235" name="Freeform 6559">
                      <a:extLst>
                        <a:ext uri="{FF2B5EF4-FFF2-40B4-BE49-F238E27FC236}">
                          <a16:creationId xmlns:a16="http://schemas.microsoft.com/office/drawing/2014/main" id="{DC232339-74BB-CA0A-6DC0-EB1D11BB6E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5623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6" name="Freeform 6560">
                      <a:extLst>
                        <a:ext uri="{FF2B5EF4-FFF2-40B4-BE49-F238E27FC236}">
                          <a16:creationId xmlns:a16="http://schemas.microsoft.com/office/drawing/2014/main" id="{2C6BF751-17A3-28FC-F67A-65719D307B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861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8" name="Graphic 26">
                    <a:extLst>
                      <a:ext uri="{FF2B5EF4-FFF2-40B4-BE49-F238E27FC236}">
                        <a16:creationId xmlns:a16="http://schemas.microsoft.com/office/drawing/2014/main" id="{0ACCC2FE-1210-3002-5117-B58877456A6C}"/>
                      </a:ext>
                    </a:extLst>
                  </p:cNvPr>
                  <p:cNvGrpSpPr/>
                  <p:nvPr/>
                </p:nvGrpSpPr>
                <p:grpSpPr>
                  <a:xfrm>
                    <a:off x="15560040" y="-1638750"/>
                    <a:ext cx="63817" cy="63650"/>
                    <a:chOff x="15560040" y="-1638750"/>
                    <a:chExt cx="63817" cy="63650"/>
                  </a:xfrm>
                </p:grpSpPr>
                <p:sp>
                  <p:nvSpPr>
                    <p:cNvPr id="2233" name="Freeform 6557">
                      <a:extLst>
                        <a:ext uri="{FF2B5EF4-FFF2-40B4-BE49-F238E27FC236}">
                          <a16:creationId xmlns:a16="http://schemas.microsoft.com/office/drawing/2014/main" id="{CADB6920-C526-2343-9C27-2B64B7C9D1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60040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4" name="Freeform 6558">
                      <a:extLst>
                        <a:ext uri="{FF2B5EF4-FFF2-40B4-BE49-F238E27FC236}">
                          <a16:creationId xmlns:a16="http://schemas.microsoft.com/office/drawing/2014/main" id="{823B628E-5E1B-F0BF-787E-C789F5030E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9242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09" name="Graphic 26">
                    <a:extLst>
                      <a:ext uri="{FF2B5EF4-FFF2-40B4-BE49-F238E27FC236}">
                        <a16:creationId xmlns:a16="http://schemas.microsoft.com/office/drawing/2014/main" id="{BBBFDD84-9108-6DA8-3825-FF62DA6532B9}"/>
                      </a:ext>
                    </a:extLst>
                  </p:cNvPr>
                  <p:cNvGrpSpPr/>
                  <p:nvPr/>
                </p:nvGrpSpPr>
                <p:grpSpPr>
                  <a:xfrm>
                    <a:off x="15583852" y="-1638750"/>
                    <a:ext cx="63817" cy="63650"/>
                    <a:chOff x="15583852" y="-1638750"/>
                    <a:chExt cx="63817" cy="63650"/>
                  </a:xfrm>
                </p:grpSpPr>
                <p:sp>
                  <p:nvSpPr>
                    <p:cNvPr id="2231" name="Freeform 6555">
                      <a:extLst>
                        <a:ext uri="{FF2B5EF4-FFF2-40B4-BE49-F238E27FC236}">
                          <a16:creationId xmlns:a16="http://schemas.microsoft.com/office/drawing/2014/main" id="{9EC72FCE-94E5-2A8D-5204-5A7DAC033FE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385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2" name="Freeform 6556">
                      <a:extLst>
                        <a:ext uri="{FF2B5EF4-FFF2-40B4-BE49-F238E27FC236}">
                          <a16:creationId xmlns:a16="http://schemas.microsoft.com/office/drawing/2014/main" id="{08838D2E-2272-799F-F551-6338B42EAA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16237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0" name="Graphic 26">
                    <a:extLst>
                      <a:ext uri="{FF2B5EF4-FFF2-40B4-BE49-F238E27FC236}">
                        <a16:creationId xmlns:a16="http://schemas.microsoft.com/office/drawing/2014/main" id="{64F772C5-8798-AFD5-E312-F3E0296E3C9A}"/>
                      </a:ext>
                    </a:extLst>
                  </p:cNvPr>
                  <p:cNvGrpSpPr/>
                  <p:nvPr/>
                </p:nvGrpSpPr>
                <p:grpSpPr>
                  <a:xfrm>
                    <a:off x="15588615" y="-1638750"/>
                    <a:ext cx="63817" cy="63650"/>
                    <a:chOff x="15588615" y="-1638750"/>
                    <a:chExt cx="63817" cy="63650"/>
                  </a:xfrm>
                </p:grpSpPr>
                <p:sp>
                  <p:nvSpPr>
                    <p:cNvPr id="2229" name="Freeform 6553">
                      <a:extLst>
                        <a:ext uri="{FF2B5EF4-FFF2-40B4-BE49-F238E27FC236}">
                          <a16:creationId xmlns:a16="http://schemas.microsoft.com/office/drawing/2014/main" id="{CB68DBF7-2EED-D70B-6CF0-0F09200B43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88615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30" name="Freeform 6554">
                      <a:extLst>
                        <a:ext uri="{FF2B5EF4-FFF2-40B4-BE49-F238E27FC236}">
                          <a16:creationId xmlns:a16="http://schemas.microsoft.com/office/drawing/2014/main" id="{20A3C7D8-38B8-5B89-583F-77CCCDC9FB7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21000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1" name="Graphic 26">
                    <a:extLst>
                      <a:ext uri="{FF2B5EF4-FFF2-40B4-BE49-F238E27FC236}">
                        <a16:creationId xmlns:a16="http://schemas.microsoft.com/office/drawing/2014/main" id="{1DA74919-37B5-84E1-C78A-C16D3529EA5C}"/>
                      </a:ext>
                    </a:extLst>
                  </p:cNvPr>
                  <p:cNvGrpSpPr/>
                  <p:nvPr/>
                </p:nvGrpSpPr>
                <p:grpSpPr>
                  <a:xfrm>
                    <a:off x="15591472" y="-1638750"/>
                    <a:ext cx="63817" cy="63650"/>
                    <a:chOff x="15591472" y="-1638750"/>
                    <a:chExt cx="63817" cy="63650"/>
                  </a:xfrm>
                </p:grpSpPr>
                <p:sp>
                  <p:nvSpPr>
                    <p:cNvPr id="2227" name="Freeform 6551">
                      <a:extLst>
                        <a:ext uri="{FF2B5EF4-FFF2-40B4-BE49-F238E27FC236}">
                          <a16:creationId xmlns:a16="http://schemas.microsoft.com/office/drawing/2014/main" id="{E2BDB1A0-5A2E-D6AE-B7C0-FD226E7A6D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591472" y="-1606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8" name="Freeform 6552">
                      <a:extLst>
                        <a:ext uri="{FF2B5EF4-FFF2-40B4-BE49-F238E27FC236}">
                          <a16:creationId xmlns:a16="http://schemas.microsoft.com/office/drawing/2014/main" id="{41899608-FD25-2642-4AE6-A199271B6A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622905" y="-16387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2" name="Graphic 26">
                    <a:extLst>
                      <a:ext uri="{FF2B5EF4-FFF2-40B4-BE49-F238E27FC236}">
                        <a16:creationId xmlns:a16="http://schemas.microsoft.com/office/drawing/2014/main" id="{664C1312-494E-2173-ED69-EBD18CBC3620}"/>
                      </a:ext>
                    </a:extLst>
                  </p:cNvPr>
                  <p:cNvGrpSpPr/>
                  <p:nvPr/>
                </p:nvGrpSpPr>
                <p:grpSpPr>
                  <a:xfrm>
                    <a:off x="14380845" y="-1821150"/>
                    <a:ext cx="62865" cy="63650"/>
                    <a:chOff x="14380845" y="-1821150"/>
                    <a:chExt cx="62865" cy="63650"/>
                  </a:xfrm>
                </p:grpSpPr>
                <p:sp>
                  <p:nvSpPr>
                    <p:cNvPr id="2225" name="Freeform 6549">
                      <a:extLst>
                        <a:ext uri="{FF2B5EF4-FFF2-40B4-BE49-F238E27FC236}">
                          <a16:creationId xmlns:a16="http://schemas.microsoft.com/office/drawing/2014/main" id="{80C95647-2C84-9683-B6CC-99901ED294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8084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6" name="Freeform 6550">
                      <a:extLst>
                        <a:ext uri="{FF2B5EF4-FFF2-40B4-BE49-F238E27FC236}">
                          <a16:creationId xmlns:a16="http://schemas.microsoft.com/office/drawing/2014/main" id="{E28E0004-DA43-7D1A-8218-903954E6752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1227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3" name="Graphic 26">
                    <a:extLst>
                      <a:ext uri="{FF2B5EF4-FFF2-40B4-BE49-F238E27FC236}">
                        <a16:creationId xmlns:a16="http://schemas.microsoft.com/office/drawing/2014/main" id="{6AC9DD2D-C411-8A31-DF63-399A159DE2C6}"/>
                      </a:ext>
                    </a:extLst>
                  </p:cNvPr>
                  <p:cNvGrpSpPr/>
                  <p:nvPr/>
                </p:nvGrpSpPr>
                <p:grpSpPr>
                  <a:xfrm>
                    <a:off x="14388465" y="-1821150"/>
                    <a:ext cx="62865" cy="63650"/>
                    <a:chOff x="14388465" y="-1821150"/>
                    <a:chExt cx="62865" cy="63650"/>
                  </a:xfrm>
                </p:grpSpPr>
                <p:sp>
                  <p:nvSpPr>
                    <p:cNvPr id="2223" name="Freeform 6547">
                      <a:extLst>
                        <a:ext uri="{FF2B5EF4-FFF2-40B4-BE49-F238E27FC236}">
                          <a16:creationId xmlns:a16="http://schemas.microsoft.com/office/drawing/2014/main" id="{4306E57E-FA12-0922-F1CF-29C7ACBC02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8846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4" name="Freeform 6548">
                      <a:extLst>
                        <a:ext uri="{FF2B5EF4-FFF2-40B4-BE49-F238E27FC236}">
                          <a16:creationId xmlns:a16="http://schemas.microsoft.com/office/drawing/2014/main" id="{B5FF6038-CDF8-FC46-456E-E2552E87F53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1989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4" name="Graphic 26">
                    <a:extLst>
                      <a:ext uri="{FF2B5EF4-FFF2-40B4-BE49-F238E27FC236}">
                        <a16:creationId xmlns:a16="http://schemas.microsoft.com/office/drawing/2014/main" id="{4E0B1965-FA16-26E3-90C1-0AD2EBC408CA}"/>
                      </a:ext>
                    </a:extLst>
                  </p:cNvPr>
                  <p:cNvGrpSpPr/>
                  <p:nvPr/>
                </p:nvGrpSpPr>
                <p:grpSpPr>
                  <a:xfrm>
                    <a:off x="14396085" y="-1821150"/>
                    <a:ext cx="62865" cy="63650"/>
                    <a:chOff x="14396085" y="-1821150"/>
                    <a:chExt cx="62865" cy="63650"/>
                  </a:xfrm>
                </p:grpSpPr>
                <p:sp>
                  <p:nvSpPr>
                    <p:cNvPr id="2221" name="Freeform 6545">
                      <a:extLst>
                        <a:ext uri="{FF2B5EF4-FFF2-40B4-BE49-F238E27FC236}">
                          <a16:creationId xmlns:a16="http://schemas.microsoft.com/office/drawing/2014/main" id="{92125465-DCD0-E5A4-052E-C480B09CDEF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96085" y="-17888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2" name="Freeform 6546">
                      <a:extLst>
                        <a:ext uri="{FF2B5EF4-FFF2-40B4-BE49-F238E27FC236}">
                          <a16:creationId xmlns:a16="http://schemas.microsoft.com/office/drawing/2014/main" id="{54E90BC9-2EFA-AFF8-A413-CB17612457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2751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5" name="Graphic 26">
                    <a:extLst>
                      <a:ext uri="{FF2B5EF4-FFF2-40B4-BE49-F238E27FC236}">
                        <a16:creationId xmlns:a16="http://schemas.microsoft.com/office/drawing/2014/main" id="{AA985198-348E-F561-4448-EEADC52DF9C2}"/>
                      </a:ext>
                    </a:extLst>
                  </p:cNvPr>
                  <p:cNvGrpSpPr/>
                  <p:nvPr/>
                </p:nvGrpSpPr>
                <p:grpSpPr>
                  <a:xfrm>
                    <a:off x="14402752" y="-1821150"/>
                    <a:ext cx="63817" cy="63650"/>
                    <a:chOff x="14402752" y="-1821150"/>
                    <a:chExt cx="63817" cy="63650"/>
                  </a:xfrm>
                </p:grpSpPr>
                <p:sp>
                  <p:nvSpPr>
                    <p:cNvPr id="2219" name="Freeform 6543">
                      <a:extLst>
                        <a:ext uri="{FF2B5EF4-FFF2-40B4-BE49-F238E27FC236}">
                          <a16:creationId xmlns:a16="http://schemas.microsoft.com/office/drawing/2014/main" id="{E71B180B-65AA-1616-8216-613A99D6DB9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2752" y="-1788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20" name="Freeform 6544">
                      <a:extLst>
                        <a:ext uri="{FF2B5EF4-FFF2-40B4-BE49-F238E27FC236}">
                          <a16:creationId xmlns:a16="http://schemas.microsoft.com/office/drawing/2014/main" id="{41E9D412-0100-A2C7-803F-083AC8765B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35137" y="-18211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2216" name="Graphic 26">
                    <a:extLst>
                      <a:ext uri="{FF2B5EF4-FFF2-40B4-BE49-F238E27FC236}">
                        <a16:creationId xmlns:a16="http://schemas.microsoft.com/office/drawing/2014/main" id="{C87EE101-22E8-B384-A974-AB49D6466FB2}"/>
                      </a:ext>
                    </a:extLst>
                  </p:cNvPr>
                  <p:cNvGrpSpPr/>
                  <p:nvPr/>
                </p:nvGrpSpPr>
                <p:grpSpPr>
                  <a:xfrm>
                    <a:off x="11746230" y="-2034900"/>
                    <a:ext cx="62865" cy="62700"/>
                    <a:chOff x="11746230" y="-2034900"/>
                    <a:chExt cx="62865" cy="62700"/>
                  </a:xfrm>
                </p:grpSpPr>
                <p:sp>
                  <p:nvSpPr>
                    <p:cNvPr id="2217" name="Freeform 6541">
                      <a:extLst>
                        <a:ext uri="{FF2B5EF4-FFF2-40B4-BE49-F238E27FC236}">
                          <a16:creationId xmlns:a16="http://schemas.microsoft.com/office/drawing/2014/main" id="{FC279DC4-D7B0-AD1C-0E5C-14CC2A87EFD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46230" y="-20035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218" name="Freeform 6542">
                      <a:extLst>
                        <a:ext uri="{FF2B5EF4-FFF2-40B4-BE49-F238E27FC236}">
                          <a16:creationId xmlns:a16="http://schemas.microsoft.com/office/drawing/2014/main" id="{BE086BFB-AF85-1D4C-7573-6790350D50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77662" y="-2034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830051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2090" name="Freeform 6414">
                  <a:extLst>
                    <a:ext uri="{FF2B5EF4-FFF2-40B4-BE49-F238E27FC236}">
                      <a16:creationId xmlns:a16="http://schemas.microsoft.com/office/drawing/2014/main" id="{443C548B-99B3-71B1-2B61-5AF7EBF8C70F}"/>
                    </a:ext>
                  </a:extLst>
                </p:cNvPr>
                <p:cNvSpPr/>
                <p:nvPr/>
              </p:nvSpPr>
              <p:spPr>
                <a:xfrm>
                  <a:off x="9774554" y="-2272399"/>
                  <a:ext cx="5849302" cy="665000"/>
                </a:xfrm>
                <a:custGeom>
                  <a:avLst/>
                  <a:gdLst>
                    <a:gd name="connsiteX0" fmla="*/ 0 w 5849302"/>
                    <a:gd name="connsiteY0" fmla="*/ 0 h 665000"/>
                    <a:gd name="connsiteX1" fmla="*/ 48578 w 5849302"/>
                    <a:gd name="connsiteY1" fmla="*/ 0 h 665000"/>
                    <a:gd name="connsiteX2" fmla="*/ 48578 w 5849302"/>
                    <a:gd name="connsiteY2" fmla="*/ 15200 h 665000"/>
                    <a:gd name="connsiteX3" fmla="*/ 59055 w 5849302"/>
                    <a:gd name="connsiteY3" fmla="*/ 15200 h 665000"/>
                    <a:gd name="connsiteX4" fmla="*/ 59055 w 5849302"/>
                    <a:gd name="connsiteY4" fmla="*/ 29450 h 665000"/>
                    <a:gd name="connsiteX5" fmla="*/ 227648 w 5849302"/>
                    <a:gd name="connsiteY5" fmla="*/ 29450 h 665000"/>
                    <a:gd name="connsiteX6" fmla="*/ 227648 w 5849302"/>
                    <a:gd name="connsiteY6" fmla="*/ 41800 h 665000"/>
                    <a:gd name="connsiteX7" fmla="*/ 327660 w 5849302"/>
                    <a:gd name="connsiteY7" fmla="*/ 41800 h 665000"/>
                    <a:gd name="connsiteX8" fmla="*/ 327660 w 5849302"/>
                    <a:gd name="connsiteY8" fmla="*/ 53200 h 665000"/>
                    <a:gd name="connsiteX9" fmla="*/ 418148 w 5849302"/>
                    <a:gd name="connsiteY9" fmla="*/ 53200 h 665000"/>
                    <a:gd name="connsiteX10" fmla="*/ 418148 w 5849302"/>
                    <a:gd name="connsiteY10" fmla="*/ 66500 h 665000"/>
                    <a:gd name="connsiteX11" fmla="*/ 481965 w 5849302"/>
                    <a:gd name="connsiteY11" fmla="*/ 66500 h 665000"/>
                    <a:gd name="connsiteX12" fmla="*/ 481965 w 5849302"/>
                    <a:gd name="connsiteY12" fmla="*/ 81700 h 665000"/>
                    <a:gd name="connsiteX13" fmla="*/ 531495 w 5849302"/>
                    <a:gd name="connsiteY13" fmla="*/ 81700 h 665000"/>
                    <a:gd name="connsiteX14" fmla="*/ 531495 w 5849302"/>
                    <a:gd name="connsiteY14" fmla="*/ 91200 h 665000"/>
                    <a:gd name="connsiteX15" fmla="*/ 636270 w 5849302"/>
                    <a:gd name="connsiteY15" fmla="*/ 91200 h 665000"/>
                    <a:gd name="connsiteX16" fmla="*/ 636270 w 5849302"/>
                    <a:gd name="connsiteY16" fmla="*/ 104500 h 665000"/>
                    <a:gd name="connsiteX17" fmla="*/ 707708 w 5849302"/>
                    <a:gd name="connsiteY17" fmla="*/ 104500 h 665000"/>
                    <a:gd name="connsiteX18" fmla="*/ 707708 w 5849302"/>
                    <a:gd name="connsiteY18" fmla="*/ 134900 h 665000"/>
                    <a:gd name="connsiteX19" fmla="*/ 808673 w 5849302"/>
                    <a:gd name="connsiteY19" fmla="*/ 134900 h 665000"/>
                    <a:gd name="connsiteX20" fmla="*/ 808673 w 5849302"/>
                    <a:gd name="connsiteY20" fmla="*/ 153900 h 665000"/>
                    <a:gd name="connsiteX21" fmla="*/ 815340 w 5849302"/>
                    <a:gd name="connsiteY21" fmla="*/ 153900 h 665000"/>
                    <a:gd name="connsiteX22" fmla="*/ 815340 w 5849302"/>
                    <a:gd name="connsiteY22" fmla="*/ 160550 h 665000"/>
                    <a:gd name="connsiteX23" fmla="*/ 976313 w 5849302"/>
                    <a:gd name="connsiteY23" fmla="*/ 160550 h 665000"/>
                    <a:gd name="connsiteX24" fmla="*/ 976313 w 5849302"/>
                    <a:gd name="connsiteY24" fmla="*/ 179550 h 665000"/>
                    <a:gd name="connsiteX25" fmla="*/ 1099185 w 5849302"/>
                    <a:gd name="connsiteY25" fmla="*/ 179550 h 665000"/>
                    <a:gd name="connsiteX26" fmla="*/ 1099185 w 5849302"/>
                    <a:gd name="connsiteY26" fmla="*/ 190950 h 665000"/>
                    <a:gd name="connsiteX27" fmla="*/ 1332548 w 5849302"/>
                    <a:gd name="connsiteY27" fmla="*/ 190950 h 665000"/>
                    <a:gd name="connsiteX28" fmla="*/ 1332548 w 5849302"/>
                    <a:gd name="connsiteY28" fmla="*/ 205200 h 665000"/>
                    <a:gd name="connsiteX29" fmla="*/ 1538288 w 5849302"/>
                    <a:gd name="connsiteY29" fmla="*/ 205200 h 665000"/>
                    <a:gd name="connsiteX30" fmla="*/ 1538288 w 5849302"/>
                    <a:gd name="connsiteY30" fmla="*/ 218500 h 665000"/>
                    <a:gd name="connsiteX31" fmla="*/ 1574483 w 5849302"/>
                    <a:gd name="connsiteY31" fmla="*/ 218500 h 665000"/>
                    <a:gd name="connsiteX32" fmla="*/ 1574483 w 5849302"/>
                    <a:gd name="connsiteY32" fmla="*/ 228000 h 665000"/>
                    <a:gd name="connsiteX33" fmla="*/ 1633538 w 5849302"/>
                    <a:gd name="connsiteY33" fmla="*/ 228000 h 665000"/>
                    <a:gd name="connsiteX34" fmla="*/ 1633538 w 5849302"/>
                    <a:gd name="connsiteY34" fmla="*/ 237500 h 665000"/>
                    <a:gd name="connsiteX35" fmla="*/ 1664018 w 5849302"/>
                    <a:gd name="connsiteY35" fmla="*/ 237500 h 665000"/>
                    <a:gd name="connsiteX36" fmla="*/ 1664018 w 5849302"/>
                    <a:gd name="connsiteY36" fmla="*/ 247950 h 665000"/>
                    <a:gd name="connsiteX37" fmla="*/ 1709738 w 5849302"/>
                    <a:gd name="connsiteY37" fmla="*/ 247950 h 665000"/>
                    <a:gd name="connsiteX38" fmla="*/ 1709738 w 5849302"/>
                    <a:gd name="connsiteY38" fmla="*/ 269800 h 665000"/>
                    <a:gd name="connsiteX39" fmla="*/ 2523173 w 5849302"/>
                    <a:gd name="connsiteY39" fmla="*/ 269800 h 665000"/>
                    <a:gd name="connsiteX40" fmla="*/ 2523173 w 5849302"/>
                    <a:gd name="connsiteY40" fmla="*/ 282150 h 665000"/>
                    <a:gd name="connsiteX41" fmla="*/ 2581275 w 5849302"/>
                    <a:gd name="connsiteY41" fmla="*/ 282150 h 665000"/>
                    <a:gd name="connsiteX42" fmla="*/ 2581275 w 5849302"/>
                    <a:gd name="connsiteY42" fmla="*/ 293550 h 665000"/>
                    <a:gd name="connsiteX43" fmla="*/ 2813685 w 5849302"/>
                    <a:gd name="connsiteY43" fmla="*/ 293550 h 665000"/>
                    <a:gd name="connsiteX44" fmla="*/ 2813685 w 5849302"/>
                    <a:gd name="connsiteY44" fmla="*/ 306850 h 665000"/>
                    <a:gd name="connsiteX45" fmla="*/ 3317558 w 5849302"/>
                    <a:gd name="connsiteY45" fmla="*/ 306850 h 665000"/>
                    <a:gd name="connsiteX46" fmla="*/ 3317558 w 5849302"/>
                    <a:gd name="connsiteY46" fmla="*/ 321100 h 665000"/>
                    <a:gd name="connsiteX47" fmla="*/ 3468053 w 5849302"/>
                    <a:gd name="connsiteY47" fmla="*/ 321100 h 665000"/>
                    <a:gd name="connsiteX48" fmla="*/ 3468053 w 5849302"/>
                    <a:gd name="connsiteY48" fmla="*/ 336300 h 665000"/>
                    <a:gd name="connsiteX49" fmla="*/ 3544253 w 5849302"/>
                    <a:gd name="connsiteY49" fmla="*/ 336300 h 665000"/>
                    <a:gd name="connsiteX50" fmla="*/ 3544253 w 5849302"/>
                    <a:gd name="connsiteY50" fmla="*/ 350550 h 665000"/>
                    <a:gd name="connsiteX51" fmla="*/ 3573780 w 5849302"/>
                    <a:gd name="connsiteY51" fmla="*/ 350550 h 665000"/>
                    <a:gd name="connsiteX52" fmla="*/ 3573780 w 5849302"/>
                    <a:gd name="connsiteY52" fmla="*/ 364800 h 665000"/>
                    <a:gd name="connsiteX53" fmla="*/ 3854768 w 5849302"/>
                    <a:gd name="connsiteY53" fmla="*/ 364800 h 665000"/>
                    <a:gd name="connsiteX54" fmla="*/ 3854768 w 5849302"/>
                    <a:gd name="connsiteY54" fmla="*/ 383800 h 665000"/>
                    <a:gd name="connsiteX55" fmla="*/ 4050030 w 5849302"/>
                    <a:gd name="connsiteY55" fmla="*/ 383800 h 665000"/>
                    <a:gd name="connsiteX56" fmla="*/ 4050030 w 5849302"/>
                    <a:gd name="connsiteY56" fmla="*/ 400900 h 665000"/>
                    <a:gd name="connsiteX57" fmla="*/ 4250056 w 5849302"/>
                    <a:gd name="connsiteY57" fmla="*/ 400900 h 665000"/>
                    <a:gd name="connsiteX58" fmla="*/ 4250056 w 5849302"/>
                    <a:gd name="connsiteY58" fmla="*/ 425600 h 665000"/>
                    <a:gd name="connsiteX59" fmla="*/ 4473893 w 5849302"/>
                    <a:gd name="connsiteY59" fmla="*/ 425600 h 665000"/>
                    <a:gd name="connsiteX60" fmla="*/ 4473893 w 5849302"/>
                    <a:gd name="connsiteY60" fmla="*/ 457900 h 665000"/>
                    <a:gd name="connsiteX61" fmla="*/ 4590098 w 5849302"/>
                    <a:gd name="connsiteY61" fmla="*/ 457900 h 665000"/>
                    <a:gd name="connsiteX62" fmla="*/ 4590098 w 5849302"/>
                    <a:gd name="connsiteY62" fmla="*/ 482600 h 665000"/>
                    <a:gd name="connsiteX63" fmla="*/ 5133975 w 5849302"/>
                    <a:gd name="connsiteY63" fmla="*/ 482600 h 665000"/>
                    <a:gd name="connsiteX64" fmla="*/ 5133975 w 5849302"/>
                    <a:gd name="connsiteY64" fmla="*/ 538650 h 665000"/>
                    <a:gd name="connsiteX65" fmla="*/ 5205413 w 5849302"/>
                    <a:gd name="connsiteY65" fmla="*/ 538650 h 665000"/>
                    <a:gd name="connsiteX66" fmla="*/ 5205413 w 5849302"/>
                    <a:gd name="connsiteY66" fmla="*/ 568100 h 665000"/>
                    <a:gd name="connsiteX67" fmla="*/ 5214938 w 5849302"/>
                    <a:gd name="connsiteY67" fmla="*/ 568100 h 665000"/>
                    <a:gd name="connsiteX68" fmla="*/ 5214938 w 5849302"/>
                    <a:gd name="connsiteY68" fmla="*/ 600400 h 665000"/>
                    <a:gd name="connsiteX69" fmla="*/ 5224463 w 5849302"/>
                    <a:gd name="connsiteY69" fmla="*/ 600400 h 665000"/>
                    <a:gd name="connsiteX70" fmla="*/ 5224463 w 5849302"/>
                    <a:gd name="connsiteY70" fmla="*/ 624150 h 665000"/>
                    <a:gd name="connsiteX71" fmla="*/ 5235893 w 5849302"/>
                    <a:gd name="connsiteY71" fmla="*/ 624150 h 665000"/>
                    <a:gd name="connsiteX72" fmla="*/ 5235893 w 5849302"/>
                    <a:gd name="connsiteY72" fmla="*/ 655500 h 665000"/>
                    <a:gd name="connsiteX73" fmla="*/ 5254943 w 5849302"/>
                    <a:gd name="connsiteY73" fmla="*/ 655500 h 665000"/>
                    <a:gd name="connsiteX74" fmla="*/ 5254943 w 5849302"/>
                    <a:gd name="connsiteY74" fmla="*/ 665000 h 665000"/>
                    <a:gd name="connsiteX75" fmla="*/ 5849303 w 5849302"/>
                    <a:gd name="connsiteY75" fmla="*/ 665000 h 665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</a:cxnLst>
                  <a:rect l="l" t="t" r="r" b="b"/>
                  <a:pathLst>
                    <a:path w="5849302" h="665000">
                      <a:moveTo>
                        <a:pt x="0" y="0"/>
                      </a:moveTo>
                      <a:lnTo>
                        <a:pt x="48578" y="0"/>
                      </a:lnTo>
                      <a:lnTo>
                        <a:pt x="48578" y="15200"/>
                      </a:lnTo>
                      <a:lnTo>
                        <a:pt x="59055" y="15200"/>
                      </a:lnTo>
                      <a:lnTo>
                        <a:pt x="59055" y="29450"/>
                      </a:lnTo>
                      <a:lnTo>
                        <a:pt x="227648" y="29450"/>
                      </a:lnTo>
                      <a:lnTo>
                        <a:pt x="227648" y="41800"/>
                      </a:lnTo>
                      <a:lnTo>
                        <a:pt x="327660" y="41800"/>
                      </a:lnTo>
                      <a:lnTo>
                        <a:pt x="327660" y="53200"/>
                      </a:lnTo>
                      <a:lnTo>
                        <a:pt x="418148" y="53200"/>
                      </a:lnTo>
                      <a:lnTo>
                        <a:pt x="418148" y="66500"/>
                      </a:lnTo>
                      <a:lnTo>
                        <a:pt x="481965" y="66500"/>
                      </a:lnTo>
                      <a:lnTo>
                        <a:pt x="481965" y="81700"/>
                      </a:lnTo>
                      <a:lnTo>
                        <a:pt x="531495" y="81700"/>
                      </a:lnTo>
                      <a:lnTo>
                        <a:pt x="531495" y="91200"/>
                      </a:lnTo>
                      <a:lnTo>
                        <a:pt x="636270" y="91200"/>
                      </a:lnTo>
                      <a:lnTo>
                        <a:pt x="636270" y="104500"/>
                      </a:lnTo>
                      <a:lnTo>
                        <a:pt x="707708" y="104500"/>
                      </a:lnTo>
                      <a:lnTo>
                        <a:pt x="707708" y="134900"/>
                      </a:lnTo>
                      <a:lnTo>
                        <a:pt x="808673" y="134900"/>
                      </a:lnTo>
                      <a:lnTo>
                        <a:pt x="808673" y="153900"/>
                      </a:lnTo>
                      <a:lnTo>
                        <a:pt x="815340" y="153900"/>
                      </a:lnTo>
                      <a:lnTo>
                        <a:pt x="815340" y="160550"/>
                      </a:lnTo>
                      <a:lnTo>
                        <a:pt x="976313" y="160550"/>
                      </a:lnTo>
                      <a:lnTo>
                        <a:pt x="976313" y="179550"/>
                      </a:lnTo>
                      <a:lnTo>
                        <a:pt x="1099185" y="179550"/>
                      </a:lnTo>
                      <a:lnTo>
                        <a:pt x="1099185" y="190950"/>
                      </a:lnTo>
                      <a:lnTo>
                        <a:pt x="1332548" y="190950"/>
                      </a:lnTo>
                      <a:lnTo>
                        <a:pt x="1332548" y="205200"/>
                      </a:lnTo>
                      <a:lnTo>
                        <a:pt x="1538288" y="205200"/>
                      </a:lnTo>
                      <a:lnTo>
                        <a:pt x="1538288" y="218500"/>
                      </a:lnTo>
                      <a:lnTo>
                        <a:pt x="1574483" y="218500"/>
                      </a:lnTo>
                      <a:lnTo>
                        <a:pt x="1574483" y="228000"/>
                      </a:lnTo>
                      <a:lnTo>
                        <a:pt x="1633538" y="228000"/>
                      </a:lnTo>
                      <a:lnTo>
                        <a:pt x="1633538" y="237500"/>
                      </a:lnTo>
                      <a:lnTo>
                        <a:pt x="1664018" y="237500"/>
                      </a:lnTo>
                      <a:lnTo>
                        <a:pt x="1664018" y="247950"/>
                      </a:lnTo>
                      <a:lnTo>
                        <a:pt x="1709738" y="247950"/>
                      </a:lnTo>
                      <a:lnTo>
                        <a:pt x="1709738" y="269800"/>
                      </a:lnTo>
                      <a:lnTo>
                        <a:pt x="2523173" y="269800"/>
                      </a:lnTo>
                      <a:lnTo>
                        <a:pt x="2523173" y="282150"/>
                      </a:lnTo>
                      <a:lnTo>
                        <a:pt x="2581275" y="282150"/>
                      </a:lnTo>
                      <a:lnTo>
                        <a:pt x="2581275" y="293550"/>
                      </a:lnTo>
                      <a:lnTo>
                        <a:pt x="2813685" y="293550"/>
                      </a:lnTo>
                      <a:lnTo>
                        <a:pt x="2813685" y="306850"/>
                      </a:lnTo>
                      <a:lnTo>
                        <a:pt x="3317558" y="306850"/>
                      </a:lnTo>
                      <a:lnTo>
                        <a:pt x="3317558" y="321100"/>
                      </a:lnTo>
                      <a:lnTo>
                        <a:pt x="3468053" y="321100"/>
                      </a:lnTo>
                      <a:lnTo>
                        <a:pt x="3468053" y="336300"/>
                      </a:lnTo>
                      <a:lnTo>
                        <a:pt x="3544253" y="336300"/>
                      </a:lnTo>
                      <a:lnTo>
                        <a:pt x="3544253" y="350550"/>
                      </a:lnTo>
                      <a:lnTo>
                        <a:pt x="3573780" y="350550"/>
                      </a:lnTo>
                      <a:lnTo>
                        <a:pt x="3573780" y="364800"/>
                      </a:lnTo>
                      <a:lnTo>
                        <a:pt x="3854768" y="364800"/>
                      </a:lnTo>
                      <a:lnTo>
                        <a:pt x="3854768" y="383800"/>
                      </a:lnTo>
                      <a:lnTo>
                        <a:pt x="4050030" y="383800"/>
                      </a:lnTo>
                      <a:lnTo>
                        <a:pt x="4050030" y="400900"/>
                      </a:lnTo>
                      <a:lnTo>
                        <a:pt x="4250056" y="400900"/>
                      </a:lnTo>
                      <a:lnTo>
                        <a:pt x="4250056" y="425600"/>
                      </a:lnTo>
                      <a:lnTo>
                        <a:pt x="4473893" y="425600"/>
                      </a:lnTo>
                      <a:lnTo>
                        <a:pt x="4473893" y="457900"/>
                      </a:lnTo>
                      <a:lnTo>
                        <a:pt x="4590098" y="457900"/>
                      </a:lnTo>
                      <a:lnTo>
                        <a:pt x="4590098" y="482600"/>
                      </a:lnTo>
                      <a:lnTo>
                        <a:pt x="5133975" y="482600"/>
                      </a:lnTo>
                      <a:lnTo>
                        <a:pt x="5133975" y="538650"/>
                      </a:lnTo>
                      <a:lnTo>
                        <a:pt x="5205413" y="538650"/>
                      </a:lnTo>
                      <a:lnTo>
                        <a:pt x="5205413" y="568100"/>
                      </a:lnTo>
                      <a:lnTo>
                        <a:pt x="5214938" y="568100"/>
                      </a:lnTo>
                      <a:lnTo>
                        <a:pt x="5214938" y="600400"/>
                      </a:lnTo>
                      <a:lnTo>
                        <a:pt x="5224463" y="600400"/>
                      </a:lnTo>
                      <a:lnTo>
                        <a:pt x="5224463" y="624150"/>
                      </a:lnTo>
                      <a:lnTo>
                        <a:pt x="5235893" y="624150"/>
                      </a:lnTo>
                      <a:lnTo>
                        <a:pt x="5235893" y="655500"/>
                      </a:lnTo>
                      <a:lnTo>
                        <a:pt x="5254943" y="655500"/>
                      </a:lnTo>
                      <a:lnTo>
                        <a:pt x="5254943" y="665000"/>
                      </a:lnTo>
                      <a:lnTo>
                        <a:pt x="5849303" y="665000"/>
                      </a:lnTo>
                    </a:path>
                  </a:pathLst>
                </a:custGeom>
                <a:noFill/>
                <a:ln w="12700" cap="flat">
                  <a:solidFill>
                    <a:srgbClr val="830051"/>
                  </a:solidFill>
                  <a:custDash>
                    <a:ds d="300000" sp="150000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5" name="Graphic 26">
                <a:extLst>
                  <a:ext uri="{FF2B5EF4-FFF2-40B4-BE49-F238E27FC236}">
                    <a16:creationId xmlns:a16="http://schemas.microsoft.com/office/drawing/2014/main" id="{DFDF2F94-FA69-3570-D864-09EB68EAFFE4}"/>
                  </a:ext>
                </a:extLst>
              </p:cNvPr>
              <p:cNvGrpSpPr/>
              <p:nvPr/>
            </p:nvGrpSpPr>
            <p:grpSpPr>
              <a:xfrm>
                <a:off x="1419804" y="1443413"/>
                <a:ext cx="9231721" cy="1704831"/>
                <a:chOff x="9740265" y="-2298050"/>
                <a:chExt cx="5681662" cy="1392700"/>
              </a:xfrm>
              <a:noFill/>
            </p:grpSpPr>
            <p:grpSp>
              <p:nvGrpSpPr>
                <p:cNvPr id="1775" name="Graphic 26">
                  <a:extLst>
                    <a:ext uri="{FF2B5EF4-FFF2-40B4-BE49-F238E27FC236}">
                      <a16:creationId xmlns:a16="http://schemas.microsoft.com/office/drawing/2014/main" id="{9621FA65-776E-1105-3294-280529171B62}"/>
                    </a:ext>
                  </a:extLst>
                </p:cNvPr>
                <p:cNvGrpSpPr/>
                <p:nvPr/>
              </p:nvGrpSpPr>
              <p:grpSpPr>
                <a:xfrm>
                  <a:off x="9740265" y="-2298050"/>
                  <a:ext cx="5681662" cy="1392700"/>
                  <a:chOff x="9740265" y="-2298050"/>
                  <a:chExt cx="5681662" cy="1392700"/>
                </a:xfrm>
              </p:grpSpPr>
              <p:grpSp>
                <p:nvGrpSpPr>
                  <p:cNvPr id="1777" name="Graphic 26">
                    <a:extLst>
                      <a:ext uri="{FF2B5EF4-FFF2-40B4-BE49-F238E27FC236}">
                        <a16:creationId xmlns:a16="http://schemas.microsoft.com/office/drawing/2014/main" id="{0523FE46-AD9D-9D90-5324-EC3D373D0A32}"/>
                      </a:ext>
                    </a:extLst>
                  </p:cNvPr>
                  <p:cNvGrpSpPr/>
                  <p:nvPr/>
                </p:nvGrpSpPr>
                <p:grpSpPr>
                  <a:xfrm>
                    <a:off x="9740265" y="-2298050"/>
                    <a:ext cx="62865" cy="62700"/>
                    <a:chOff x="9740265" y="-2298050"/>
                    <a:chExt cx="62865" cy="62700"/>
                  </a:xfrm>
                </p:grpSpPr>
                <p:sp>
                  <p:nvSpPr>
                    <p:cNvPr id="2087" name="Freeform 6058">
                      <a:extLst>
                        <a:ext uri="{FF2B5EF4-FFF2-40B4-BE49-F238E27FC236}">
                          <a16:creationId xmlns:a16="http://schemas.microsoft.com/office/drawing/2014/main" id="{44266171-7A74-5805-1EC2-18C58A05FC0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40265" y="-226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8" name="Freeform 6059">
                      <a:extLst>
                        <a:ext uri="{FF2B5EF4-FFF2-40B4-BE49-F238E27FC236}">
                          <a16:creationId xmlns:a16="http://schemas.microsoft.com/office/drawing/2014/main" id="{8C39304A-D449-DAC4-C68C-2AB8092029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771697" y="-2298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78" name="Graphic 26">
                    <a:extLst>
                      <a:ext uri="{FF2B5EF4-FFF2-40B4-BE49-F238E27FC236}">
                        <a16:creationId xmlns:a16="http://schemas.microsoft.com/office/drawing/2014/main" id="{C43F2C17-7B11-52D6-AAAC-908E30D8F5CE}"/>
                      </a:ext>
                    </a:extLst>
                  </p:cNvPr>
                  <p:cNvGrpSpPr/>
                  <p:nvPr/>
                </p:nvGrpSpPr>
                <p:grpSpPr>
                  <a:xfrm>
                    <a:off x="9838372" y="-2284750"/>
                    <a:ext cx="62864" cy="63649"/>
                    <a:chOff x="9838372" y="-2284750"/>
                    <a:chExt cx="62864" cy="63649"/>
                  </a:xfrm>
                </p:grpSpPr>
                <p:sp>
                  <p:nvSpPr>
                    <p:cNvPr id="2085" name="Freeform 6056">
                      <a:extLst>
                        <a:ext uri="{FF2B5EF4-FFF2-40B4-BE49-F238E27FC236}">
                          <a16:creationId xmlns:a16="http://schemas.microsoft.com/office/drawing/2014/main" id="{3EAD998F-035F-D25B-10F6-DF5F720B326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838372" y="-2252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6" name="Freeform 6057">
                      <a:extLst>
                        <a:ext uri="{FF2B5EF4-FFF2-40B4-BE49-F238E27FC236}">
                          <a16:creationId xmlns:a16="http://schemas.microsoft.com/office/drawing/2014/main" id="{88DCE4DA-FDC5-6C1F-5110-71EEEC83584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869805" y="-22847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79" name="Graphic 26">
                    <a:extLst>
                      <a:ext uri="{FF2B5EF4-FFF2-40B4-BE49-F238E27FC236}">
                        <a16:creationId xmlns:a16="http://schemas.microsoft.com/office/drawing/2014/main" id="{DD81661D-AC74-56A0-64AB-DCE203E05F9B}"/>
                      </a:ext>
                    </a:extLst>
                  </p:cNvPr>
                  <p:cNvGrpSpPr/>
                  <p:nvPr/>
                </p:nvGrpSpPr>
                <p:grpSpPr>
                  <a:xfrm>
                    <a:off x="9952672" y="-2268600"/>
                    <a:ext cx="63817" cy="62700"/>
                    <a:chOff x="9952672" y="-2268600"/>
                    <a:chExt cx="63817" cy="62700"/>
                  </a:xfrm>
                </p:grpSpPr>
                <p:sp>
                  <p:nvSpPr>
                    <p:cNvPr id="2083" name="Freeform 6054">
                      <a:extLst>
                        <a:ext uri="{FF2B5EF4-FFF2-40B4-BE49-F238E27FC236}">
                          <a16:creationId xmlns:a16="http://schemas.microsoft.com/office/drawing/2014/main" id="{A03981D6-CEBE-74E0-45E8-3DC662D0508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52672" y="-22372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4" name="Freeform 6055">
                      <a:extLst>
                        <a:ext uri="{FF2B5EF4-FFF2-40B4-BE49-F238E27FC236}">
                          <a16:creationId xmlns:a16="http://schemas.microsoft.com/office/drawing/2014/main" id="{8E63AAAA-0E39-FFDD-C904-FF0F025464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85057" y="-2268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0" name="Graphic 26">
                    <a:extLst>
                      <a:ext uri="{FF2B5EF4-FFF2-40B4-BE49-F238E27FC236}">
                        <a16:creationId xmlns:a16="http://schemas.microsoft.com/office/drawing/2014/main" id="{4705D9D1-E889-BABA-BB80-6EAAAAABFDBF}"/>
                      </a:ext>
                    </a:extLst>
                  </p:cNvPr>
                  <p:cNvGrpSpPr/>
                  <p:nvPr/>
                </p:nvGrpSpPr>
                <p:grpSpPr>
                  <a:xfrm>
                    <a:off x="9961245" y="-2268600"/>
                    <a:ext cx="62865" cy="62700"/>
                    <a:chOff x="9961245" y="-2268600"/>
                    <a:chExt cx="62865" cy="62700"/>
                  </a:xfrm>
                </p:grpSpPr>
                <p:sp>
                  <p:nvSpPr>
                    <p:cNvPr id="2081" name="Freeform 6052">
                      <a:extLst>
                        <a:ext uri="{FF2B5EF4-FFF2-40B4-BE49-F238E27FC236}">
                          <a16:creationId xmlns:a16="http://schemas.microsoft.com/office/drawing/2014/main" id="{20BDEF67-E92C-1D45-40E0-663B59BF1E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61245" y="-22372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2" name="Freeform 6053">
                      <a:extLst>
                        <a:ext uri="{FF2B5EF4-FFF2-40B4-BE49-F238E27FC236}">
                          <a16:creationId xmlns:a16="http://schemas.microsoft.com/office/drawing/2014/main" id="{D2A33BCF-2747-81E1-494B-DBED2E768CA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9992677" y="-2268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1" name="Graphic 26">
                    <a:extLst>
                      <a:ext uri="{FF2B5EF4-FFF2-40B4-BE49-F238E27FC236}">
                        <a16:creationId xmlns:a16="http://schemas.microsoft.com/office/drawing/2014/main" id="{E2BE3FEA-9675-A90D-C95E-861285AC6C62}"/>
                      </a:ext>
                    </a:extLst>
                  </p:cNvPr>
                  <p:cNvGrpSpPr/>
                  <p:nvPr/>
                </p:nvGrpSpPr>
                <p:grpSpPr>
                  <a:xfrm>
                    <a:off x="10034587" y="-2256250"/>
                    <a:ext cx="63817" cy="62700"/>
                    <a:chOff x="10034587" y="-2256250"/>
                    <a:chExt cx="63817" cy="62700"/>
                  </a:xfrm>
                </p:grpSpPr>
                <p:sp>
                  <p:nvSpPr>
                    <p:cNvPr id="2079" name="Freeform 6050">
                      <a:extLst>
                        <a:ext uri="{FF2B5EF4-FFF2-40B4-BE49-F238E27FC236}">
                          <a16:creationId xmlns:a16="http://schemas.microsoft.com/office/drawing/2014/main" id="{E9D5728B-7041-1585-DE71-4D2B93B446E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34587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80" name="Freeform 6051">
                      <a:extLst>
                        <a:ext uri="{FF2B5EF4-FFF2-40B4-BE49-F238E27FC236}">
                          <a16:creationId xmlns:a16="http://schemas.microsoft.com/office/drawing/2014/main" id="{685EB7A7-E2E5-1E7D-4A4F-8347F4A447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66020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2" name="Graphic 26">
                    <a:extLst>
                      <a:ext uri="{FF2B5EF4-FFF2-40B4-BE49-F238E27FC236}">
                        <a16:creationId xmlns:a16="http://schemas.microsoft.com/office/drawing/2014/main" id="{B4AED952-161D-AF6C-71E7-52CF35A43871}"/>
                      </a:ext>
                    </a:extLst>
                  </p:cNvPr>
                  <p:cNvGrpSpPr/>
                  <p:nvPr/>
                </p:nvGrpSpPr>
                <p:grpSpPr>
                  <a:xfrm>
                    <a:off x="10042207" y="-2256250"/>
                    <a:ext cx="63817" cy="62700"/>
                    <a:chOff x="10042207" y="-2256250"/>
                    <a:chExt cx="63817" cy="62700"/>
                  </a:xfrm>
                </p:grpSpPr>
                <p:sp>
                  <p:nvSpPr>
                    <p:cNvPr id="2077" name="Freeform 6048">
                      <a:extLst>
                        <a:ext uri="{FF2B5EF4-FFF2-40B4-BE49-F238E27FC236}">
                          <a16:creationId xmlns:a16="http://schemas.microsoft.com/office/drawing/2014/main" id="{3774D1C7-B50A-12FA-B72C-52085A7BE72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42207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8" name="Freeform 6049">
                      <a:extLst>
                        <a:ext uri="{FF2B5EF4-FFF2-40B4-BE49-F238E27FC236}">
                          <a16:creationId xmlns:a16="http://schemas.microsoft.com/office/drawing/2014/main" id="{62DBAF10-40DD-958C-AF7E-AAA75F19AE0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73640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3" name="Graphic 26">
                    <a:extLst>
                      <a:ext uri="{FF2B5EF4-FFF2-40B4-BE49-F238E27FC236}">
                        <a16:creationId xmlns:a16="http://schemas.microsoft.com/office/drawing/2014/main" id="{0361F9AB-8A5B-5879-E2CA-187CE04BD7AE}"/>
                      </a:ext>
                    </a:extLst>
                  </p:cNvPr>
                  <p:cNvGrpSpPr/>
                  <p:nvPr/>
                </p:nvGrpSpPr>
                <p:grpSpPr>
                  <a:xfrm>
                    <a:off x="10049827" y="-2256250"/>
                    <a:ext cx="63817" cy="62700"/>
                    <a:chOff x="10049827" y="-2256250"/>
                    <a:chExt cx="63817" cy="62700"/>
                  </a:xfrm>
                </p:grpSpPr>
                <p:sp>
                  <p:nvSpPr>
                    <p:cNvPr id="2075" name="Freeform 6046">
                      <a:extLst>
                        <a:ext uri="{FF2B5EF4-FFF2-40B4-BE49-F238E27FC236}">
                          <a16:creationId xmlns:a16="http://schemas.microsoft.com/office/drawing/2014/main" id="{6EFA821D-690D-2C73-9775-66E86C80C7D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49827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6" name="Freeform 6047">
                      <a:extLst>
                        <a:ext uri="{FF2B5EF4-FFF2-40B4-BE49-F238E27FC236}">
                          <a16:creationId xmlns:a16="http://schemas.microsoft.com/office/drawing/2014/main" id="{2DC3BAD8-01EA-BB66-CE59-98EA72B712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82212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4" name="Graphic 26">
                    <a:extLst>
                      <a:ext uri="{FF2B5EF4-FFF2-40B4-BE49-F238E27FC236}">
                        <a16:creationId xmlns:a16="http://schemas.microsoft.com/office/drawing/2014/main" id="{DBAACEAF-A2D3-B961-8CCE-0AC49AAF82D8}"/>
                      </a:ext>
                    </a:extLst>
                  </p:cNvPr>
                  <p:cNvGrpSpPr/>
                  <p:nvPr/>
                </p:nvGrpSpPr>
                <p:grpSpPr>
                  <a:xfrm>
                    <a:off x="10058400" y="-2256250"/>
                    <a:ext cx="63817" cy="62700"/>
                    <a:chOff x="10058400" y="-2256250"/>
                    <a:chExt cx="63817" cy="62700"/>
                  </a:xfrm>
                </p:grpSpPr>
                <p:sp>
                  <p:nvSpPr>
                    <p:cNvPr id="2073" name="Freeform 6044">
                      <a:extLst>
                        <a:ext uri="{FF2B5EF4-FFF2-40B4-BE49-F238E27FC236}">
                          <a16:creationId xmlns:a16="http://schemas.microsoft.com/office/drawing/2014/main" id="{49E1E928-1D56-7B9E-4CC5-6D14B888F84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58400" y="-222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4" name="Freeform 6045">
                      <a:extLst>
                        <a:ext uri="{FF2B5EF4-FFF2-40B4-BE49-F238E27FC236}">
                          <a16:creationId xmlns:a16="http://schemas.microsoft.com/office/drawing/2014/main" id="{7DD9049F-5B3E-E85D-EAB4-994B85EFF55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089832" y="-22562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5" name="Graphic 26">
                    <a:extLst>
                      <a:ext uri="{FF2B5EF4-FFF2-40B4-BE49-F238E27FC236}">
                        <a16:creationId xmlns:a16="http://schemas.microsoft.com/office/drawing/2014/main" id="{C231DCEB-8E9E-A020-1309-89840110BDEA}"/>
                      </a:ext>
                    </a:extLst>
                  </p:cNvPr>
                  <p:cNvGrpSpPr/>
                  <p:nvPr/>
                </p:nvGrpSpPr>
                <p:grpSpPr>
                  <a:xfrm>
                    <a:off x="10513695" y="-2166950"/>
                    <a:ext cx="62864" cy="62700"/>
                    <a:chOff x="10513695" y="-2166950"/>
                    <a:chExt cx="62864" cy="62700"/>
                  </a:xfrm>
                </p:grpSpPr>
                <p:sp>
                  <p:nvSpPr>
                    <p:cNvPr id="2071" name="Freeform 6042">
                      <a:extLst>
                        <a:ext uri="{FF2B5EF4-FFF2-40B4-BE49-F238E27FC236}">
                          <a16:creationId xmlns:a16="http://schemas.microsoft.com/office/drawing/2014/main" id="{E9F910EC-6BB9-DF4E-A4C6-313C66D84CE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13695" y="-2135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2" name="Freeform 6043">
                      <a:extLst>
                        <a:ext uri="{FF2B5EF4-FFF2-40B4-BE49-F238E27FC236}">
                          <a16:creationId xmlns:a16="http://schemas.microsoft.com/office/drawing/2014/main" id="{FF014B46-0B3A-7CD8-1C88-8D305C95FC9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45127" y="-21669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6" name="Graphic 26">
                    <a:extLst>
                      <a:ext uri="{FF2B5EF4-FFF2-40B4-BE49-F238E27FC236}">
                        <a16:creationId xmlns:a16="http://schemas.microsoft.com/office/drawing/2014/main" id="{1E194AC6-C4B6-DFCF-A9FF-9823221D2AA1}"/>
                      </a:ext>
                    </a:extLst>
                  </p:cNvPr>
                  <p:cNvGrpSpPr/>
                  <p:nvPr/>
                </p:nvGrpSpPr>
                <p:grpSpPr>
                  <a:xfrm>
                    <a:off x="10597515" y="-2140350"/>
                    <a:ext cx="62864" cy="62699"/>
                    <a:chOff x="10597515" y="-2140350"/>
                    <a:chExt cx="62864" cy="62699"/>
                  </a:xfrm>
                </p:grpSpPr>
                <p:sp>
                  <p:nvSpPr>
                    <p:cNvPr id="2069" name="Freeform 6040">
                      <a:extLst>
                        <a:ext uri="{FF2B5EF4-FFF2-40B4-BE49-F238E27FC236}">
                          <a16:creationId xmlns:a16="http://schemas.microsoft.com/office/drawing/2014/main" id="{77234B2D-F39F-4775-376F-E086311381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597515" y="-21090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70" name="Freeform 6041">
                      <a:extLst>
                        <a:ext uri="{FF2B5EF4-FFF2-40B4-BE49-F238E27FC236}">
                          <a16:creationId xmlns:a16="http://schemas.microsoft.com/office/drawing/2014/main" id="{E4936CDD-526D-6C5D-63D3-5B544FD207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628947" y="-21403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7" name="Graphic 26">
                    <a:extLst>
                      <a:ext uri="{FF2B5EF4-FFF2-40B4-BE49-F238E27FC236}">
                        <a16:creationId xmlns:a16="http://schemas.microsoft.com/office/drawing/2014/main" id="{025C040B-1139-DF21-5C38-703BCA37D374}"/>
                      </a:ext>
                    </a:extLst>
                  </p:cNvPr>
                  <p:cNvGrpSpPr/>
                  <p:nvPr/>
                </p:nvGrpSpPr>
                <p:grpSpPr>
                  <a:xfrm>
                    <a:off x="10848975" y="-2081450"/>
                    <a:ext cx="62864" cy="62700"/>
                    <a:chOff x="10848975" y="-2081450"/>
                    <a:chExt cx="62864" cy="62700"/>
                  </a:xfrm>
                </p:grpSpPr>
                <p:sp>
                  <p:nvSpPr>
                    <p:cNvPr id="2067" name="Freeform 6038">
                      <a:extLst>
                        <a:ext uri="{FF2B5EF4-FFF2-40B4-BE49-F238E27FC236}">
                          <a16:creationId xmlns:a16="http://schemas.microsoft.com/office/drawing/2014/main" id="{36C0AF76-E9EB-8824-FB4A-A84BDD98BFA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848975" y="-20501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8" name="Freeform 6039">
                      <a:extLst>
                        <a:ext uri="{FF2B5EF4-FFF2-40B4-BE49-F238E27FC236}">
                          <a16:creationId xmlns:a16="http://schemas.microsoft.com/office/drawing/2014/main" id="{53FB7537-935A-CE02-8748-3A5BE84240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880407" y="-20814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8" name="Graphic 26">
                    <a:extLst>
                      <a:ext uri="{FF2B5EF4-FFF2-40B4-BE49-F238E27FC236}">
                        <a16:creationId xmlns:a16="http://schemas.microsoft.com/office/drawing/2014/main" id="{7672C635-E939-945C-FD47-FE261AD307E6}"/>
                      </a:ext>
                    </a:extLst>
                  </p:cNvPr>
                  <p:cNvGrpSpPr/>
                  <p:nvPr/>
                </p:nvGrpSpPr>
                <p:grpSpPr>
                  <a:xfrm>
                    <a:off x="11077575" y="-2057700"/>
                    <a:ext cx="62864" cy="62700"/>
                    <a:chOff x="11077575" y="-2057700"/>
                    <a:chExt cx="62864" cy="62700"/>
                  </a:xfrm>
                </p:grpSpPr>
                <p:sp>
                  <p:nvSpPr>
                    <p:cNvPr id="2065" name="Freeform 6036">
                      <a:extLst>
                        <a:ext uri="{FF2B5EF4-FFF2-40B4-BE49-F238E27FC236}">
                          <a16:creationId xmlns:a16="http://schemas.microsoft.com/office/drawing/2014/main" id="{49F619F8-C6D9-9445-144D-60D8E5D4458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077575" y="-2026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6" name="Freeform 6037">
                      <a:extLst>
                        <a:ext uri="{FF2B5EF4-FFF2-40B4-BE49-F238E27FC236}">
                          <a16:creationId xmlns:a16="http://schemas.microsoft.com/office/drawing/2014/main" id="{78C601ED-B9A0-F05F-C63E-157AE8012D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09007" y="-20577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89" name="Graphic 26">
                    <a:extLst>
                      <a:ext uri="{FF2B5EF4-FFF2-40B4-BE49-F238E27FC236}">
                        <a16:creationId xmlns:a16="http://schemas.microsoft.com/office/drawing/2014/main" id="{417E9BF0-382B-A192-4A00-E86FFAF9057A}"/>
                      </a:ext>
                    </a:extLst>
                  </p:cNvPr>
                  <p:cNvGrpSpPr/>
                  <p:nvPr/>
                </p:nvGrpSpPr>
                <p:grpSpPr>
                  <a:xfrm>
                    <a:off x="11128057" y="-2029200"/>
                    <a:ext cx="63817" cy="62700"/>
                    <a:chOff x="11128057" y="-2029200"/>
                    <a:chExt cx="63817" cy="62700"/>
                  </a:xfrm>
                </p:grpSpPr>
                <p:sp>
                  <p:nvSpPr>
                    <p:cNvPr id="2063" name="Freeform 6034">
                      <a:extLst>
                        <a:ext uri="{FF2B5EF4-FFF2-40B4-BE49-F238E27FC236}">
                          <a16:creationId xmlns:a16="http://schemas.microsoft.com/office/drawing/2014/main" id="{063FCC66-2F47-92F5-4D39-FF87F2E2A2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28057" y="-1997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4" name="Freeform 6035">
                      <a:extLst>
                        <a:ext uri="{FF2B5EF4-FFF2-40B4-BE49-F238E27FC236}">
                          <a16:creationId xmlns:a16="http://schemas.microsoft.com/office/drawing/2014/main" id="{B102DD4A-A9A2-408B-922D-3EE96DB6EB2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0442" y="-20292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0" name="Graphic 26">
                    <a:extLst>
                      <a:ext uri="{FF2B5EF4-FFF2-40B4-BE49-F238E27FC236}">
                        <a16:creationId xmlns:a16="http://schemas.microsoft.com/office/drawing/2014/main" id="{7BAF580C-FDE6-FDAE-3882-EFD84B0872FA}"/>
                      </a:ext>
                    </a:extLst>
                  </p:cNvPr>
                  <p:cNvGrpSpPr/>
                  <p:nvPr/>
                </p:nvGrpSpPr>
                <p:grpSpPr>
                  <a:xfrm>
                    <a:off x="11132820" y="-2029200"/>
                    <a:ext cx="63817" cy="62700"/>
                    <a:chOff x="11132820" y="-2029200"/>
                    <a:chExt cx="63817" cy="62700"/>
                  </a:xfrm>
                </p:grpSpPr>
                <p:sp>
                  <p:nvSpPr>
                    <p:cNvPr id="2061" name="Freeform 6032">
                      <a:extLst>
                        <a:ext uri="{FF2B5EF4-FFF2-40B4-BE49-F238E27FC236}">
                          <a16:creationId xmlns:a16="http://schemas.microsoft.com/office/drawing/2014/main" id="{6C0D2487-EBFF-0145-3582-292589AA473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32820" y="-19978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2" name="Freeform 6033">
                      <a:extLst>
                        <a:ext uri="{FF2B5EF4-FFF2-40B4-BE49-F238E27FC236}">
                          <a16:creationId xmlns:a16="http://schemas.microsoft.com/office/drawing/2014/main" id="{BC316C04-4128-5272-AE3E-C32BDC68F6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165205" y="-20292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1" name="Graphic 26">
                    <a:extLst>
                      <a:ext uri="{FF2B5EF4-FFF2-40B4-BE49-F238E27FC236}">
                        <a16:creationId xmlns:a16="http://schemas.microsoft.com/office/drawing/2014/main" id="{71AE7D5F-4F6B-1C2C-7825-E0FB5894F071}"/>
                      </a:ext>
                    </a:extLst>
                  </p:cNvPr>
                  <p:cNvGrpSpPr/>
                  <p:nvPr/>
                </p:nvGrpSpPr>
                <p:grpSpPr>
                  <a:xfrm>
                    <a:off x="11232832" y="-2011150"/>
                    <a:ext cx="62864" cy="62700"/>
                    <a:chOff x="11232832" y="-2011150"/>
                    <a:chExt cx="62864" cy="62700"/>
                  </a:xfrm>
                </p:grpSpPr>
                <p:sp>
                  <p:nvSpPr>
                    <p:cNvPr id="2059" name="Freeform 6030">
                      <a:extLst>
                        <a:ext uri="{FF2B5EF4-FFF2-40B4-BE49-F238E27FC236}">
                          <a16:creationId xmlns:a16="http://schemas.microsoft.com/office/drawing/2014/main" id="{B8EA74EF-1EE5-1028-189E-A631CBAE32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32832" y="-19798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60" name="Freeform 6031">
                      <a:extLst>
                        <a:ext uri="{FF2B5EF4-FFF2-40B4-BE49-F238E27FC236}">
                          <a16:creationId xmlns:a16="http://schemas.microsoft.com/office/drawing/2014/main" id="{ED52420E-D494-BC12-0660-60372AE7F3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4265" y="-2011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2" name="Graphic 26">
                    <a:extLst>
                      <a:ext uri="{FF2B5EF4-FFF2-40B4-BE49-F238E27FC236}">
                        <a16:creationId xmlns:a16="http://schemas.microsoft.com/office/drawing/2014/main" id="{C1B00CB4-5694-DC4E-9846-2F9308728024}"/>
                      </a:ext>
                    </a:extLst>
                  </p:cNvPr>
                  <p:cNvGrpSpPr/>
                  <p:nvPr/>
                </p:nvGrpSpPr>
                <p:grpSpPr>
                  <a:xfrm>
                    <a:off x="11260455" y="-1994050"/>
                    <a:ext cx="63817" cy="62700"/>
                    <a:chOff x="11260455" y="-1994050"/>
                    <a:chExt cx="63817" cy="62700"/>
                  </a:xfrm>
                </p:grpSpPr>
                <p:sp>
                  <p:nvSpPr>
                    <p:cNvPr id="2057" name="Freeform 6028">
                      <a:extLst>
                        <a:ext uri="{FF2B5EF4-FFF2-40B4-BE49-F238E27FC236}">
                          <a16:creationId xmlns:a16="http://schemas.microsoft.com/office/drawing/2014/main" id="{CCD3E4A9-8A89-3000-A296-5038AF7463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60455" y="-1962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8" name="Freeform 6029">
                      <a:extLst>
                        <a:ext uri="{FF2B5EF4-FFF2-40B4-BE49-F238E27FC236}">
                          <a16:creationId xmlns:a16="http://schemas.microsoft.com/office/drawing/2014/main" id="{82BF48B5-251A-6949-0092-68F9C8B83C5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291887" y="-1994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3" name="Graphic 26">
                    <a:extLst>
                      <a:ext uri="{FF2B5EF4-FFF2-40B4-BE49-F238E27FC236}">
                        <a16:creationId xmlns:a16="http://schemas.microsoft.com/office/drawing/2014/main" id="{5310477B-54DD-005C-ADB7-C6FAA44A963E}"/>
                      </a:ext>
                    </a:extLst>
                  </p:cNvPr>
                  <p:cNvGrpSpPr/>
                  <p:nvPr/>
                </p:nvGrpSpPr>
                <p:grpSpPr>
                  <a:xfrm>
                    <a:off x="11315700" y="-1994050"/>
                    <a:ext cx="62864" cy="62700"/>
                    <a:chOff x="11315700" y="-1994050"/>
                    <a:chExt cx="62864" cy="62700"/>
                  </a:xfrm>
                </p:grpSpPr>
                <p:sp>
                  <p:nvSpPr>
                    <p:cNvPr id="2055" name="Freeform 6026">
                      <a:extLst>
                        <a:ext uri="{FF2B5EF4-FFF2-40B4-BE49-F238E27FC236}">
                          <a16:creationId xmlns:a16="http://schemas.microsoft.com/office/drawing/2014/main" id="{813D6731-DEB9-26AD-642B-E078A52152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15700" y="-1962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6" name="Freeform 6027">
                      <a:extLst>
                        <a:ext uri="{FF2B5EF4-FFF2-40B4-BE49-F238E27FC236}">
                          <a16:creationId xmlns:a16="http://schemas.microsoft.com/office/drawing/2014/main" id="{52216D29-14BA-9235-D95C-0A64C7B85F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47132" y="-19940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4" name="Graphic 26">
                    <a:extLst>
                      <a:ext uri="{FF2B5EF4-FFF2-40B4-BE49-F238E27FC236}">
                        <a16:creationId xmlns:a16="http://schemas.microsoft.com/office/drawing/2014/main" id="{29DD3281-DB34-162D-2866-8D2EB17B75CF}"/>
                      </a:ext>
                    </a:extLst>
                  </p:cNvPr>
                  <p:cNvGrpSpPr/>
                  <p:nvPr/>
                </p:nvGrpSpPr>
                <p:grpSpPr>
                  <a:xfrm>
                    <a:off x="11372850" y="-1980750"/>
                    <a:ext cx="62864" cy="62700"/>
                    <a:chOff x="11372850" y="-1980750"/>
                    <a:chExt cx="62864" cy="62700"/>
                  </a:xfrm>
                </p:grpSpPr>
                <p:sp>
                  <p:nvSpPr>
                    <p:cNvPr id="2053" name="Freeform 6024">
                      <a:extLst>
                        <a:ext uri="{FF2B5EF4-FFF2-40B4-BE49-F238E27FC236}">
                          <a16:creationId xmlns:a16="http://schemas.microsoft.com/office/drawing/2014/main" id="{262FDB5D-B019-16B6-2E89-4C2FD6349CB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72850" y="-19494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4" name="Freeform 6025">
                      <a:extLst>
                        <a:ext uri="{FF2B5EF4-FFF2-40B4-BE49-F238E27FC236}">
                          <a16:creationId xmlns:a16="http://schemas.microsoft.com/office/drawing/2014/main" id="{D4F3D9CA-F629-3C81-2A06-34496E2D16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04282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5" name="Graphic 26">
                    <a:extLst>
                      <a:ext uri="{FF2B5EF4-FFF2-40B4-BE49-F238E27FC236}">
                        <a16:creationId xmlns:a16="http://schemas.microsoft.com/office/drawing/2014/main" id="{BAA9862C-A199-2618-41C0-BAE3A830F5BE}"/>
                      </a:ext>
                    </a:extLst>
                  </p:cNvPr>
                  <p:cNvGrpSpPr/>
                  <p:nvPr/>
                </p:nvGrpSpPr>
                <p:grpSpPr>
                  <a:xfrm>
                    <a:off x="11397615" y="-1980750"/>
                    <a:ext cx="63817" cy="62700"/>
                    <a:chOff x="11397615" y="-1980750"/>
                    <a:chExt cx="63817" cy="62700"/>
                  </a:xfrm>
                </p:grpSpPr>
                <p:sp>
                  <p:nvSpPr>
                    <p:cNvPr id="2051" name="Freeform 6022">
                      <a:extLst>
                        <a:ext uri="{FF2B5EF4-FFF2-40B4-BE49-F238E27FC236}">
                          <a16:creationId xmlns:a16="http://schemas.microsoft.com/office/drawing/2014/main" id="{7C2BF2B7-6C80-F515-B709-972920A57EF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397615" y="-1949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2" name="Freeform 6023">
                      <a:extLst>
                        <a:ext uri="{FF2B5EF4-FFF2-40B4-BE49-F238E27FC236}">
                          <a16:creationId xmlns:a16="http://schemas.microsoft.com/office/drawing/2014/main" id="{FDB486CE-8C9D-B6FE-D20C-6C364DE966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30000" y="-19807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6" name="Graphic 26">
                    <a:extLst>
                      <a:ext uri="{FF2B5EF4-FFF2-40B4-BE49-F238E27FC236}">
                        <a16:creationId xmlns:a16="http://schemas.microsoft.com/office/drawing/2014/main" id="{6D06D957-BD13-98AE-E98A-F3010D12FE44}"/>
                      </a:ext>
                    </a:extLst>
                  </p:cNvPr>
                  <p:cNvGrpSpPr/>
                  <p:nvPr/>
                </p:nvGrpSpPr>
                <p:grpSpPr>
                  <a:xfrm>
                    <a:off x="11480482" y="-1943700"/>
                    <a:ext cx="63817" cy="63650"/>
                    <a:chOff x="11480482" y="-1943700"/>
                    <a:chExt cx="63817" cy="63650"/>
                  </a:xfrm>
                </p:grpSpPr>
                <p:sp>
                  <p:nvSpPr>
                    <p:cNvPr id="2049" name="Freeform 6020">
                      <a:extLst>
                        <a:ext uri="{FF2B5EF4-FFF2-40B4-BE49-F238E27FC236}">
                          <a16:creationId xmlns:a16="http://schemas.microsoft.com/office/drawing/2014/main" id="{80CD56BB-8FFC-29F9-FE16-5D1CF2D2FC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480482" y="-19114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50" name="Freeform 6021">
                      <a:extLst>
                        <a:ext uri="{FF2B5EF4-FFF2-40B4-BE49-F238E27FC236}">
                          <a16:creationId xmlns:a16="http://schemas.microsoft.com/office/drawing/2014/main" id="{775A8FEA-875A-F05B-B879-663C1C350E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512867" y="-194370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7" name="Graphic 26">
                    <a:extLst>
                      <a:ext uri="{FF2B5EF4-FFF2-40B4-BE49-F238E27FC236}">
                        <a16:creationId xmlns:a16="http://schemas.microsoft.com/office/drawing/2014/main" id="{4030EBD2-05A7-6733-180C-C4287527AB12}"/>
                      </a:ext>
                    </a:extLst>
                  </p:cNvPr>
                  <p:cNvGrpSpPr/>
                  <p:nvPr/>
                </p:nvGrpSpPr>
                <p:grpSpPr>
                  <a:xfrm>
                    <a:off x="11611927" y="-1884800"/>
                    <a:ext cx="62864" cy="62700"/>
                    <a:chOff x="11611927" y="-1884800"/>
                    <a:chExt cx="62864" cy="62700"/>
                  </a:xfrm>
                </p:grpSpPr>
                <p:sp>
                  <p:nvSpPr>
                    <p:cNvPr id="2047" name="Freeform 6018">
                      <a:extLst>
                        <a:ext uri="{FF2B5EF4-FFF2-40B4-BE49-F238E27FC236}">
                          <a16:creationId xmlns:a16="http://schemas.microsoft.com/office/drawing/2014/main" id="{96B9E447-62C4-FA13-C974-63C3338531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11927" y="-18534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8" name="Freeform 6019">
                      <a:extLst>
                        <a:ext uri="{FF2B5EF4-FFF2-40B4-BE49-F238E27FC236}">
                          <a16:creationId xmlns:a16="http://schemas.microsoft.com/office/drawing/2014/main" id="{2D6B1A0E-E466-78F7-800F-EC77DD41874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43360" y="-18848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8" name="Graphic 26">
                    <a:extLst>
                      <a:ext uri="{FF2B5EF4-FFF2-40B4-BE49-F238E27FC236}">
                        <a16:creationId xmlns:a16="http://schemas.microsoft.com/office/drawing/2014/main" id="{B58AB5D4-B4EB-D495-7B94-712CC7C0101D}"/>
                      </a:ext>
                    </a:extLst>
                  </p:cNvPr>
                  <p:cNvGrpSpPr/>
                  <p:nvPr/>
                </p:nvGrpSpPr>
                <p:grpSpPr>
                  <a:xfrm>
                    <a:off x="11616690" y="-1884800"/>
                    <a:ext cx="63817" cy="62700"/>
                    <a:chOff x="11616690" y="-1884800"/>
                    <a:chExt cx="63817" cy="62700"/>
                  </a:xfrm>
                </p:grpSpPr>
                <p:sp>
                  <p:nvSpPr>
                    <p:cNvPr id="2045" name="Freeform 6016">
                      <a:extLst>
                        <a:ext uri="{FF2B5EF4-FFF2-40B4-BE49-F238E27FC236}">
                          <a16:creationId xmlns:a16="http://schemas.microsoft.com/office/drawing/2014/main" id="{CF0E0187-8597-F421-A8D5-B8B2DDB00F1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16690" y="-18534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6" name="Freeform 6017">
                      <a:extLst>
                        <a:ext uri="{FF2B5EF4-FFF2-40B4-BE49-F238E27FC236}">
                          <a16:creationId xmlns:a16="http://schemas.microsoft.com/office/drawing/2014/main" id="{A70827DF-63EF-50F2-CEFC-BEC1C1666A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648122" y="-18848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799" name="Graphic 26">
                    <a:extLst>
                      <a:ext uri="{FF2B5EF4-FFF2-40B4-BE49-F238E27FC236}">
                        <a16:creationId xmlns:a16="http://schemas.microsoft.com/office/drawing/2014/main" id="{574A0869-5D6C-1D95-A26D-5FD9E103F352}"/>
                      </a:ext>
                    </a:extLst>
                  </p:cNvPr>
                  <p:cNvGrpSpPr/>
                  <p:nvPr/>
                </p:nvGrpSpPr>
                <p:grpSpPr>
                  <a:xfrm>
                    <a:off x="11716702" y="-1868650"/>
                    <a:ext cx="63817" cy="62700"/>
                    <a:chOff x="11716702" y="-1868650"/>
                    <a:chExt cx="63817" cy="62700"/>
                  </a:xfrm>
                </p:grpSpPr>
                <p:sp>
                  <p:nvSpPr>
                    <p:cNvPr id="2043" name="Freeform 6014">
                      <a:extLst>
                        <a:ext uri="{FF2B5EF4-FFF2-40B4-BE49-F238E27FC236}">
                          <a16:creationId xmlns:a16="http://schemas.microsoft.com/office/drawing/2014/main" id="{EADD844E-11F3-4F02-83E5-4009C90ECA1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16702" y="-18373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4" name="Freeform 6015">
                      <a:extLst>
                        <a:ext uri="{FF2B5EF4-FFF2-40B4-BE49-F238E27FC236}">
                          <a16:creationId xmlns:a16="http://schemas.microsoft.com/office/drawing/2014/main" id="{B6726EC8-2245-50A2-8AAB-0731FBABDBF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48135" y="-1868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0" name="Graphic 26">
                    <a:extLst>
                      <a:ext uri="{FF2B5EF4-FFF2-40B4-BE49-F238E27FC236}">
                        <a16:creationId xmlns:a16="http://schemas.microsoft.com/office/drawing/2014/main" id="{5CEF0F38-4F0E-EDA9-825F-70CAE7DAF04C}"/>
                      </a:ext>
                    </a:extLst>
                  </p:cNvPr>
                  <p:cNvGrpSpPr/>
                  <p:nvPr/>
                </p:nvGrpSpPr>
                <p:grpSpPr>
                  <a:xfrm>
                    <a:off x="11724322" y="-1868650"/>
                    <a:ext cx="62865" cy="62700"/>
                    <a:chOff x="11724322" y="-1868650"/>
                    <a:chExt cx="62865" cy="62700"/>
                  </a:xfrm>
                </p:grpSpPr>
                <p:sp>
                  <p:nvSpPr>
                    <p:cNvPr id="2041" name="Freeform 6012">
                      <a:extLst>
                        <a:ext uri="{FF2B5EF4-FFF2-40B4-BE49-F238E27FC236}">
                          <a16:creationId xmlns:a16="http://schemas.microsoft.com/office/drawing/2014/main" id="{FA6CA875-0C85-7166-DB3C-CD457E8ABAB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24322" y="-1837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2" name="Freeform 6013">
                      <a:extLst>
                        <a:ext uri="{FF2B5EF4-FFF2-40B4-BE49-F238E27FC236}">
                          <a16:creationId xmlns:a16="http://schemas.microsoft.com/office/drawing/2014/main" id="{88EE2A0B-A605-77AC-3C21-9327E812FF9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755755" y="-1868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1" name="Graphic 26">
                    <a:extLst>
                      <a:ext uri="{FF2B5EF4-FFF2-40B4-BE49-F238E27FC236}">
                        <a16:creationId xmlns:a16="http://schemas.microsoft.com/office/drawing/2014/main" id="{FC6B938B-EAA4-BED7-1BC0-979A3283037B}"/>
                      </a:ext>
                    </a:extLst>
                  </p:cNvPr>
                  <p:cNvGrpSpPr/>
                  <p:nvPr/>
                </p:nvGrpSpPr>
                <p:grpSpPr>
                  <a:xfrm>
                    <a:off x="11822430" y="-1868650"/>
                    <a:ext cx="62865" cy="62700"/>
                    <a:chOff x="11822430" y="-1868650"/>
                    <a:chExt cx="62865" cy="62700"/>
                  </a:xfrm>
                </p:grpSpPr>
                <p:sp>
                  <p:nvSpPr>
                    <p:cNvPr id="2039" name="Freeform 6010">
                      <a:extLst>
                        <a:ext uri="{FF2B5EF4-FFF2-40B4-BE49-F238E27FC236}">
                          <a16:creationId xmlns:a16="http://schemas.microsoft.com/office/drawing/2014/main" id="{28E9CCA9-EC1A-0F5C-5431-9D4E511CD99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822430" y="-18373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40" name="Freeform 6011">
                      <a:extLst>
                        <a:ext uri="{FF2B5EF4-FFF2-40B4-BE49-F238E27FC236}">
                          <a16:creationId xmlns:a16="http://schemas.microsoft.com/office/drawing/2014/main" id="{C3F91519-BC74-88B4-28C8-8870DB4A5A4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1853862" y="-18686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2" name="Graphic 26">
                    <a:extLst>
                      <a:ext uri="{FF2B5EF4-FFF2-40B4-BE49-F238E27FC236}">
                        <a16:creationId xmlns:a16="http://schemas.microsoft.com/office/drawing/2014/main" id="{96DAAC2C-39B9-6268-C255-DF6F0853F478}"/>
                      </a:ext>
                    </a:extLst>
                  </p:cNvPr>
                  <p:cNvGrpSpPr/>
                  <p:nvPr/>
                </p:nvGrpSpPr>
                <p:grpSpPr>
                  <a:xfrm>
                    <a:off x="12065317" y="-1786950"/>
                    <a:ext cx="62865" cy="63649"/>
                    <a:chOff x="12065317" y="-1786950"/>
                    <a:chExt cx="62865" cy="63649"/>
                  </a:xfrm>
                </p:grpSpPr>
                <p:sp>
                  <p:nvSpPr>
                    <p:cNvPr id="2037" name="Freeform 6008">
                      <a:extLst>
                        <a:ext uri="{FF2B5EF4-FFF2-40B4-BE49-F238E27FC236}">
                          <a16:creationId xmlns:a16="http://schemas.microsoft.com/office/drawing/2014/main" id="{9D6C2735-49E1-2F77-34A9-B4F341E2C43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65317" y="-17556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8" name="Freeform 6009">
                      <a:extLst>
                        <a:ext uri="{FF2B5EF4-FFF2-40B4-BE49-F238E27FC236}">
                          <a16:creationId xmlns:a16="http://schemas.microsoft.com/office/drawing/2014/main" id="{4B95323C-C746-C697-39BF-AC0D8EF278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96750" y="-1786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3" name="Graphic 26">
                    <a:extLst>
                      <a:ext uri="{FF2B5EF4-FFF2-40B4-BE49-F238E27FC236}">
                        <a16:creationId xmlns:a16="http://schemas.microsoft.com/office/drawing/2014/main" id="{C8742F5C-58B6-26EF-9919-677AA16E2EB5}"/>
                      </a:ext>
                    </a:extLst>
                  </p:cNvPr>
                  <p:cNvGrpSpPr/>
                  <p:nvPr/>
                </p:nvGrpSpPr>
                <p:grpSpPr>
                  <a:xfrm>
                    <a:off x="12069127" y="-1786950"/>
                    <a:ext cx="62864" cy="63649"/>
                    <a:chOff x="12069127" y="-1786950"/>
                    <a:chExt cx="62864" cy="63649"/>
                  </a:xfrm>
                </p:grpSpPr>
                <p:sp>
                  <p:nvSpPr>
                    <p:cNvPr id="2035" name="Freeform 6006">
                      <a:extLst>
                        <a:ext uri="{FF2B5EF4-FFF2-40B4-BE49-F238E27FC236}">
                          <a16:creationId xmlns:a16="http://schemas.microsoft.com/office/drawing/2014/main" id="{F805107A-33D3-43F6-4A35-DEBC301C4E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069127" y="-17556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6" name="Freeform 6007">
                      <a:extLst>
                        <a:ext uri="{FF2B5EF4-FFF2-40B4-BE49-F238E27FC236}">
                          <a16:creationId xmlns:a16="http://schemas.microsoft.com/office/drawing/2014/main" id="{20237600-2FF3-D9BB-49F6-F690591ACF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100560" y="-1786950"/>
                      <a:ext cx="9525" cy="63649"/>
                    </a:xfrm>
                    <a:custGeom>
                      <a:avLst/>
                      <a:gdLst>
                        <a:gd name="connsiteX0" fmla="*/ 0 w 9525"/>
                        <a:gd name="connsiteY0" fmla="*/ 63650 h 63649"/>
                        <a:gd name="connsiteX1" fmla="*/ 0 w 9525"/>
                        <a:gd name="connsiteY1" fmla="*/ 0 h 6364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49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4" name="Graphic 26">
                    <a:extLst>
                      <a:ext uri="{FF2B5EF4-FFF2-40B4-BE49-F238E27FC236}">
                        <a16:creationId xmlns:a16="http://schemas.microsoft.com/office/drawing/2014/main" id="{B53E5CA0-A8FA-1CFE-CCF2-E93EEE675770}"/>
                      </a:ext>
                    </a:extLst>
                  </p:cNvPr>
                  <p:cNvGrpSpPr/>
                  <p:nvPr/>
                </p:nvGrpSpPr>
                <p:grpSpPr>
                  <a:xfrm>
                    <a:off x="12523470" y="-1648250"/>
                    <a:ext cx="62864" cy="62699"/>
                    <a:chOff x="12523470" y="-1648250"/>
                    <a:chExt cx="62864" cy="62699"/>
                  </a:xfrm>
                </p:grpSpPr>
                <p:sp>
                  <p:nvSpPr>
                    <p:cNvPr id="2033" name="Freeform 6004">
                      <a:extLst>
                        <a:ext uri="{FF2B5EF4-FFF2-40B4-BE49-F238E27FC236}">
                          <a16:creationId xmlns:a16="http://schemas.microsoft.com/office/drawing/2014/main" id="{C9E6515A-01C3-7154-9DF5-BA7B7D444FC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23470" y="-1616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4" name="Freeform 6005">
                      <a:extLst>
                        <a:ext uri="{FF2B5EF4-FFF2-40B4-BE49-F238E27FC236}">
                          <a16:creationId xmlns:a16="http://schemas.microsoft.com/office/drawing/2014/main" id="{66FDA460-E59E-EE48-EB7F-9715A7767D5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54902" y="-1648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5" name="Graphic 26">
                    <a:extLst>
                      <a:ext uri="{FF2B5EF4-FFF2-40B4-BE49-F238E27FC236}">
                        <a16:creationId xmlns:a16="http://schemas.microsoft.com/office/drawing/2014/main" id="{472A1364-21B8-CEB2-C9E7-AF90E10D46E4}"/>
                      </a:ext>
                    </a:extLst>
                  </p:cNvPr>
                  <p:cNvGrpSpPr/>
                  <p:nvPr/>
                </p:nvGrpSpPr>
                <p:grpSpPr>
                  <a:xfrm>
                    <a:off x="12529185" y="-1648250"/>
                    <a:ext cx="63817" cy="62699"/>
                    <a:chOff x="12529185" y="-1648250"/>
                    <a:chExt cx="63817" cy="62699"/>
                  </a:xfrm>
                </p:grpSpPr>
                <p:sp>
                  <p:nvSpPr>
                    <p:cNvPr id="2031" name="Freeform 6002">
                      <a:extLst>
                        <a:ext uri="{FF2B5EF4-FFF2-40B4-BE49-F238E27FC236}">
                          <a16:creationId xmlns:a16="http://schemas.microsoft.com/office/drawing/2014/main" id="{7F043EC3-3C95-25FC-B228-AB48DD3831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29185" y="-1616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2" name="Freeform 6003">
                      <a:extLst>
                        <a:ext uri="{FF2B5EF4-FFF2-40B4-BE49-F238E27FC236}">
                          <a16:creationId xmlns:a16="http://schemas.microsoft.com/office/drawing/2014/main" id="{8227F8E0-B4E9-C0AD-8155-8DD461C243A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61570" y="-1648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6" name="Graphic 26">
                    <a:extLst>
                      <a:ext uri="{FF2B5EF4-FFF2-40B4-BE49-F238E27FC236}">
                        <a16:creationId xmlns:a16="http://schemas.microsoft.com/office/drawing/2014/main" id="{E65F1D2E-2EFD-D03D-425F-030317997805}"/>
                      </a:ext>
                    </a:extLst>
                  </p:cNvPr>
                  <p:cNvGrpSpPr/>
                  <p:nvPr/>
                </p:nvGrpSpPr>
                <p:grpSpPr>
                  <a:xfrm>
                    <a:off x="12534900" y="-1648250"/>
                    <a:ext cx="62865" cy="62699"/>
                    <a:chOff x="12534900" y="-1648250"/>
                    <a:chExt cx="62865" cy="62699"/>
                  </a:xfrm>
                </p:grpSpPr>
                <p:sp>
                  <p:nvSpPr>
                    <p:cNvPr id="2029" name="Freeform 6000">
                      <a:extLst>
                        <a:ext uri="{FF2B5EF4-FFF2-40B4-BE49-F238E27FC236}">
                          <a16:creationId xmlns:a16="http://schemas.microsoft.com/office/drawing/2014/main" id="{2A33B0CE-B741-9693-BC13-35FD4497F96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34900" y="-1616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30" name="Freeform 6001">
                      <a:extLst>
                        <a:ext uri="{FF2B5EF4-FFF2-40B4-BE49-F238E27FC236}">
                          <a16:creationId xmlns:a16="http://schemas.microsoft.com/office/drawing/2014/main" id="{D5598A0C-0353-B299-409F-C693BB7955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2566332" y="-1648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7" name="Graphic 26">
                    <a:extLst>
                      <a:ext uri="{FF2B5EF4-FFF2-40B4-BE49-F238E27FC236}">
                        <a16:creationId xmlns:a16="http://schemas.microsoft.com/office/drawing/2014/main" id="{B6154C3C-06BD-BD42-CA31-F7D53C511FF8}"/>
                      </a:ext>
                    </a:extLst>
                  </p:cNvPr>
                  <p:cNvGrpSpPr/>
                  <p:nvPr/>
                </p:nvGrpSpPr>
                <p:grpSpPr>
                  <a:xfrm>
                    <a:off x="13152120" y="-1531400"/>
                    <a:ext cx="62864" cy="62700"/>
                    <a:chOff x="13152120" y="-1531400"/>
                    <a:chExt cx="62864" cy="62700"/>
                  </a:xfrm>
                </p:grpSpPr>
                <p:sp>
                  <p:nvSpPr>
                    <p:cNvPr id="2027" name="Freeform 5998">
                      <a:extLst>
                        <a:ext uri="{FF2B5EF4-FFF2-40B4-BE49-F238E27FC236}">
                          <a16:creationId xmlns:a16="http://schemas.microsoft.com/office/drawing/2014/main" id="{671CC4C3-0815-1C08-82E3-71CBDB82EC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52120" y="-15000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8" name="Freeform 5999">
                      <a:extLst>
                        <a:ext uri="{FF2B5EF4-FFF2-40B4-BE49-F238E27FC236}">
                          <a16:creationId xmlns:a16="http://schemas.microsoft.com/office/drawing/2014/main" id="{DE01A102-A358-123B-33AE-900993BF648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183552" y="-15314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8" name="Graphic 26">
                    <a:extLst>
                      <a:ext uri="{FF2B5EF4-FFF2-40B4-BE49-F238E27FC236}">
                        <a16:creationId xmlns:a16="http://schemas.microsoft.com/office/drawing/2014/main" id="{6BE3B667-8452-22AC-DB57-C8445F814066}"/>
                      </a:ext>
                    </a:extLst>
                  </p:cNvPr>
                  <p:cNvGrpSpPr/>
                  <p:nvPr/>
                </p:nvGrpSpPr>
                <p:grpSpPr>
                  <a:xfrm>
                    <a:off x="13224510" y="-1496250"/>
                    <a:ext cx="63817" cy="63650"/>
                    <a:chOff x="13224510" y="-1496250"/>
                    <a:chExt cx="63817" cy="63650"/>
                  </a:xfrm>
                </p:grpSpPr>
                <p:sp>
                  <p:nvSpPr>
                    <p:cNvPr id="2025" name="Freeform 5996">
                      <a:extLst>
                        <a:ext uri="{FF2B5EF4-FFF2-40B4-BE49-F238E27FC236}">
                          <a16:creationId xmlns:a16="http://schemas.microsoft.com/office/drawing/2014/main" id="{CA1EC0AE-4733-2980-3AF4-3F27DD3D61A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24510" y="-1464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6" name="Freeform 5997">
                      <a:extLst>
                        <a:ext uri="{FF2B5EF4-FFF2-40B4-BE49-F238E27FC236}">
                          <a16:creationId xmlns:a16="http://schemas.microsoft.com/office/drawing/2014/main" id="{0F85105E-8A5C-6639-87F6-17C44A838B7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56895" y="-149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09" name="Graphic 26">
                    <a:extLst>
                      <a:ext uri="{FF2B5EF4-FFF2-40B4-BE49-F238E27FC236}">
                        <a16:creationId xmlns:a16="http://schemas.microsoft.com/office/drawing/2014/main" id="{82C3446E-50F9-2A17-565C-EEEC02D046EE}"/>
                      </a:ext>
                    </a:extLst>
                  </p:cNvPr>
                  <p:cNvGrpSpPr/>
                  <p:nvPr/>
                </p:nvGrpSpPr>
                <p:grpSpPr>
                  <a:xfrm>
                    <a:off x="13232130" y="-1496250"/>
                    <a:ext cx="62865" cy="63650"/>
                    <a:chOff x="13232130" y="-1496250"/>
                    <a:chExt cx="62865" cy="63650"/>
                  </a:xfrm>
                </p:grpSpPr>
                <p:sp>
                  <p:nvSpPr>
                    <p:cNvPr id="2023" name="Freeform 5994">
                      <a:extLst>
                        <a:ext uri="{FF2B5EF4-FFF2-40B4-BE49-F238E27FC236}">
                          <a16:creationId xmlns:a16="http://schemas.microsoft.com/office/drawing/2014/main" id="{ADC7A79F-37E2-E48C-7FDC-51C58044B20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32130" y="-1464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4" name="Freeform 5995">
                      <a:extLst>
                        <a:ext uri="{FF2B5EF4-FFF2-40B4-BE49-F238E27FC236}">
                          <a16:creationId xmlns:a16="http://schemas.microsoft.com/office/drawing/2014/main" id="{83806BFA-8B44-1759-4984-69F926715DE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63562" y="-149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0" name="Graphic 26">
                    <a:extLst>
                      <a:ext uri="{FF2B5EF4-FFF2-40B4-BE49-F238E27FC236}">
                        <a16:creationId xmlns:a16="http://schemas.microsoft.com/office/drawing/2014/main" id="{5DED1520-C60E-59AB-67C0-C09211B3D01F}"/>
                      </a:ext>
                    </a:extLst>
                  </p:cNvPr>
                  <p:cNvGrpSpPr/>
                  <p:nvPr/>
                </p:nvGrpSpPr>
                <p:grpSpPr>
                  <a:xfrm>
                    <a:off x="13289280" y="-1441150"/>
                    <a:ext cx="62865" cy="62700"/>
                    <a:chOff x="13289280" y="-1441150"/>
                    <a:chExt cx="62865" cy="62700"/>
                  </a:xfrm>
                </p:grpSpPr>
                <p:sp>
                  <p:nvSpPr>
                    <p:cNvPr id="2021" name="Freeform 5992">
                      <a:extLst>
                        <a:ext uri="{FF2B5EF4-FFF2-40B4-BE49-F238E27FC236}">
                          <a16:creationId xmlns:a16="http://schemas.microsoft.com/office/drawing/2014/main" id="{09B9D9AB-88C2-BA21-B683-218F383E5D0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89280" y="-1409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2" name="Freeform 5993">
                      <a:extLst>
                        <a:ext uri="{FF2B5EF4-FFF2-40B4-BE49-F238E27FC236}">
                          <a16:creationId xmlns:a16="http://schemas.microsoft.com/office/drawing/2014/main" id="{72538DFD-7550-AF7B-35E9-0846255F8F7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0712" y="-1441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1" name="Graphic 26">
                    <a:extLst>
                      <a:ext uri="{FF2B5EF4-FFF2-40B4-BE49-F238E27FC236}">
                        <a16:creationId xmlns:a16="http://schemas.microsoft.com/office/drawing/2014/main" id="{3C9D0C62-C113-A442-A26B-7F28F89E755F}"/>
                      </a:ext>
                    </a:extLst>
                  </p:cNvPr>
                  <p:cNvGrpSpPr/>
                  <p:nvPr/>
                </p:nvGrpSpPr>
                <p:grpSpPr>
                  <a:xfrm>
                    <a:off x="13296900" y="-1441150"/>
                    <a:ext cx="62865" cy="62700"/>
                    <a:chOff x="13296900" y="-1441150"/>
                    <a:chExt cx="62865" cy="62700"/>
                  </a:xfrm>
                </p:grpSpPr>
                <p:sp>
                  <p:nvSpPr>
                    <p:cNvPr id="2019" name="Freeform 5990">
                      <a:extLst>
                        <a:ext uri="{FF2B5EF4-FFF2-40B4-BE49-F238E27FC236}">
                          <a16:creationId xmlns:a16="http://schemas.microsoft.com/office/drawing/2014/main" id="{A64184FC-158E-1A89-69C3-10895F44CAD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296900" y="-1409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20" name="Freeform 5991">
                      <a:extLst>
                        <a:ext uri="{FF2B5EF4-FFF2-40B4-BE49-F238E27FC236}">
                          <a16:creationId xmlns:a16="http://schemas.microsoft.com/office/drawing/2014/main" id="{55E88327-ABFE-F0F6-0DB2-A9AB5E53DF4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28332" y="-1441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2" name="Graphic 26">
                    <a:extLst>
                      <a:ext uri="{FF2B5EF4-FFF2-40B4-BE49-F238E27FC236}">
                        <a16:creationId xmlns:a16="http://schemas.microsoft.com/office/drawing/2014/main" id="{557C453B-CEAB-4ED2-A847-16FC94FCF5E1}"/>
                      </a:ext>
                    </a:extLst>
                  </p:cNvPr>
                  <p:cNvGrpSpPr/>
                  <p:nvPr/>
                </p:nvGrpSpPr>
                <p:grpSpPr>
                  <a:xfrm>
                    <a:off x="13303567" y="-1442100"/>
                    <a:ext cx="63817" cy="62699"/>
                    <a:chOff x="13303567" y="-1442100"/>
                    <a:chExt cx="63817" cy="62699"/>
                  </a:xfrm>
                </p:grpSpPr>
                <p:sp>
                  <p:nvSpPr>
                    <p:cNvPr id="2017" name="Freeform 5988">
                      <a:extLst>
                        <a:ext uri="{FF2B5EF4-FFF2-40B4-BE49-F238E27FC236}">
                          <a16:creationId xmlns:a16="http://schemas.microsoft.com/office/drawing/2014/main" id="{B4647DF3-5058-146B-9BA7-ACBB3E3A49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03567" y="-14107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8" name="Freeform 5989">
                      <a:extLst>
                        <a:ext uri="{FF2B5EF4-FFF2-40B4-BE49-F238E27FC236}">
                          <a16:creationId xmlns:a16="http://schemas.microsoft.com/office/drawing/2014/main" id="{E554D0FD-3ADB-A9D2-B6AB-6EB30F8B4F1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5000" y="-14421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3" name="Graphic 26">
                    <a:extLst>
                      <a:ext uri="{FF2B5EF4-FFF2-40B4-BE49-F238E27FC236}">
                        <a16:creationId xmlns:a16="http://schemas.microsoft.com/office/drawing/2014/main" id="{FA4E41CE-82BD-BE86-93CD-785CD6DBDD4E}"/>
                      </a:ext>
                    </a:extLst>
                  </p:cNvPr>
                  <p:cNvGrpSpPr/>
                  <p:nvPr/>
                </p:nvGrpSpPr>
                <p:grpSpPr>
                  <a:xfrm>
                    <a:off x="13307377" y="-1442100"/>
                    <a:ext cx="62864" cy="62699"/>
                    <a:chOff x="13307377" y="-1442100"/>
                    <a:chExt cx="62864" cy="62699"/>
                  </a:xfrm>
                </p:grpSpPr>
                <p:sp>
                  <p:nvSpPr>
                    <p:cNvPr id="2015" name="Freeform 5986">
                      <a:extLst>
                        <a:ext uri="{FF2B5EF4-FFF2-40B4-BE49-F238E27FC236}">
                          <a16:creationId xmlns:a16="http://schemas.microsoft.com/office/drawing/2014/main" id="{AB48B1A7-99B8-5635-9DED-9CEDBF1BB4A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07377" y="-14107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6" name="Freeform 5987">
                      <a:extLst>
                        <a:ext uri="{FF2B5EF4-FFF2-40B4-BE49-F238E27FC236}">
                          <a16:creationId xmlns:a16="http://schemas.microsoft.com/office/drawing/2014/main" id="{30BA5888-D559-E3DC-0B87-5F34671776D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38810" y="-14421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4" name="Graphic 26">
                    <a:extLst>
                      <a:ext uri="{FF2B5EF4-FFF2-40B4-BE49-F238E27FC236}">
                        <a16:creationId xmlns:a16="http://schemas.microsoft.com/office/drawing/2014/main" id="{3C26C6AC-530E-F762-8020-567D465CF717}"/>
                      </a:ext>
                    </a:extLst>
                  </p:cNvPr>
                  <p:cNvGrpSpPr/>
                  <p:nvPr/>
                </p:nvGrpSpPr>
                <p:grpSpPr>
                  <a:xfrm>
                    <a:off x="13377862" y="-1382250"/>
                    <a:ext cx="62865" cy="62699"/>
                    <a:chOff x="13377862" y="-1382250"/>
                    <a:chExt cx="62865" cy="62699"/>
                  </a:xfrm>
                </p:grpSpPr>
                <p:sp>
                  <p:nvSpPr>
                    <p:cNvPr id="2013" name="Freeform 5984">
                      <a:extLst>
                        <a:ext uri="{FF2B5EF4-FFF2-40B4-BE49-F238E27FC236}">
                          <a16:creationId xmlns:a16="http://schemas.microsoft.com/office/drawing/2014/main" id="{5089F731-EAFC-BCCC-BA60-1C6B77A0DBC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377862" y="-1350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4" name="Freeform 5985">
                      <a:extLst>
                        <a:ext uri="{FF2B5EF4-FFF2-40B4-BE49-F238E27FC236}">
                          <a16:creationId xmlns:a16="http://schemas.microsoft.com/office/drawing/2014/main" id="{B5B4FF22-0881-E907-58F7-F1DE2E3136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09295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5" name="Graphic 26">
                    <a:extLst>
                      <a:ext uri="{FF2B5EF4-FFF2-40B4-BE49-F238E27FC236}">
                        <a16:creationId xmlns:a16="http://schemas.microsoft.com/office/drawing/2014/main" id="{063EC907-46B3-8103-9FB9-79095BC71657}"/>
                      </a:ext>
                    </a:extLst>
                  </p:cNvPr>
                  <p:cNvGrpSpPr/>
                  <p:nvPr/>
                </p:nvGrpSpPr>
                <p:grpSpPr>
                  <a:xfrm>
                    <a:off x="13462635" y="-1382250"/>
                    <a:ext cx="63817" cy="62699"/>
                    <a:chOff x="13462635" y="-1382250"/>
                    <a:chExt cx="63817" cy="62699"/>
                  </a:xfrm>
                </p:grpSpPr>
                <p:sp>
                  <p:nvSpPr>
                    <p:cNvPr id="2011" name="Freeform 5982">
                      <a:extLst>
                        <a:ext uri="{FF2B5EF4-FFF2-40B4-BE49-F238E27FC236}">
                          <a16:creationId xmlns:a16="http://schemas.microsoft.com/office/drawing/2014/main" id="{05076F07-716F-F6A9-9C2A-7005E4D9CFF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62635" y="-13509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2" name="Freeform 5983">
                      <a:extLst>
                        <a:ext uri="{FF2B5EF4-FFF2-40B4-BE49-F238E27FC236}">
                          <a16:creationId xmlns:a16="http://schemas.microsoft.com/office/drawing/2014/main" id="{EA38D34A-9D69-4891-3A62-C4C0F8C7B5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494067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6" name="Graphic 26">
                    <a:extLst>
                      <a:ext uri="{FF2B5EF4-FFF2-40B4-BE49-F238E27FC236}">
                        <a16:creationId xmlns:a16="http://schemas.microsoft.com/office/drawing/2014/main" id="{E1340AC2-5803-7682-A748-CB27904ED8CE}"/>
                      </a:ext>
                    </a:extLst>
                  </p:cNvPr>
                  <p:cNvGrpSpPr/>
                  <p:nvPr/>
                </p:nvGrpSpPr>
                <p:grpSpPr>
                  <a:xfrm>
                    <a:off x="13559790" y="-1382250"/>
                    <a:ext cx="62864" cy="62699"/>
                    <a:chOff x="13559790" y="-1382250"/>
                    <a:chExt cx="62864" cy="62699"/>
                  </a:xfrm>
                </p:grpSpPr>
                <p:sp>
                  <p:nvSpPr>
                    <p:cNvPr id="2009" name="Freeform 5980">
                      <a:extLst>
                        <a:ext uri="{FF2B5EF4-FFF2-40B4-BE49-F238E27FC236}">
                          <a16:creationId xmlns:a16="http://schemas.microsoft.com/office/drawing/2014/main" id="{E751BF4C-3C96-7596-7C51-23644388044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59790" y="-1350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10" name="Freeform 5981">
                      <a:extLst>
                        <a:ext uri="{FF2B5EF4-FFF2-40B4-BE49-F238E27FC236}">
                          <a16:creationId xmlns:a16="http://schemas.microsoft.com/office/drawing/2014/main" id="{FF3B8DF0-FB55-D9F9-890C-6C71BF292B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1222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7" name="Graphic 26">
                    <a:extLst>
                      <a:ext uri="{FF2B5EF4-FFF2-40B4-BE49-F238E27FC236}">
                        <a16:creationId xmlns:a16="http://schemas.microsoft.com/office/drawing/2014/main" id="{A1A7C186-EB70-E42F-9892-00DEAB874102}"/>
                      </a:ext>
                    </a:extLst>
                  </p:cNvPr>
                  <p:cNvGrpSpPr/>
                  <p:nvPr/>
                </p:nvGrpSpPr>
                <p:grpSpPr>
                  <a:xfrm>
                    <a:off x="13566457" y="-1382250"/>
                    <a:ext cx="62864" cy="62699"/>
                    <a:chOff x="13566457" y="-1382250"/>
                    <a:chExt cx="62864" cy="62699"/>
                  </a:xfrm>
                </p:grpSpPr>
                <p:sp>
                  <p:nvSpPr>
                    <p:cNvPr id="2007" name="Freeform 5978">
                      <a:extLst>
                        <a:ext uri="{FF2B5EF4-FFF2-40B4-BE49-F238E27FC236}">
                          <a16:creationId xmlns:a16="http://schemas.microsoft.com/office/drawing/2014/main" id="{3DF8B312-413B-7716-E356-67F3EDF839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66457" y="-13509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8" name="Freeform 5979">
                      <a:extLst>
                        <a:ext uri="{FF2B5EF4-FFF2-40B4-BE49-F238E27FC236}">
                          <a16:creationId xmlns:a16="http://schemas.microsoft.com/office/drawing/2014/main" id="{01DB4129-BAE4-D0C0-5C19-61BC8059EC8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7890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8" name="Graphic 26">
                    <a:extLst>
                      <a:ext uri="{FF2B5EF4-FFF2-40B4-BE49-F238E27FC236}">
                        <a16:creationId xmlns:a16="http://schemas.microsoft.com/office/drawing/2014/main" id="{CE3A8769-32DA-226D-0247-2E022078FC28}"/>
                      </a:ext>
                    </a:extLst>
                  </p:cNvPr>
                  <p:cNvGrpSpPr/>
                  <p:nvPr/>
                </p:nvGrpSpPr>
                <p:grpSpPr>
                  <a:xfrm>
                    <a:off x="13570267" y="-1382250"/>
                    <a:ext cx="62865" cy="62699"/>
                    <a:chOff x="13570267" y="-1382250"/>
                    <a:chExt cx="62865" cy="62699"/>
                  </a:xfrm>
                </p:grpSpPr>
                <p:sp>
                  <p:nvSpPr>
                    <p:cNvPr id="2005" name="Freeform 5976">
                      <a:extLst>
                        <a:ext uri="{FF2B5EF4-FFF2-40B4-BE49-F238E27FC236}">
                          <a16:creationId xmlns:a16="http://schemas.microsoft.com/office/drawing/2014/main" id="{35AEAF3D-4BFC-E493-46FB-39EE5421ED8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70267" y="-13509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6" name="Freeform 5977">
                      <a:extLst>
                        <a:ext uri="{FF2B5EF4-FFF2-40B4-BE49-F238E27FC236}">
                          <a16:creationId xmlns:a16="http://schemas.microsoft.com/office/drawing/2014/main" id="{F4933ABE-2A44-6ED6-7C8D-22882A394F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01700" y="-13822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19" name="Graphic 26">
                    <a:extLst>
                      <a:ext uri="{FF2B5EF4-FFF2-40B4-BE49-F238E27FC236}">
                        <a16:creationId xmlns:a16="http://schemas.microsoft.com/office/drawing/2014/main" id="{CA647D76-FC3A-3FF7-630F-7F48C8D19D23}"/>
                      </a:ext>
                    </a:extLst>
                  </p:cNvPr>
                  <p:cNvGrpSpPr/>
                  <p:nvPr/>
                </p:nvGrpSpPr>
                <p:grpSpPr>
                  <a:xfrm>
                    <a:off x="13580745" y="-1381300"/>
                    <a:ext cx="63817" cy="62700"/>
                    <a:chOff x="13580745" y="-1381300"/>
                    <a:chExt cx="63817" cy="62700"/>
                  </a:xfrm>
                </p:grpSpPr>
                <p:sp>
                  <p:nvSpPr>
                    <p:cNvPr id="2003" name="Freeform 5974">
                      <a:extLst>
                        <a:ext uri="{FF2B5EF4-FFF2-40B4-BE49-F238E27FC236}">
                          <a16:creationId xmlns:a16="http://schemas.microsoft.com/office/drawing/2014/main" id="{55C6DEE4-7F58-C466-964C-7C583F3FEEE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0745" y="-134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4" name="Freeform 5975">
                      <a:extLst>
                        <a:ext uri="{FF2B5EF4-FFF2-40B4-BE49-F238E27FC236}">
                          <a16:creationId xmlns:a16="http://schemas.microsoft.com/office/drawing/2014/main" id="{33C4929B-87FC-401C-EA58-4DA3B1EF1A1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13130" y="-138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0" name="Graphic 26">
                    <a:extLst>
                      <a:ext uri="{FF2B5EF4-FFF2-40B4-BE49-F238E27FC236}">
                        <a16:creationId xmlns:a16="http://schemas.microsoft.com/office/drawing/2014/main" id="{53041C8B-955D-696B-FB53-8D2B730796F8}"/>
                      </a:ext>
                    </a:extLst>
                  </p:cNvPr>
                  <p:cNvGrpSpPr/>
                  <p:nvPr/>
                </p:nvGrpSpPr>
                <p:grpSpPr>
                  <a:xfrm>
                    <a:off x="13586460" y="-1381300"/>
                    <a:ext cx="63817" cy="62700"/>
                    <a:chOff x="13586460" y="-1381300"/>
                    <a:chExt cx="63817" cy="62700"/>
                  </a:xfrm>
                </p:grpSpPr>
                <p:sp>
                  <p:nvSpPr>
                    <p:cNvPr id="2001" name="Freeform 5972">
                      <a:extLst>
                        <a:ext uri="{FF2B5EF4-FFF2-40B4-BE49-F238E27FC236}">
                          <a16:creationId xmlns:a16="http://schemas.microsoft.com/office/drawing/2014/main" id="{BBF8DF9F-A120-73B1-82BC-9E6054783E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86460" y="-134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2" name="Freeform 5973">
                      <a:extLst>
                        <a:ext uri="{FF2B5EF4-FFF2-40B4-BE49-F238E27FC236}">
                          <a16:creationId xmlns:a16="http://schemas.microsoft.com/office/drawing/2014/main" id="{1407CB01-5E9B-1776-D6C3-B9D8A993B10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17892" y="-138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1" name="Graphic 26">
                    <a:extLst>
                      <a:ext uri="{FF2B5EF4-FFF2-40B4-BE49-F238E27FC236}">
                        <a16:creationId xmlns:a16="http://schemas.microsoft.com/office/drawing/2014/main" id="{F80F925E-43D6-2379-27D3-5CF1FADDC93B}"/>
                      </a:ext>
                    </a:extLst>
                  </p:cNvPr>
                  <p:cNvGrpSpPr/>
                  <p:nvPr/>
                </p:nvGrpSpPr>
                <p:grpSpPr>
                  <a:xfrm>
                    <a:off x="13594080" y="-1381300"/>
                    <a:ext cx="63817" cy="62700"/>
                    <a:chOff x="13594080" y="-1381300"/>
                    <a:chExt cx="63817" cy="62700"/>
                  </a:xfrm>
                </p:grpSpPr>
                <p:sp>
                  <p:nvSpPr>
                    <p:cNvPr id="1999" name="Freeform 5970">
                      <a:extLst>
                        <a:ext uri="{FF2B5EF4-FFF2-40B4-BE49-F238E27FC236}">
                          <a16:creationId xmlns:a16="http://schemas.microsoft.com/office/drawing/2014/main" id="{57BBD6ED-88EE-747C-A05C-F158287909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594080" y="-1349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2000" name="Freeform 5971">
                      <a:extLst>
                        <a:ext uri="{FF2B5EF4-FFF2-40B4-BE49-F238E27FC236}">
                          <a16:creationId xmlns:a16="http://schemas.microsoft.com/office/drawing/2014/main" id="{ED1D58E6-0287-9C4E-549F-445D953EF9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26465" y="-13813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2" name="Graphic 26">
                    <a:extLst>
                      <a:ext uri="{FF2B5EF4-FFF2-40B4-BE49-F238E27FC236}">
                        <a16:creationId xmlns:a16="http://schemas.microsoft.com/office/drawing/2014/main" id="{68FF37C0-6DE0-28D3-7C49-6159026B038F}"/>
                      </a:ext>
                    </a:extLst>
                  </p:cNvPr>
                  <p:cNvGrpSpPr/>
                  <p:nvPr/>
                </p:nvGrpSpPr>
                <p:grpSpPr>
                  <a:xfrm>
                    <a:off x="13666470" y="-1363250"/>
                    <a:ext cx="62864" cy="63650"/>
                    <a:chOff x="13666470" y="-1363250"/>
                    <a:chExt cx="62864" cy="63650"/>
                  </a:xfrm>
                </p:grpSpPr>
                <p:sp>
                  <p:nvSpPr>
                    <p:cNvPr id="1997" name="Freeform 5968">
                      <a:extLst>
                        <a:ext uri="{FF2B5EF4-FFF2-40B4-BE49-F238E27FC236}">
                          <a16:creationId xmlns:a16="http://schemas.microsoft.com/office/drawing/2014/main" id="{ACAA4BDB-96E3-848B-FF27-2EC508EECC1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66470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8" name="Freeform 5969">
                      <a:extLst>
                        <a:ext uri="{FF2B5EF4-FFF2-40B4-BE49-F238E27FC236}">
                          <a16:creationId xmlns:a16="http://schemas.microsoft.com/office/drawing/2014/main" id="{C8E42369-ACD1-6C4E-62EC-BAD74EEFF7F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9790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3" name="Graphic 26">
                    <a:extLst>
                      <a:ext uri="{FF2B5EF4-FFF2-40B4-BE49-F238E27FC236}">
                        <a16:creationId xmlns:a16="http://schemas.microsoft.com/office/drawing/2014/main" id="{D00005EE-F344-2977-0A45-128EF2A43086}"/>
                      </a:ext>
                    </a:extLst>
                  </p:cNvPr>
                  <p:cNvGrpSpPr/>
                  <p:nvPr/>
                </p:nvGrpSpPr>
                <p:grpSpPr>
                  <a:xfrm>
                    <a:off x="13673137" y="-1363250"/>
                    <a:ext cx="62865" cy="63650"/>
                    <a:chOff x="13673137" y="-1363250"/>
                    <a:chExt cx="62865" cy="63650"/>
                  </a:xfrm>
                </p:grpSpPr>
                <p:sp>
                  <p:nvSpPr>
                    <p:cNvPr id="1995" name="Freeform 5966">
                      <a:extLst>
                        <a:ext uri="{FF2B5EF4-FFF2-40B4-BE49-F238E27FC236}">
                          <a16:creationId xmlns:a16="http://schemas.microsoft.com/office/drawing/2014/main" id="{628AA9C4-47F5-A35D-0835-98136AF7859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73137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6" name="Freeform 5967">
                      <a:extLst>
                        <a:ext uri="{FF2B5EF4-FFF2-40B4-BE49-F238E27FC236}">
                          <a16:creationId xmlns:a16="http://schemas.microsoft.com/office/drawing/2014/main" id="{C682FA5B-D123-1B9A-4E51-0AD5E640C29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04570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4" name="Graphic 26">
                    <a:extLst>
                      <a:ext uri="{FF2B5EF4-FFF2-40B4-BE49-F238E27FC236}">
                        <a16:creationId xmlns:a16="http://schemas.microsoft.com/office/drawing/2014/main" id="{59E91F8C-2929-ACC0-DE62-0F20CC5D6F90}"/>
                      </a:ext>
                    </a:extLst>
                  </p:cNvPr>
                  <p:cNvGrpSpPr/>
                  <p:nvPr/>
                </p:nvGrpSpPr>
                <p:grpSpPr>
                  <a:xfrm>
                    <a:off x="13686472" y="-1363250"/>
                    <a:ext cx="62865" cy="63650"/>
                    <a:chOff x="13686472" y="-1363250"/>
                    <a:chExt cx="62865" cy="63650"/>
                  </a:xfrm>
                </p:grpSpPr>
                <p:sp>
                  <p:nvSpPr>
                    <p:cNvPr id="1993" name="Freeform 5964">
                      <a:extLst>
                        <a:ext uri="{FF2B5EF4-FFF2-40B4-BE49-F238E27FC236}">
                          <a16:creationId xmlns:a16="http://schemas.microsoft.com/office/drawing/2014/main" id="{C52C37F3-8D9C-7B15-52A4-F40785C4E0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86472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4" name="Freeform 5965">
                      <a:extLst>
                        <a:ext uri="{FF2B5EF4-FFF2-40B4-BE49-F238E27FC236}">
                          <a16:creationId xmlns:a16="http://schemas.microsoft.com/office/drawing/2014/main" id="{A2CDC120-3FD1-19A7-F0CA-A053D6DA55C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17905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5" name="Graphic 26">
                    <a:extLst>
                      <a:ext uri="{FF2B5EF4-FFF2-40B4-BE49-F238E27FC236}">
                        <a16:creationId xmlns:a16="http://schemas.microsoft.com/office/drawing/2014/main" id="{952F87D3-15E4-BB28-1225-EDF10BB7134B}"/>
                      </a:ext>
                    </a:extLst>
                  </p:cNvPr>
                  <p:cNvGrpSpPr/>
                  <p:nvPr/>
                </p:nvGrpSpPr>
                <p:grpSpPr>
                  <a:xfrm>
                    <a:off x="13691235" y="-1363250"/>
                    <a:ext cx="62865" cy="63650"/>
                    <a:chOff x="13691235" y="-1363250"/>
                    <a:chExt cx="62865" cy="63650"/>
                  </a:xfrm>
                </p:grpSpPr>
                <p:sp>
                  <p:nvSpPr>
                    <p:cNvPr id="1991" name="Freeform 5962">
                      <a:extLst>
                        <a:ext uri="{FF2B5EF4-FFF2-40B4-BE49-F238E27FC236}">
                          <a16:creationId xmlns:a16="http://schemas.microsoft.com/office/drawing/2014/main" id="{B98A6D62-6407-7E90-7046-E7CDE563F66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691235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2" name="Freeform 5963">
                      <a:extLst>
                        <a:ext uri="{FF2B5EF4-FFF2-40B4-BE49-F238E27FC236}">
                          <a16:creationId xmlns:a16="http://schemas.microsoft.com/office/drawing/2014/main" id="{A182006A-841A-3150-861F-713791B4A40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2667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6" name="Graphic 26">
                    <a:extLst>
                      <a:ext uri="{FF2B5EF4-FFF2-40B4-BE49-F238E27FC236}">
                        <a16:creationId xmlns:a16="http://schemas.microsoft.com/office/drawing/2014/main" id="{D6EB5B4B-F1C7-3556-8218-AC0A62F10022}"/>
                      </a:ext>
                    </a:extLst>
                  </p:cNvPr>
                  <p:cNvGrpSpPr/>
                  <p:nvPr/>
                </p:nvGrpSpPr>
                <p:grpSpPr>
                  <a:xfrm>
                    <a:off x="13723620" y="-1363250"/>
                    <a:ext cx="62864" cy="63650"/>
                    <a:chOff x="13723620" y="-1363250"/>
                    <a:chExt cx="62864" cy="63650"/>
                  </a:xfrm>
                </p:grpSpPr>
                <p:sp>
                  <p:nvSpPr>
                    <p:cNvPr id="1989" name="Freeform 5960">
                      <a:extLst>
                        <a:ext uri="{FF2B5EF4-FFF2-40B4-BE49-F238E27FC236}">
                          <a16:creationId xmlns:a16="http://schemas.microsoft.com/office/drawing/2014/main" id="{279DDCC9-0DB1-3BE9-2B05-1E1669A6D7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23620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90" name="Freeform 5961">
                      <a:extLst>
                        <a:ext uri="{FF2B5EF4-FFF2-40B4-BE49-F238E27FC236}">
                          <a16:creationId xmlns:a16="http://schemas.microsoft.com/office/drawing/2014/main" id="{A8E85FF4-173E-A0A4-0F10-46CA4D8696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505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7" name="Graphic 26">
                    <a:extLst>
                      <a:ext uri="{FF2B5EF4-FFF2-40B4-BE49-F238E27FC236}">
                        <a16:creationId xmlns:a16="http://schemas.microsoft.com/office/drawing/2014/main" id="{AE9F812A-83ED-4148-7472-F83CEA098F02}"/>
                      </a:ext>
                    </a:extLst>
                  </p:cNvPr>
                  <p:cNvGrpSpPr/>
                  <p:nvPr/>
                </p:nvGrpSpPr>
                <p:grpSpPr>
                  <a:xfrm>
                    <a:off x="13747432" y="-1363250"/>
                    <a:ext cx="62864" cy="63650"/>
                    <a:chOff x="13747432" y="-1363250"/>
                    <a:chExt cx="62864" cy="63650"/>
                  </a:xfrm>
                </p:grpSpPr>
                <p:sp>
                  <p:nvSpPr>
                    <p:cNvPr id="1987" name="Freeform 5958">
                      <a:extLst>
                        <a:ext uri="{FF2B5EF4-FFF2-40B4-BE49-F238E27FC236}">
                          <a16:creationId xmlns:a16="http://schemas.microsoft.com/office/drawing/2014/main" id="{2470A49D-F4D3-2CFA-7816-5712C77BFE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47432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8" name="Freeform 5959">
                      <a:extLst>
                        <a:ext uri="{FF2B5EF4-FFF2-40B4-BE49-F238E27FC236}">
                          <a16:creationId xmlns:a16="http://schemas.microsoft.com/office/drawing/2014/main" id="{477574A0-9351-6850-C55A-20B96C5EC5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78865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8" name="Graphic 26">
                    <a:extLst>
                      <a:ext uri="{FF2B5EF4-FFF2-40B4-BE49-F238E27FC236}">
                        <a16:creationId xmlns:a16="http://schemas.microsoft.com/office/drawing/2014/main" id="{DDFCD92D-2B01-CE66-4CBC-BBA1BF25A07F}"/>
                      </a:ext>
                    </a:extLst>
                  </p:cNvPr>
                  <p:cNvGrpSpPr/>
                  <p:nvPr/>
                </p:nvGrpSpPr>
                <p:grpSpPr>
                  <a:xfrm>
                    <a:off x="13756005" y="-1363250"/>
                    <a:ext cx="63817" cy="63650"/>
                    <a:chOff x="13756005" y="-1363250"/>
                    <a:chExt cx="63817" cy="63650"/>
                  </a:xfrm>
                </p:grpSpPr>
                <p:sp>
                  <p:nvSpPr>
                    <p:cNvPr id="1985" name="Freeform 5956">
                      <a:extLst>
                        <a:ext uri="{FF2B5EF4-FFF2-40B4-BE49-F238E27FC236}">
                          <a16:creationId xmlns:a16="http://schemas.microsoft.com/office/drawing/2014/main" id="{80700AD5-20BF-1260-89CF-6AD0F01B4CA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6005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6" name="Freeform 5957">
                      <a:extLst>
                        <a:ext uri="{FF2B5EF4-FFF2-40B4-BE49-F238E27FC236}">
                          <a16:creationId xmlns:a16="http://schemas.microsoft.com/office/drawing/2014/main" id="{760F016A-9CC5-5E9E-7387-8A95152B8F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88390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29" name="Graphic 26">
                    <a:extLst>
                      <a:ext uri="{FF2B5EF4-FFF2-40B4-BE49-F238E27FC236}">
                        <a16:creationId xmlns:a16="http://schemas.microsoft.com/office/drawing/2014/main" id="{99BBF359-CFEA-A7F6-73CA-93625F20A65E}"/>
                      </a:ext>
                    </a:extLst>
                  </p:cNvPr>
                  <p:cNvGrpSpPr/>
                  <p:nvPr/>
                </p:nvGrpSpPr>
                <p:grpSpPr>
                  <a:xfrm>
                    <a:off x="13759815" y="-1363250"/>
                    <a:ext cx="63817" cy="63650"/>
                    <a:chOff x="13759815" y="-1363250"/>
                    <a:chExt cx="63817" cy="63650"/>
                  </a:xfrm>
                </p:grpSpPr>
                <p:sp>
                  <p:nvSpPr>
                    <p:cNvPr id="1983" name="Freeform 5954">
                      <a:extLst>
                        <a:ext uri="{FF2B5EF4-FFF2-40B4-BE49-F238E27FC236}">
                          <a16:creationId xmlns:a16="http://schemas.microsoft.com/office/drawing/2014/main" id="{D1E5CA2E-E950-3135-8ED0-5CA6F352EA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59815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4" name="Freeform 5955">
                      <a:extLst>
                        <a:ext uri="{FF2B5EF4-FFF2-40B4-BE49-F238E27FC236}">
                          <a16:creationId xmlns:a16="http://schemas.microsoft.com/office/drawing/2014/main" id="{DAE981C9-DAE7-5EDD-BB35-8CDD7C42C7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1247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0" name="Graphic 26">
                    <a:extLst>
                      <a:ext uri="{FF2B5EF4-FFF2-40B4-BE49-F238E27FC236}">
                        <a16:creationId xmlns:a16="http://schemas.microsoft.com/office/drawing/2014/main" id="{B094B6E2-9E8F-EE2D-C0C1-B7B9C2C82CA0}"/>
                      </a:ext>
                    </a:extLst>
                  </p:cNvPr>
                  <p:cNvGrpSpPr/>
                  <p:nvPr/>
                </p:nvGrpSpPr>
                <p:grpSpPr>
                  <a:xfrm>
                    <a:off x="13763625" y="-1363250"/>
                    <a:ext cx="63817" cy="63650"/>
                    <a:chOff x="13763625" y="-1363250"/>
                    <a:chExt cx="63817" cy="63650"/>
                  </a:xfrm>
                </p:grpSpPr>
                <p:sp>
                  <p:nvSpPr>
                    <p:cNvPr id="1981" name="Freeform 5952">
                      <a:extLst>
                        <a:ext uri="{FF2B5EF4-FFF2-40B4-BE49-F238E27FC236}">
                          <a16:creationId xmlns:a16="http://schemas.microsoft.com/office/drawing/2014/main" id="{3C503D0F-C4A1-BB16-98C8-9B11F34795B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63625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2" name="Freeform 5953">
                      <a:extLst>
                        <a:ext uri="{FF2B5EF4-FFF2-40B4-BE49-F238E27FC236}">
                          <a16:creationId xmlns:a16="http://schemas.microsoft.com/office/drawing/2014/main" id="{F955BBAC-4CC0-DB22-74C2-B19088119A4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6010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1" name="Graphic 26">
                    <a:extLst>
                      <a:ext uri="{FF2B5EF4-FFF2-40B4-BE49-F238E27FC236}">
                        <a16:creationId xmlns:a16="http://schemas.microsoft.com/office/drawing/2014/main" id="{41F05272-7960-A920-C2D9-2673D21B4E54}"/>
                      </a:ext>
                    </a:extLst>
                  </p:cNvPr>
                  <p:cNvGrpSpPr/>
                  <p:nvPr/>
                </p:nvGrpSpPr>
                <p:grpSpPr>
                  <a:xfrm>
                    <a:off x="13780770" y="-1363250"/>
                    <a:ext cx="62864" cy="63650"/>
                    <a:chOff x="13780770" y="-1363250"/>
                    <a:chExt cx="62864" cy="63650"/>
                  </a:xfrm>
                </p:grpSpPr>
                <p:sp>
                  <p:nvSpPr>
                    <p:cNvPr id="1979" name="Freeform 5950">
                      <a:extLst>
                        <a:ext uri="{FF2B5EF4-FFF2-40B4-BE49-F238E27FC236}">
                          <a16:creationId xmlns:a16="http://schemas.microsoft.com/office/drawing/2014/main" id="{37F4FC0D-5AEE-E0D4-746C-052C84B142D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80770" y="-13309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80" name="Freeform 5951">
                      <a:extLst>
                        <a:ext uri="{FF2B5EF4-FFF2-40B4-BE49-F238E27FC236}">
                          <a16:creationId xmlns:a16="http://schemas.microsoft.com/office/drawing/2014/main" id="{EC27A5DF-0A76-096D-4808-A1F8E1B3851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1220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2" name="Graphic 26">
                    <a:extLst>
                      <a:ext uri="{FF2B5EF4-FFF2-40B4-BE49-F238E27FC236}">
                        <a16:creationId xmlns:a16="http://schemas.microsoft.com/office/drawing/2014/main" id="{862F07B5-3EDB-5F0D-BA78-B28F7AA32614}"/>
                      </a:ext>
                    </a:extLst>
                  </p:cNvPr>
                  <p:cNvGrpSpPr/>
                  <p:nvPr/>
                </p:nvGrpSpPr>
                <p:grpSpPr>
                  <a:xfrm>
                    <a:off x="13792200" y="-1363250"/>
                    <a:ext cx="63817" cy="63650"/>
                    <a:chOff x="13792200" y="-1363250"/>
                    <a:chExt cx="63817" cy="63650"/>
                  </a:xfrm>
                </p:grpSpPr>
                <p:sp>
                  <p:nvSpPr>
                    <p:cNvPr id="1977" name="Freeform 5948">
                      <a:extLst>
                        <a:ext uri="{FF2B5EF4-FFF2-40B4-BE49-F238E27FC236}">
                          <a16:creationId xmlns:a16="http://schemas.microsoft.com/office/drawing/2014/main" id="{5E7A888F-33C3-B0B2-47CA-5896B28B164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2200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8" name="Freeform 5949">
                      <a:extLst>
                        <a:ext uri="{FF2B5EF4-FFF2-40B4-BE49-F238E27FC236}">
                          <a16:creationId xmlns:a16="http://schemas.microsoft.com/office/drawing/2014/main" id="{DE51AA3E-1808-D504-FA7D-3007534E0E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363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3" name="Graphic 26">
                    <a:extLst>
                      <a:ext uri="{FF2B5EF4-FFF2-40B4-BE49-F238E27FC236}">
                        <a16:creationId xmlns:a16="http://schemas.microsoft.com/office/drawing/2014/main" id="{DE3EB75B-1A09-8C05-7565-B4E48243AA6A}"/>
                      </a:ext>
                    </a:extLst>
                  </p:cNvPr>
                  <p:cNvGrpSpPr/>
                  <p:nvPr/>
                </p:nvGrpSpPr>
                <p:grpSpPr>
                  <a:xfrm>
                    <a:off x="13796962" y="-1363250"/>
                    <a:ext cx="62865" cy="63650"/>
                    <a:chOff x="13796962" y="-1363250"/>
                    <a:chExt cx="62865" cy="63650"/>
                  </a:xfrm>
                </p:grpSpPr>
                <p:sp>
                  <p:nvSpPr>
                    <p:cNvPr id="1975" name="Freeform 5946">
                      <a:extLst>
                        <a:ext uri="{FF2B5EF4-FFF2-40B4-BE49-F238E27FC236}">
                          <a16:creationId xmlns:a16="http://schemas.microsoft.com/office/drawing/2014/main" id="{4D826771-259F-4D38-9F7E-25C2C6E9A51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796962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6" name="Freeform 5947">
                      <a:extLst>
                        <a:ext uri="{FF2B5EF4-FFF2-40B4-BE49-F238E27FC236}">
                          <a16:creationId xmlns:a16="http://schemas.microsoft.com/office/drawing/2014/main" id="{998D8105-E045-295A-6B1B-ECAC6D3313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8395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4" name="Graphic 26">
                    <a:extLst>
                      <a:ext uri="{FF2B5EF4-FFF2-40B4-BE49-F238E27FC236}">
                        <a16:creationId xmlns:a16="http://schemas.microsoft.com/office/drawing/2014/main" id="{E446F7B7-EEF7-C47C-050B-59616B1497EE}"/>
                      </a:ext>
                    </a:extLst>
                  </p:cNvPr>
                  <p:cNvGrpSpPr/>
                  <p:nvPr/>
                </p:nvGrpSpPr>
                <p:grpSpPr>
                  <a:xfrm>
                    <a:off x="13820775" y="-1363250"/>
                    <a:ext cx="62865" cy="63650"/>
                    <a:chOff x="13820775" y="-1363250"/>
                    <a:chExt cx="62865" cy="63650"/>
                  </a:xfrm>
                </p:grpSpPr>
                <p:sp>
                  <p:nvSpPr>
                    <p:cNvPr id="1973" name="Freeform 5944">
                      <a:extLst>
                        <a:ext uri="{FF2B5EF4-FFF2-40B4-BE49-F238E27FC236}">
                          <a16:creationId xmlns:a16="http://schemas.microsoft.com/office/drawing/2014/main" id="{829B2C46-95F6-0807-4FFC-23E241A47C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20775" y="-1330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4" name="Freeform 5945">
                      <a:extLst>
                        <a:ext uri="{FF2B5EF4-FFF2-40B4-BE49-F238E27FC236}">
                          <a16:creationId xmlns:a16="http://schemas.microsoft.com/office/drawing/2014/main" id="{22DB44D9-F8D5-CB03-5EC6-ADC7C345A92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852207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5" name="Graphic 26">
                    <a:extLst>
                      <a:ext uri="{FF2B5EF4-FFF2-40B4-BE49-F238E27FC236}">
                        <a16:creationId xmlns:a16="http://schemas.microsoft.com/office/drawing/2014/main" id="{E307E47E-39A6-AB0B-C98E-0BDC88D8C4D5}"/>
                      </a:ext>
                    </a:extLst>
                  </p:cNvPr>
                  <p:cNvGrpSpPr/>
                  <p:nvPr/>
                </p:nvGrpSpPr>
                <p:grpSpPr>
                  <a:xfrm>
                    <a:off x="13902690" y="-1363250"/>
                    <a:ext cx="63817" cy="63650"/>
                    <a:chOff x="13902690" y="-1363250"/>
                    <a:chExt cx="63817" cy="63650"/>
                  </a:xfrm>
                </p:grpSpPr>
                <p:sp>
                  <p:nvSpPr>
                    <p:cNvPr id="1971" name="Freeform 5942">
                      <a:extLst>
                        <a:ext uri="{FF2B5EF4-FFF2-40B4-BE49-F238E27FC236}">
                          <a16:creationId xmlns:a16="http://schemas.microsoft.com/office/drawing/2014/main" id="{E818BC03-4D84-FB15-CA51-02E1C3DB111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02690" y="-1330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2" name="Freeform 5943">
                      <a:extLst>
                        <a:ext uri="{FF2B5EF4-FFF2-40B4-BE49-F238E27FC236}">
                          <a16:creationId xmlns:a16="http://schemas.microsoft.com/office/drawing/2014/main" id="{4F74965E-9EDB-63CA-16CD-AEB1DF742C9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4122" y="-1363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6" name="Graphic 26">
                    <a:extLst>
                      <a:ext uri="{FF2B5EF4-FFF2-40B4-BE49-F238E27FC236}">
                        <a16:creationId xmlns:a16="http://schemas.microsoft.com/office/drawing/2014/main" id="{FE8083B9-6907-25F2-EBDA-2EC28489BFCE}"/>
                      </a:ext>
                    </a:extLst>
                  </p:cNvPr>
                  <p:cNvGrpSpPr/>
                  <p:nvPr/>
                </p:nvGrpSpPr>
                <p:grpSpPr>
                  <a:xfrm>
                    <a:off x="13935075" y="-1331900"/>
                    <a:ext cx="63817" cy="62700"/>
                    <a:chOff x="13935075" y="-1331900"/>
                    <a:chExt cx="63817" cy="62700"/>
                  </a:xfrm>
                </p:grpSpPr>
                <p:sp>
                  <p:nvSpPr>
                    <p:cNvPr id="1969" name="Freeform 5940">
                      <a:extLst>
                        <a:ext uri="{FF2B5EF4-FFF2-40B4-BE49-F238E27FC236}">
                          <a16:creationId xmlns:a16="http://schemas.microsoft.com/office/drawing/2014/main" id="{2300535B-982F-3ED4-D814-5C3C53230C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35075" y="-1300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70" name="Freeform 5941">
                      <a:extLst>
                        <a:ext uri="{FF2B5EF4-FFF2-40B4-BE49-F238E27FC236}">
                          <a16:creationId xmlns:a16="http://schemas.microsoft.com/office/drawing/2014/main" id="{C741CDF5-7BD3-14FF-7A00-B2FAD232050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66507" y="-1331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7" name="Graphic 26">
                    <a:extLst>
                      <a:ext uri="{FF2B5EF4-FFF2-40B4-BE49-F238E27FC236}">
                        <a16:creationId xmlns:a16="http://schemas.microsoft.com/office/drawing/2014/main" id="{B4DDCEF5-C927-AC98-4DF8-C873736BB037}"/>
                      </a:ext>
                    </a:extLst>
                  </p:cNvPr>
                  <p:cNvGrpSpPr/>
                  <p:nvPr/>
                </p:nvGrpSpPr>
                <p:grpSpPr>
                  <a:xfrm>
                    <a:off x="13942695" y="-1331900"/>
                    <a:ext cx="62864" cy="62700"/>
                    <a:chOff x="13942695" y="-1331900"/>
                    <a:chExt cx="62864" cy="62700"/>
                  </a:xfrm>
                </p:grpSpPr>
                <p:sp>
                  <p:nvSpPr>
                    <p:cNvPr id="1967" name="Freeform 5938">
                      <a:extLst>
                        <a:ext uri="{FF2B5EF4-FFF2-40B4-BE49-F238E27FC236}">
                          <a16:creationId xmlns:a16="http://schemas.microsoft.com/office/drawing/2014/main" id="{6E739F52-A908-1C9C-52D8-2150D455FA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42695" y="-13005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8" name="Freeform 5939">
                      <a:extLst>
                        <a:ext uri="{FF2B5EF4-FFF2-40B4-BE49-F238E27FC236}">
                          <a16:creationId xmlns:a16="http://schemas.microsoft.com/office/drawing/2014/main" id="{D2249650-0C43-56E2-728F-1AA0BEAD40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74127" y="-1331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8" name="Graphic 26">
                    <a:extLst>
                      <a:ext uri="{FF2B5EF4-FFF2-40B4-BE49-F238E27FC236}">
                        <a16:creationId xmlns:a16="http://schemas.microsoft.com/office/drawing/2014/main" id="{5AFCE031-999C-35F7-2A52-E2D3B527F23C}"/>
                      </a:ext>
                    </a:extLst>
                  </p:cNvPr>
                  <p:cNvGrpSpPr/>
                  <p:nvPr/>
                </p:nvGrpSpPr>
                <p:grpSpPr>
                  <a:xfrm>
                    <a:off x="13990320" y="-1331900"/>
                    <a:ext cx="63817" cy="62700"/>
                    <a:chOff x="13990320" y="-1331900"/>
                    <a:chExt cx="63817" cy="62700"/>
                  </a:xfrm>
                </p:grpSpPr>
                <p:sp>
                  <p:nvSpPr>
                    <p:cNvPr id="1965" name="Freeform 5936">
                      <a:extLst>
                        <a:ext uri="{FF2B5EF4-FFF2-40B4-BE49-F238E27FC236}">
                          <a16:creationId xmlns:a16="http://schemas.microsoft.com/office/drawing/2014/main" id="{C0A679EB-A5B0-21AC-6E21-6B8557D3814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3990320" y="-1300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6" name="Freeform 5937">
                      <a:extLst>
                        <a:ext uri="{FF2B5EF4-FFF2-40B4-BE49-F238E27FC236}">
                          <a16:creationId xmlns:a16="http://schemas.microsoft.com/office/drawing/2014/main" id="{FDDBF884-445C-BE96-88A4-D0414FEBAB7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22705" y="-13319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39" name="Graphic 26">
                    <a:extLst>
                      <a:ext uri="{FF2B5EF4-FFF2-40B4-BE49-F238E27FC236}">
                        <a16:creationId xmlns:a16="http://schemas.microsoft.com/office/drawing/2014/main" id="{751EDFA4-43B2-0334-DC98-475EFA963E97}"/>
                      </a:ext>
                    </a:extLst>
                  </p:cNvPr>
                  <p:cNvGrpSpPr/>
                  <p:nvPr/>
                </p:nvGrpSpPr>
                <p:grpSpPr>
                  <a:xfrm>
                    <a:off x="14033182" y="-1306250"/>
                    <a:ext cx="63817" cy="63650"/>
                    <a:chOff x="14033182" y="-1306250"/>
                    <a:chExt cx="63817" cy="63650"/>
                  </a:xfrm>
                </p:grpSpPr>
                <p:sp>
                  <p:nvSpPr>
                    <p:cNvPr id="1963" name="Freeform 5934">
                      <a:extLst>
                        <a:ext uri="{FF2B5EF4-FFF2-40B4-BE49-F238E27FC236}">
                          <a16:creationId xmlns:a16="http://schemas.microsoft.com/office/drawing/2014/main" id="{1148D0D5-3463-349A-8B20-BF83D4DDE13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33182" y="-12739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4" name="Freeform 5935">
                      <a:extLst>
                        <a:ext uri="{FF2B5EF4-FFF2-40B4-BE49-F238E27FC236}">
                          <a16:creationId xmlns:a16="http://schemas.microsoft.com/office/drawing/2014/main" id="{7F6F2972-8ED9-95C6-BC12-5A88466563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65567" y="-130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0" name="Graphic 26">
                    <a:extLst>
                      <a:ext uri="{FF2B5EF4-FFF2-40B4-BE49-F238E27FC236}">
                        <a16:creationId xmlns:a16="http://schemas.microsoft.com/office/drawing/2014/main" id="{289FF829-F489-4553-FB24-DA92D7B72E43}"/>
                      </a:ext>
                    </a:extLst>
                  </p:cNvPr>
                  <p:cNvGrpSpPr/>
                  <p:nvPr/>
                </p:nvGrpSpPr>
                <p:grpSpPr>
                  <a:xfrm>
                    <a:off x="14037945" y="-1306250"/>
                    <a:ext cx="62865" cy="63650"/>
                    <a:chOff x="14037945" y="-1306250"/>
                    <a:chExt cx="62865" cy="63650"/>
                  </a:xfrm>
                </p:grpSpPr>
                <p:sp>
                  <p:nvSpPr>
                    <p:cNvPr id="1961" name="Freeform 5932">
                      <a:extLst>
                        <a:ext uri="{FF2B5EF4-FFF2-40B4-BE49-F238E27FC236}">
                          <a16:creationId xmlns:a16="http://schemas.microsoft.com/office/drawing/2014/main" id="{1A389DE5-7176-54F1-D412-FD3917B34A7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37945" y="-1273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2" name="Freeform 5933">
                      <a:extLst>
                        <a:ext uri="{FF2B5EF4-FFF2-40B4-BE49-F238E27FC236}">
                          <a16:creationId xmlns:a16="http://schemas.microsoft.com/office/drawing/2014/main" id="{8DD62DCA-05D2-1368-14BB-0DEEE7A84CF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69377" y="-130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1" name="Graphic 26">
                    <a:extLst>
                      <a:ext uri="{FF2B5EF4-FFF2-40B4-BE49-F238E27FC236}">
                        <a16:creationId xmlns:a16="http://schemas.microsoft.com/office/drawing/2014/main" id="{60A97ADD-3144-EF0C-DE03-C704E4340DCE}"/>
                      </a:ext>
                    </a:extLst>
                  </p:cNvPr>
                  <p:cNvGrpSpPr/>
                  <p:nvPr/>
                </p:nvGrpSpPr>
                <p:grpSpPr>
                  <a:xfrm>
                    <a:off x="14042707" y="-1306250"/>
                    <a:ext cx="62865" cy="63650"/>
                    <a:chOff x="14042707" y="-1306250"/>
                    <a:chExt cx="62865" cy="63650"/>
                  </a:xfrm>
                </p:grpSpPr>
                <p:sp>
                  <p:nvSpPr>
                    <p:cNvPr id="1959" name="Freeform 5930">
                      <a:extLst>
                        <a:ext uri="{FF2B5EF4-FFF2-40B4-BE49-F238E27FC236}">
                          <a16:creationId xmlns:a16="http://schemas.microsoft.com/office/drawing/2014/main" id="{8357FADA-0794-F2CB-347D-F9AEB826316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42707" y="-12739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60" name="Freeform 5931">
                      <a:extLst>
                        <a:ext uri="{FF2B5EF4-FFF2-40B4-BE49-F238E27FC236}">
                          <a16:creationId xmlns:a16="http://schemas.microsoft.com/office/drawing/2014/main" id="{81D5EE4B-5134-1B20-C65B-D4DF27FD3BA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074140" y="-1306250"/>
                      <a:ext cx="9525" cy="63650"/>
                    </a:xfrm>
                    <a:custGeom>
                      <a:avLst/>
                      <a:gdLst>
                        <a:gd name="connsiteX0" fmla="*/ 0 w 9525"/>
                        <a:gd name="connsiteY0" fmla="*/ 63650 h 63650"/>
                        <a:gd name="connsiteX1" fmla="*/ 0 w 9525"/>
                        <a:gd name="connsiteY1" fmla="*/ 0 h 6365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3650">
                          <a:moveTo>
                            <a:pt x="0" y="6365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2" name="Graphic 26">
                    <a:extLst>
                      <a:ext uri="{FF2B5EF4-FFF2-40B4-BE49-F238E27FC236}">
                        <a16:creationId xmlns:a16="http://schemas.microsoft.com/office/drawing/2014/main" id="{929AE79D-4A47-AA6A-AAE5-58B656740D5E}"/>
                      </a:ext>
                    </a:extLst>
                  </p:cNvPr>
                  <p:cNvGrpSpPr/>
                  <p:nvPr/>
                </p:nvGrpSpPr>
                <p:grpSpPr>
                  <a:xfrm>
                    <a:off x="14115097" y="-1270150"/>
                    <a:ext cx="63817" cy="62700"/>
                    <a:chOff x="14115097" y="-1270150"/>
                    <a:chExt cx="63817" cy="62700"/>
                  </a:xfrm>
                </p:grpSpPr>
                <p:sp>
                  <p:nvSpPr>
                    <p:cNvPr id="1957" name="Freeform 5928">
                      <a:extLst>
                        <a:ext uri="{FF2B5EF4-FFF2-40B4-BE49-F238E27FC236}">
                          <a16:creationId xmlns:a16="http://schemas.microsoft.com/office/drawing/2014/main" id="{657CA0EC-2DB1-86E9-E54B-4C242751B9E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5097" y="-1238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8" name="Freeform 5929">
                      <a:extLst>
                        <a:ext uri="{FF2B5EF4-FFF2-40B4-BE49-F238E27FC236}">
                          <a16:creationId xmlns:a16="http://schemas.microsoft.com/office/drawing/2014/main" id="{363C5524-18E7-DECF-5DD3-8B64DB800C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6530" y="-1270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3" name="Graphic 26">
                    <a:extLst>
                      <a:ext uri="{FF2B5EF4-FFF2-40B4-BE49-F238E27FC236}">
                        <a16:creationId xmlns:a16="http://schemas.microsoft.com/office/drawing/2014/main" id="{212FB13E-088F-4A49-ABE7-FC8A95D58500}"/>
                      </a:ext>
                    </a:extLst>
                  </p:cNvPr>
                  <p:cNvGrpSpPr/>
                  <p:nvPr/>
                </p:nvGrpSpPr>
                <p:grpSpPr>
                  <a:xfrm>
                    <a:off x="14119860" y="-1270150"/>
                    <a:ext cx="63817" cy="62700"/>
                    <a:chOff x="14119860" y="-1270150"/>
                    <a:chExt cx="63817" cy="62700"/>
                  </a:xfrm>
                </p:grpSpPr>
                <p:sp>
                  <p:nvSpPr>
                    <p:cNvPr id="1955" name="Freeform 5926">
                      <a:extLst>
                        <a:ext uri="{FF2B5EF4-FFF2-40B4-BE49-F238E27FC236}">
                          <a16:creationId xmlns:a16="http://schemas.microsoft.com/office/drawing/2014/main" id="{5F79F9D2-F67A-49F2-70BC-481B68835A4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19860" y="-12388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6" name="Freeform 5927">
                      <a:extLst>
                        <a:ext uri="{FF2B5EF4-FFF2-40B4-BE49-F238E27FC236}">
                          <a16:creationId xmlns:a16="http://schemas.microsoft.com/office/drawing/2014/main" id="{14031E67-FB9F-92EF-F070-CEFA814A3CE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2245" y="-1270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4" name="Graphic 26">
                    <a:extLst>
                      <a:ext uri="{FF2B5EF4-FFF2-40B4-BE49-F238E27FC236}">
                        <a16:creationId xmlns:a16="http://schemas.microsoft.com/office/drawing/2014/main" id="{0368CBBF-D17D-2ECA-7B4A-3DD70FD2726D}"/>
                      </a:ext>
                    </a:extLst>
                  </p:cNvPr>
                  <p:cNvGrpSpPr/>
                  <p:nvPr/>
                </p:nvGrpSpPr>
                <p:grpSpPr>
                  <a:xfrm>
                    <a:off x="14124622" y="-1270150"/>
                    <a:ext cx="62865" cy="62700"/>
                    <a:chOff x="14124622" y="-1270150"/>
                    <a:chExt cx="62865" cy="62700"/>
                  </a:xfrm>
                </p:grpSpPr>
                <p:sp>
                  <p:nvSpPr>
                    <p:cNvPr id="1953" name="Freeform 5924">
                      <a:extLst>
                        <a:ext uri="{FF2B5EF4-FFF2-40B4-BE49-F238E27FC236}">
                          <a16:creationId xmlns:a16="http://schemas.microsoft.com/office/drawing/2014/main" id="{53D0426C-3D88-56FC-2985-2ACC148631A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4622" y="-12388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4" name="Freeform 5925">
                      <a:extLst>
                        <a:ext uri="{FF2B5EF4-FFF2-40B4-BE49-F238E27FC236}">
                          <a16:creationId xmlns:a16="http://schemas.microsoft.com/office/drawing/2014/main" id="{CA258863-4B9B-A090-46BA-2403754EE6D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6055" y="-12701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5" name="Graphic 26">
                    <a:extLst>
                      <a:ext uri="{FF2B5EF4-FFF2-40B4-BE49-F238E27FC236}">
                        <a16:creationId xmlns:a16="http://schemas.microsoft.com/office/drawing/2014/main" id="{68FC24F9-D08F-54B4-92B2-8AE775C68380}"/>
                      </a:ext>
                    </a:extLst>
                  </p:cNvPr>
                  <p:cNvGrpSpPr/>
                  <p:nvPr/>
                </p:nvGrpSpPr>
                <p:grpSpPr>
                  <a:xfrm>
                    <a:off x="14128432" y="-1206500"/>
                    <a:ext cx="63817" cy="62699"/>
                    <a:chOff x="14128432" y="-1206500"/>
                    <a:chExt cx="63817" cy="62699"/>
                  </a:xfrm>
                </p:grpSpPr>
                <p:sp>
                  <p:nvSpPr>
                    <p:cNvPr id="1951" name="Freeform 5922">
                      <a:extLst>
                        <a:ext uri="{FF2B5EF4-FFF2-40B4-BE49-F238E27FC236}">
                          <a16:creationId xmlns:a16="http://schemas.microsoft.com/office/drawing/2014/main" id="{FA662783-0FD0-8C9A-EA0B-04FD947D28A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28432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2" name="Freeform 5923">
                      <a:extLst>
                        <a:ext uri="{FF2B5EF4-FFF2-40B4-BE49-F238E27FC236}">
                          <a16:creationId xmlns:a16="http://schemas.microsoft.com/office/drawing/2014/main" id="{CE5C5D98-D8B6-E4FF-96A8-CD619DD4DA9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59865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6" name="Graphic 26">
                    <a:extLst>
                      <a:ext uri="{FF2B5EF4-FFF2-40B4-BE49-F238E27FC236}">
                        <a16:creationId xmlns:a16="http://schemas.microsoft.com/office/drawing/2014/main" id="{880B5CB8-786B-E4C2-94F2-334634573417}"/>
                      </a:ext>
                    </a:extLst>
                  </p:cNvPr>
                  <p:cNvGrpSpPr/>
                  <p:nvPr/>
                </p:nvGrpSpPr>
                <p:grpSpPr>
                  <a:xfrm>
                    <a:off x="14130337" y="-1206500"/>
                    <a:ext cx="63817" cy="62699"/>
                    <a:chOff x="14130337" y="-1206500"/>
                    <a:chExt cx="63817" cy="62699"/>
                  </a:xfrm>
                </p:grpSpPr>
                <p:sp>
                  <p:nvSpPr>
                    <p:cNvPr id="1949" name="Freeform 5920">
                      <a:extLst>
                        <a:ext uri="{FF2B5EF4-FFF2-40B4-BE49-F238E27FC236}">
                          <a16:creationId xmlns:a16="http://schemas.microsoft.com/office/drawing/2014/main" id="{1A6D9E7F-129D-163E-3E81-144677EA8AE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30337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50" name="Freeform 5921">
                      <a:extLst>
                        <a:ext uri="{FF2B5EF4-FFF2-40B4-BE49-F238E27FC236}">
                          <a16:creationId xmlns:a16="http://schemas.microsoft.com/office/drawing/2014/main" id="{B0F25D95-D72B-F355-A985-40BFC9A5B0B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2722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7" name="Graphic 26">
                    <a:extLst>
                      <a:ext uri="{FF2B5EF4-FFF2-40B4-BE49-F238E27FC236}">
                        <a16:creationId xmlns:a16="http://schemas.microsoft.com/office/drawing/2014/main" id="{0727985D-E697-57B6-6F14-248BEA14E31F}"/>
                      </a:ext>
                    </a:extLst>
                  </p:cNvPr>
                  <p:cNvGrpSpPr/>
                  <p:nvPr/>
                </p:nvGrpSpPr>
                <p:grpSpPr>
                  <a:xfrm>
                    <a:off x="14146530" y="-1206500"/>
                    <a:ext cx="63817" cy="62699"/>
                    <a:chOff x="14146530" y="-1206500"/>
                    <a:chExt cx="63817" cy="62699"/>
                  </a:xfrm>
                </p:grpSpPr>
                <p:sp>
                  <p:nvSpPr>
                    <p:cNvPr id="1947" name="Freeform 5918">
                      <a:extLst>
                        <a:ext uri="{FF2B5EF4-FFF2-40B4-BE49-F238E27FC236}">
                          <a16:creationId xmlns:a16="http://schemas.microsoft.com/office/drawing/2014/main" id="{2C3E2A96-FBBF-FAB8-DE66-A6AB5418BC5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6530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8" name="Freeform 5919">
                      <a:extLst>
                        <a:ext uri="{FF2B5EF4-FFF2-40B4-BE49-F238E27FC236}">
                          <a16:creationId xmlns:a16="http://schemas.microsoft.com/office/drawing/2014/main" id="{5058170C-23B2-00DD-55A3-766F2C46B25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78915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8" name="Graphic 26">
                    <a:extLst>
                      <a:ext uri="{FF2B5EF4-FFF2-40B4-BE49-F238E27FC236}">
                        <a16:creationId xmlns:a16="http://schemas.microsoft.com/office/drawing/2014/main" id="{FA17C9C4-6030-6AC5-8E4E-172B4F4CE9B6}"/>
                      </a:ext>
                    </a:extLst>
                  </p:cNvPr>
                  <p:cNvGrpSpPr/>
                  <p:nvPr/>
                </p:nvGrpSpPr>
                <p:grpSpPr>
                  <a:xfrm>
                    <a:off x="14149387" y="-1206500"/>
                    <a:ext cx="62865" cy="62699"/>
                    <a:chOff x="14149387" y="-1206500"/>
                    <a:chExt cx="62865" cy="62699"/>
                  </a:xfrm>
                </p:grpSpPr>
                <p:sp>
                  <p:nvSpPr>
                    <p:cNvPr id="1945" name="Freeform 5916">
                      <a:extLst>
                        <a:ext uri="{FF2B5EF4-FFF2-40B4-BE49-F238E27FC236}">
                          <a16:creationId xmlns:a16="http://schemas.microsoft.com/office/drawing/2014/main" id="{24BE4514-3E58-8641-98CE-ABE852B556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49387" y="-1175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6" name="Freeform 5917">
                      <a:extLst>
                        <a:ext uri="{FF2B5EF4-FFF2-40B4-BE49-F238E27FC236}">
                          <a16:creationId xmlns:a16="http://schemas.microsoft.com/office/drawing/2014/main" id="{3071145F-B48C-6C1C-CEDA-0B641FEFB46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0820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49" name="Graphic 26">
                    <a:extLst>
                      <a:ext uri="{FF2B5EF4-FFF2-40B4-BE49-F238E27FC236}">
                        <a16:creationId xmlns:a16="http://schemas.microsoft.com/office/drawing/2014/main" id="{45957CF7-5266-ED9E-F3D6-4D247867B9F9}"/>
                      </a:ext>
                    </a:extLst>
                  </p:cNvPr>
                  <p:cNvGrpSpPr/>
                  <p:nvPr/>
                </p:nvGrpSpPr>
                <p:grpSpPr>
                  <a:xfrm>
                    <a:off x="14161770" y="-1206500"/>
                    <a:ext cx="62865" cy="62699"/>
                    <a:chOff x="14161770" y="-1206500"/>
                    <a:chExt cx="62865" cy="62699"/>
                  </a:xfrm>
                </p:grpSpPr>
                <p:sp>
                  <p:nvSpPr>
                    <p:cNvPr id="1943" name="Freeform 5914">
                      <a:extLst>
                        <a:ext uri="{FF2B5EF4-FFF2-40B4-BE49-F238E27FC236}">
                          <a16:creationId xmlns:a16="http://schemas.microsoft.com/office/drawing/2014/main" id="{10028A64-7B5E-514C-0FD0-6C00D503F88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1770" y="-11751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4" name="Freeform 5915">
                      <a:extLst>
                        <a:ext uri="{FF2B5EF4-FFF2-40B4-BE49-F238E27FC236}">
                          <a16:creationId xmlns:a16="http://schemas.microsoft.com/office/drawing/2014/main" id="{9DC5243D-5F37-5253-97B8-F6E1BD7D4D4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3202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0" name="Graphic 26">
                    <a:extLst>
                      <a:ext uri="{FF2B5EF4-FFF2-40B4-BE49-F238E27FC236}">
                        <a16:creationId xmlns:a16="http://schemas.microsoft.com/office/drawing/2014/main" id="{B8D9ED3A-2779-5FA5-A5C1-85D2CCB0B2FC}"/>
                      </a:ext>
                    </a:extLst>
                  </p:cNvPr>
                  <p:cNvGrpSpPr/>
                  <p:nvPr/>
                </p:nvGrpSpPr>
                <p:grpSpPr>
                  <a:xfrm>
                    <a:off x="14165580" y="-1206500"/>
                    <a:ext cx="63817" cy="62699"/>
                    <a:chOff x="14165580" y="-1206500"/>
                    <a:chExt cx="63817" cy="62699"/>
                  </a:xfrm>
                </p:grpSpPr>
                <p:sp>
                  <p:nvSpPr>
                    <p:cNvPr id="1941" name="Freeform 5912">
                      <a:extLst>
                        <a:ext uri="{FF2B5EF4-FFF2-40B4-BE49-F238E27FC236}">
                          <a16:creationId xmlns:a16="http://schemas.microsoft.com/office/drawing/2014/main" id="{F6DF18FD-071A-2B5D-00CB-EA8F108EC1C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65580" y="-11751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2" name="Freeform 5913">
                      <a:extLst>
                        <a:ext uri="{FF2B5EF4-FFF2-40B4-BE49-F238E27FC236}">
                          <a16:creationId xmlns:a16="http://schemas.microsoft.com/office/drawing/2014/main" id="{C817BEF8-8C92-EB9B-D36D-8684B36CA19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7965" y="-12065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1" name="Graphic 26">
                    <a:extLst>
                      <a:ext uri="{FF2B5EF4-FFF2-40B4-BE49-F238E27FC236}">
                        <a16:creationId xmlns:a16="http://schemas.microsoft.com/office/drawing/2014/main" id="{0B912915-BC23-0E43-894A-4670C88C31FF}"/>
                      </a:ext>
                    </a:extLst>
                  </p:cNvPr>
                  <p:cNvGrpSpPr/>
                  <p:nvPr/>
                </p:nvGrpSpPr>
                <p:grpSpPr>
                  <a:xfrm>
                    <a:off x="14189392" y="-1166600"/>
                    <a:ext cx="63817" cy="62700"/>
                    <a:chOff x="14189392" y="-1166600"/>
                    <a:chExt cx="63817" cy="62700"/>
                  </a:xfrm>
                </p:grpSpPr>
                <p:sp>
                  <p:nvSpPr>
                    <p:cNvPr id="1939" name="Freeform 5910">
                      <a:extLst>
                        <a:ext uri="{FF2B5EF4-FFF2-40B4-BE49-F238E27FC236}">
                          <a16:creationId xmlns:a16="http://schemas.microsoft.com/office/drawing/2014/main" id="{AB5B3AD7-AD3D-99EF-DE4D-4260FC30651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89392" y="-11352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40" name="Freeform 5911">
                      <a:extLst>
                        <a:ext uri="{FF2B5EF4-FFF2-40B4-BE49-F238E27FC236}">
                          <a16:creationId xmlns:a16="http://schemas.microsoft.com/office/drawing/2014/main" id="{206137D1-C7DE-D3BE-CF68-5AE5F39F408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1777" y="-1166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2" name="Graphic 26">
                    <a:extLst>
                      <a:ext uri="{FF2B5EF4-FFF2-40B4-BE49-F238E27FC236}">
                        <a16:creationId xmlns:a16="http://schemas.microsoft.com/office/drawing/2014/main" id="{029F09B0-BBB0-DD5C-7008-91207C0E9B85}"/>
                      </a:ext>
                    </a:extLst>
                  </p:cNvPr>
                  <p:cNvGrpSpPr/>
                  <p:nvPr/>
                </p:nvGrpSpPr>
                <p:grpSpPr>
                  <a:xfrm>
                    <a:off x="14194155" y="-1166600"/>
                    <a:ext cx="62864" cy="62700"/>
                    <a:chOff x="14194155" y="-1166600"/>
                    <a:chExt cx="62864" cy="62700"/>
                  </a:xfrm>
                </p:grpSpPr>
                <p:sp>
                  <p:nvSpPr>
                    <p:cNvPr id="1937" name="Freeform 5908">
                      <a:extLst>
                        <a:ext uri="{FF2B5EF4-FFF2-40B4-BE49-F238E27FC236}">
                          <a16:creationId xmlns:a16="http://schemas.microsoft.com/office/drawing/2014/main" id="{A2F3000F-09F1-4C29-F64E-6359B424CA9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4155" y="-11352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8" name="Freeform 5909">
                      <a:extLst>
                        <a:ext uri="{FF2B5EF4-FFF2-40B4-BE49-F238E27FC236}">
                          <a16:creationId xmlns:a16="http://schemas.microsoft.com/office/drawing/2014/main" id="{9F587FF5-29B1-BA1E-7C10-F187FBCD88E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5587" y="-1166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3" name="Graphic 26">
                    <a:extLst>
                      <a:ext uri="{FF2B5EF4-FFF2-40B4-BE49-F238E27FC236}">
                        <a16:creationId xmlns:a16="http://schemas.microsoft.com/office/drawing/2014/main" id="{A424511E-CF43-FB08-2BC9-B7F21266E38B}"/>
                      </a:ext>
                    </a:extLst>
                  </p:cNvPr>
                  <p:cNvGrpSpPr/>
                  <p:nvPr/>
                </p:nvGrpSpPr>
                <p:grpSpPr>
                  <a:xfrm>
                    <a:off x="14196060" y="-1166600"/>
                    <a:ext cx="63817" cy="62700"/>
                    <a:chOff x="14196060" y="-1166600"/>
                    <a:chExt cx="63817" cy="62700"/>
                  </a:xfrm>
                </p:grpSpPr>
                <p:sp>
                  <p:nvSpPr>
                    <p:cNvPr id="1935" name="Freeform 5906">
                      <a:extLst>
                        <a:ext uri="{FF2B5EF4-FFF2-40B4-BE49-F238E27FC236}">
                          <a16:creationId xmlns:a16="http://schemas.microsoft.com/office/drawing/2014/main" id="{CCF59CFC-ADA5-68C1-9571-29C5DD0532A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196060" y="-11352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6" name="Freeform 5907">
                      <a:extLst>
                        <a:ext uri="{FF2B5EF4-FFF2-40B4-BE49-F238E27FC236}">
                          <a16:creationId xmlns:a16="http://schemas.microsoft.com/office/drawing/2014/main" id="{BAB672BD-3ED9-2C91-4028-E9A4AF46983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27492" y="-116660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4" name="Graphic 26">
                    <a:extLst>
                      <a:ext uri="{FF2B5EF4-FFF2-40B4-BE49-F238E27FC236}">
                        <a16:creationId xmlns:a16="http://schemas.microsoft.com/office/drawing/2014/main" id="{26C94C83-FBE0-B494-1C2D-13A548B56E3C}"/>
                      </a:ext>
                    </a:extLst>
                  </p:cNvPr>
                  <p:cNvGrpSpPr/>
                  <p:nvPr/>
                </p:nvGrpSpPr>
                <p:grpSpPr>
                  <a:xfrm>
                    <a:off x="14270355" y="-1126700"/>
                    <a:ext cx="62864" cy="62699"/>
                    <a:chOff x="14270355" y="-1126700"/>
                    <a:chExt cx="62864" cy="62699"/>
                  </a:xfrm>
                </p:grpSpPr>
                <p:sp>
                  <p:nvSpPr>
                    <p:cNvPr id="1933" name="Freeform 5904">
                      <a:extLst>
                        <a:ext uri="{FF2B5EF4-FFF2-40B4-BE49-F238E27FC236}">
                          <a16:creationId xmlns:a16="http://schemas.microsoft.com/office/drawing/2014/main" id="{9D4EE302-158C-33B5-C12A-2C9925F9718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270355" y="-109535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4" name="Freeform 5905">
                      <a:extLst>
                        <a:ext uri="{FF2B5EF4-FFF2-40B4-BE49-F238E27FC236}">
                          <a16:creationId xmlns:a16="http://schemas.microsoft.com/office/drawing/2014/main" id="{E0133C28-4B0F-F25B-14E0-49AA027A86F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01787" y="-11267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5" name="Graphic 26">
                    <a:extLst>
                      <a:ext uri="{FF2B5EF4-FFF2-40B4-BE49-F238E27FC236}">
                        <a16:creationId xmlns:a16="http://schemas.microsoft.com/office/drawing/2014/main" id="{5103DD8C-A539-E8BC-545B-55304443E671}"/>
                      </a:ext>
                    </a:extLst>
                  </p:cNvPr>
                  <p:cNvGrpSpPr/>
                  <p:nvPr/>
                </p:nvGrpSpPr>
                <p:grpSpPr>
                  <a:xfrm>
                    <a:off x="14376082" y="-1126700"/>
                    <a:ext cx="63817" cy="62699"/>
                    <a:chOff x="14376082" y="-1126700"/>
                    <a:chExt cx="63817" cy="62699"/>
                  </a:xfrm>
                </p:grpSpPr>
                <p:sp>
                  <p:nvSpPr>
                    <p:cNvPr id="1931" name="Freeform 5902">
                      <a:extLst>
                        <a:ext uri="{FF2B5EF4-FFF2-40B4-BE49-F238E27FC236}">
                          <a16:creationId xmlns:a16="http://schemas.microsoft.com/office/drawing/2014/main" id="{BB948BA7-2AA0-FD32-70A8-541C4648F16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376082" y="-10953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2" name="Freeform 5903">
                      <a:extLst>
                        <a:ext uri="{FF2B5EF4-FFF2-40B4-BE49-F238E27FC236}">
                          <a16:creationId xmlns:a16="http://schemas.microsoft.com/office/drawing/2014/main" id="{F96F52D3-EFB3-B49A-0152-08301D9D7DA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08467" y="-11267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6" name="Graphic 26">
                    <a:extLst>
                      <a:ext uri="{FF2B5EF4-FFF2-40B4-BE49-F238E27FC236}">
                        <a16:creationId xmlns:a16="http://schemas.microsoft.com/office/drawing/2014/main" id="{387D53A1-F51B-363D-713D-7CD981ACE2BC}"/>
                      </a:ext>
                    </a:extLst>
                  </p:cNvPr>
                  <p:cNvGrpSpPr/>
                  <p:nvPr/>
                </p:nvGrpSpPr>
                <p:grpSpPr>
                  <a:xfrm>
                    <a:off x="14473237" y="-1084900"/>
                    <a:ext cx="63817" cy="62699"/>
                    <a:chOff x="14473237" y="-1084900"/>
                    <a:chExt cx="63817" cy="62699"/>
                  </a:xfrm>
                </p:grpSpPr>
                <p:sp>
                  <p:nvSpPr>
                    <p:cNvPr id="1929" name="Freeform 5900">
                      <a:extLst>
                        <a:ext uri="{FF2B5EF4-FFF2-40B4-BE49-F238E27FC236}">
                          <a16:creationId xmlns:a16="http://schemas.microsoft.com/office/drawing/2014/main" id="{CC636408-962E-C28F-B435-85127B076C9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473237" y="-10535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30" name="Freeform 5901">
                      <a:extLst>
                        <a:ext uri="{FF2B5EF4-FFF2-40B4-BE49-F238E27FC236}">
                          <a16:creationId xmlns:a16="http://schemas.microsoft.com/office/drawing/2014/main" id="{718A4477-EACD-5508-32A5-A74E8814B5D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504670" y="-10849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7" name="Graphic 26">
                    <a:extLst>
                      <a:ext uri="{FF2B5EF4-FFF2-40B4-BE49-F238E27FC236}">
                        <a16:creationId xmlns:a16="http://schemas.microsoft.com/office/drawing/2014/main" id="{43EBDEA8-8B57-D0AB-5625-4804FF075A7A}"/>
                      </a:ext>
                    </a:extLst>
                  </p:cNvPr>
                  <p:cNvGrpSpPr/>
                  <p:nvPr/>
                </p:nvGrpSpPr>
                <p:grpSpPr>
                  <a:xfrm>
                    <a:off x="14612302" y="-1037400"/>
                    <a:ext cx="62865" cy="62699"/>
                    <a:chOff x="14612302" y="-1037400"/>
                    <a:chExt cx="62865" cy="62699"/>
                  </a:xfrm>
                </p:grpSpPr>
                <p:sp>
                  <p:nvSpPr>
                    <p:cNvPr id="1927" name="Freeform 5898">
                      <a:extLst>
                        <a:ext uri="{FF2B5EF4-FFF2-40B4-BE49-F238E27FC236}">
                          <a16:creationId xmlns:a16="http://schemas.microsoft.com/office/drawing/2014/main" id="{AB001FA8-BDD5-1F45-43C6-3137F949020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2302" y="-1006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8" name="Freeform 5899">
                      <a:extLst>
                        <a:ext uri="{FF2B5EF4-FFF2-40B4-BE49-F238E27FC236}">
                          <a16:creationId xmlns:a16="http://schemas.microsoft.com/office/drawing/2014/main" id="{59D7176D-F29E-538D-2F59-E091A1ABF10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43735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8" name="Graphic 26">
                    <a:extLst>
                      <a:ext uri="{FF2B5EF4-FFF2-40B4-BE49-F238E27FC236}">
                        <a16:creationId xmlns:a16="http://schemas.microsoft.com/office/drawing/2014/main" id="{B7927505-084A-7052-2A9B-1B8C02D57994}"/>
                      </a:ext>
                    </a:extLst>
                  </p:cNvPr>
                  <p:cNvGrpSpPr/>
                  <p:nvPr/>
                </p:nvGrpSpPr>
                <p:grpSpPr>
                  <a:xfrm>
                    <a:off x="14617065" y="-1037400"/>
                    <a:ext cx="62865" cy="62699"/>
                    <a:chOff x="14617065" y="-1037400"/>
                    <a:chExt cx="62865" cy="62699"/>
                  </a:xfrm>
                </p:grpSpPr>
                <p:sp>
                  <p:nvSpPr>
                    <p:cNvPr id="1925" name="Freeform 5896">
                      <a:extLst>
                        <a:ext uri="{FF2B5EF4-FFF2-40B4-BE49-F238E27FC236}">
                          <a16:creationId xmlns:a16="http://schemas.microsoft.com/office/drawing/2014/main" id="{D4B85E9D-DBEF-6787-0391-32DF0F2127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17065" y="-1006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6" name="Freeform 5897">
                      <a:extLst>
                        <a:ext uri="{FF2B5EF4-FFF2-40B4-BE49-F238E27FC236}">
                          <a16:creationId xmlns:a16="http://schemas.microsoft.com/office/drawing/2014/main" id="{C279E0CC-006F-8687-E9F7-9D22F6C164D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48497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59" name="Graphic 26">
                    <a:extLst>
                      <a:ext uri="{FF2B5EF4-FFF2-40B4-BE49-F238E27FC236}">
                        <a16:creationId xmlns:a16="http://schemas.microsoft.com/office/drawing/2014/main" id="{BAAD61DD-4D40-FFC7-CBA4-1080BDA5FA3C}"/>
                      </a:ext>
                    </a:extLst>
                  </p:cNvPr>
                  <p:cNvGrpSpPr/>
                  <p:nvPr/>
                </p:nvGrpSpPr>
                <p:grpSpPr>
                  <a:xfrm>
                    <a:off x="14678025" y="-1037400"/>
                    <a:ext cx="62865" cy="62699"/>
                    <a:chOff x="14678025" y="-1037400"/>
                    <a:chExt cx="62865" cy="62699"/>
                  </a:xfrm>
                </p:grpSpPr>
                <p:sp>
                  <p:nvSpPr>
                    <p:cNvPr id="1923" name="Freeform 5894">
                      <a:extLst>
                        <a:ext uri="{FF2B5EF4-FFF2-40B4-BE49-F238E27FC236}">
                          <a16:creationId xmlns:a16="http://schemas.microsoft.com/office/drawing/2014/main" id="{2ADF6988-0E9D-CF40-2D43-2810C1E3C33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78025" y="-100605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4" name="Freeform 5895">
                      <a:extLst>
                        <a:ext uri="{FF2B5EF4-FFF2-40B4-BE49-F238E27FC236}">
                          <a16:creationId xmlns:a16="http://schemas.microsoft.com/office/drawing/2014/main" id="{0D7F40DC-A614-40CB-D782-EA4813BA309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09457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0" name="Graphic 26">
                    <a:extLst>
                      <a:ext uri="{FF2B5EF4-FFF2-40B4-BE49-F238E27FC236}">
                        <a16:creationId xmlns:a16="http://schemas.microsoft.com/office/drawing/2014/main" id="{9837B2FA-DEA2-56AF-4073-E1ADDE1305F6}"/>
                      </a:ext>
                    </a:extLst>
                  </p:cNvPr>
                  <p:cNvGrpSpPr/>
                  <p:nvPr/>
                </p:nvGrpSpPr>
                <p:grpSpPr>
                  <a:xfrm>
                    <a:off x="14691360" y="-1037400"/>
                    <a:ext cx="63817" cy="62699"/>
                    <a:chOff x="14691360" y="-1037400"/>
                    <a:chExt cx="63817" cy="62699"/>
                  </a:xfrm>
                </p:grpSpPr>
                <p:sp>
                  <p:nvSpPr>
                    <p:cNvPr id="1921" name="Freeform 5892">
                      <a:extLst>
                        <a:ext uri="{FF2B5EF4-FFF2-40B4-BE49-F238E27FC236}">
                          <a16:creationId xmlns:a16="http://schemas.microsoft.com/office/drawing/2014/main" id="{DBA15914-6F97-B458-22B6-8EA10E5B81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91360" y="-100605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2" name="Freeform 5893">
                      <a:extLst>
                        <a:ext uri="{FF2B5EF4-FFF2-40B4-BE49-F238E27FC236}">
                          <a16:creationId xmlns:a16="http://schemas.microsoft.com/office/drawing/2014/main" id="{B955C284-6012-3D7A-B4E8-A585DC3D59B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3745" y="-103740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1" name="Graphic 26">
                    <a:extLst>
                      <a:ext uri="{FF2B5EF4-FFF2-40B4-BE49-F238E27FC236}">
                        <a16:creationId xmlns:a16="http://schemas.microsoft.com/office/drawing/2014/main" id="{4F9DF1E0-EBD5-ACB5-8A09-36D62F169294}"/>
                      </a:ext>
                    </a:extLst>
                  </p:cNvPr>
                  <p:cNvGrpSpPr/>
                  <p:nvPr/>
                </p:nvGrpSpPr>
                <p:grpSpPr>
                  <a:xfrm>
                    <a:off x="14695170" y="-1038350"/>
                    <a:ext cx="63817" cy="62700"/>
                    <a:chOff x="14695170" y="-1038350"/>
                    <a:chExt cx="63817" cy="62700"/>
                  </a:xfrm>
                </p:grpSpPr>
                <p:sp>
                  <p:nvSpPr>
                    <p:cNvPr id="1919" name="Freeform 5890">
                      <a:extLst>
                        <a:ext uri="{FF2B5EF4-FFF2-40B4-BE49-F238E27FC236}">
                          <a16:creationId xmlns:a16="http://schemas.microsoft.com/office/drawing/2014/main" id="{A30970E0-5558-4435-D9F0-86B9D795B54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695170" y="-10070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20" name="Freeform 5891">
                      <a:extLst>
                        <a:ext uri="{FF2B5EF4-FFF2-40B4-BE49-F238E27FC236}">
                          <a16:creationId xmlns:a16="http://schemas.microsoft.com/office/drawing/2014/main" id="{BEE82FCC-65F0-BF70-FE0A-BC25B6C588CF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26602" y="-10383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2" name="Graphic 26">
                    <a:extLst>
                      <a:ext uri="{FF2B5EF4-FFF2-40B4-BE49-F238E27FC236}">
                        <a16:creationId xmlns:a16="http://schemas.microsoft.com/office/drawing/2014/main" id="{0A6145E0-4220-C9B2-A939-AB41CDC0D1EA}"/>
                      </a:ext>
                    </a:extLst>
                  </p:cNvPr>
                  <p:cNvGrpSpPr/>
                  <p:nvPr/>
                </p:nvGrpSpPr>
                <p:grpSpPr>
                  <a:xfrm>
                    <a:off x="14709457" y="-1038350"/>
                    <a:ext cx="62865" cy="62700"/>
                    <a:chOff x="14709457" y="-1038350"/>
                    <a:chExt cx="62865" cy="62700"/>
                  </a:xfrm>
                </p:grpSpPr>
                <p:sp>
                  <p:nvSpPr>
                    <p:cNvPr id="1917" name="Freeform 5888">
                      <a:extLst>
                        <a:ext uri="{FF2B5EF4-FFF2-40B4-BE49-F238E27FC236}">
                          <a16:creationId xmlns:a16="http://schemas.microsoft.com/office/drawing/2014/main" id="{5F45EE73-621E-67D9-FDEF-959A525A28F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09457" y="-1007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8" name="Freeform 5889">
                      <a:extLst>
                        <a:ext uri="{FF2B5EF4-FFF2-40B4-BE49-F238E27FC236}">
                          <a16:creationId xmlns:a16="http://schemas.microsoft.com/office/drawing/2014/main" id="{10A74C74-CF7E-EEEB-6A9B-33815D9BC92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40890" y="-10383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3" name="Graphic 26">
                    <a:extLst>
                      <a:ext uri="{FF2B5EF4-FFF2-40B4-BE49-F238E27FC236}">
                        <a16:creationId xmlns:a16="http://schemas.microsoft.com/office/drawing/2014/main" id="{F723B474-A665-25F5-D621-E099C8785841}"/>
                      </a:ext>
                    </a:extLst>
                  </p:cNvPr>
                  <p:cNvGrpSpPr/>
                  <p:nvPr/>
                </p:nvGrpSpPr>
                <p:grpSpPr>
                  <a:xfrm>
                    <a:off x="14715172" y="-1038350"/>
                    <a:ext cx="62865" cy="62700"/>
                    <a:chOff x="14715172" y="-1038350"/>
                    <a:chExt cx="62865" cy="62700"/>
                  </a:xfrm>
                </p:grpSpPr>
                <p:sp>
                  <p:nvSpPr>
                    <p:cNvPr id="1915" name="Freeform 5886">
                      <a:extLst>
                        <a:ext uri="{FF2B5EF4-FFF2-40B4-BE49-F238E27FC236}">
                          <a16:creationId xmlns:a16="http://schemas.microsoft.com/office/drawing/2014/main" id="{05731E57-1DAD-2DA9-6696-0CD1CC1998C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15172" y="-10070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6" name="Freeform 5887">
                      <a:extLst>
                        <a:ext uri="{FF2B5EF4-FFF2-40B4-BE49-F238E27FC236}">
                          <a16:creationId xmlns:a16="http://schemas.microsoft.com/office/drawing/2014/main" id="{C9C89B7A-6563-B161-EEA3-DC77A8723AC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46605" y="-1038350"/>
                      <a:ext cx="9525" cy="62700"/>
                    </a:xfrm>
                    <a:custGeom>
                      <a:avLst/>
                      <a:gdLst>
                        <a:gd name="connsiteX0" fmla="*/ 0 w 9525"/>
                        <a:gd name="connsiteY0" fmla="*/ 62700 h 62700"/>
                        <a:gd name="connsiteX1" fmla="*/ 0 w 9525"/>
                        <a:gd name="connsiteY1" fmla="*/ 0 h 627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700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4" name="Graphic 26">
                    <a:extLst>
                      <a:ext uri="{FF2B5EF4-FFF2-40B4-BE49-F238E27FC236}">
                        <a16:creationId xmlns:a16="http://schemas.microsoft.com/office/drawing/2014/main" id="{3D770E92-291C-83B9-74D2-FF6DC2C4238C}"/>
                      </a:ext>
                    </a:extLst>
                  </p:cNvPr>
                  <p:cNvGrpSpPr/>
                  <p:nvPr/>
                </p:nvGrpSpPr>
                <p:grpSpPr>
                  <a:xfrm>
                    <a:off x="14735175" y="-968050"/>
                    <a:ext cx="63817" cy="62699"/>
                    <a:chOff x="14735175" y="-968050"/>
                    <a:chExt cx="63817" cy="62699"/>
                  </a:xfrm>
                </p:grpSpPr>
                <p:sp>
                  <p:nvSpPr>
                    <p:cNvPr id="1913" name="Freeform 5884">
                      <a:extLst>
                        <a:ext uri="{FF2B5EF4-FFF2-40B4-BE49-F238E27FC236}">
                          <a16:creationId xmlns:a16="http://schemas.microsoft.com/office/drawing/2014/main" id="{E5511C7B-BC70-8EAB-B241-0BF35EB1D5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35175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4" name="Freeform 5885">
                      <a:extLst>
                        <a:ext uri="{FF2B5EF4-FFF2-40B4-BE49-F238E27FC236}">
                          <a16:creationId xmlns:a16="http://schemas.microsoft.com/office/drawing/2014/main" id="{A120A658-E6D3-994D-A160-BB897A0489B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66607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5" name="Graphic 26">
                    <a:extLst>
                      <a:ext uri="{FF2B5EF4-FFF2-40B4-BE49-F238E27FC236}">
                        <a16:creationId xmlns:a16="http://schemas.microsoft.com/office/drawing/2014/main" id="{40D227DE-8F95-BFBD-FE72-ACD9C4234BE1}"/>
                      </a:ext>
                    </a:extLst>
                  </p:cNvPr>
                  <p:cNvGrpSpPr/>
                  <p:nvPr/>
                </p:nvGrpSpPr>
                <p:grpSpPr>
                  <a:xfrm>
                    <a:off x="14793277" y="-968050"/>
                    <a:ext cx="62865" cy="62699"/>
                    <a:chOff x="14793277" y="-968050"/>
                    <a:chExt cx="62865" cy="62699"/>
                  </a:xfrm>
                </p:grpSpPr>
                <p:sp>
                  <p:nvSpPr>
                    <p:cNvPr id="1911" name="Freeform 5882">
                      <a:extLst>
                        <a:ext uri="{FF2B5EF4-FFF2-40B4-BE49-F238E27FC236}">
                          <a16:creationId xmlns:a16="http://schemas.microsoft.com/office/drawing/2014/main" id="{1EAF7E7B-EC8D-74C8-897C-A280745042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3277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2" name="Freeform 5883">
                      <a:extLst>
                        <a:ext uri="{FF2B5EF4-FFF2-40B4-BE49-F238E27FC236}">
                          <a16:creationId xmlns:a16="http://schemas.microsoft.com/office/drawing/2014/main" id="{EA16C571-4276-B50E-ED1B-D1258F27B15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2471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6" name="Graphic 26">
                    <a:extLst>
                      <a:ext uri="{FF2B5EF4-FFF2-40B4-BE49-F238E27FC236}">
                        <a16:creationId xmlns:a16="http://schemas.microsoft.com/office/drawing/2014/main" id="{CEC064A1-6826-08B4-BD5A-9B29A29335D9}"/>
                      </a:ext>
                    </a:extLst>
                  </p:cNvPr>
                  <p:cNvGrpSpPr/>
                  <p:nvPr/>
                </p:nvGrpSpPr>
                <p:grpSpPr>
                  <a:xfrm>
                    <a:off x="14797087" y="-968050"/>
                    <a:ext cx="63817" cy="62699"/>
                    <a:chOff x="14797087" y="-968050"/>
                    <a:chExt cx="63817" cy="62699"/>
                  </a:xfrm>
                </p:grpSpPr>
                <p:sp>
                  <p:nvSpPr>
                    <p:cNvPr id="1909" name="Freeform 5880">
                      <a:extLst>
                        <a:ext uri="{FF2B5EF4-FFF2-40B4-BE49-F238E27FC236}">
                          <a16:creationId xmlns:a16="http://schemas.microsoft.com/office/drawing/2014/main" id="{FFD4A798-DE1F-DB15-1C7D-9D6D2AFEF468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797087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10" name="Freeform 5881">
                      <a:extLst>
                        <a:ext uri="{FF2B5EF4-FFF2-40B4-BE49-F238E27FC236}">
                          <a16:creationId xmlns:a16="http://schemas.microsoft.com/office/drawing/2014/main" id="{08809DCD-A779-D434-9617-359B5739E1F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2852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7" name="Graphic 26">
                    <a:extLst>
                      <a:ext uri="{FF2B5EF4-FFF2-40B4-BE49-F238E27FC236}">
                        <a16:creationId xmlns:a16="http://schemas.microsoft.com/office/drawing/2014/main" id="{F0B3A66F-FBE7-335E-D42A-8DD1A0E1165D}"/>
                      </a:ext>
                    </a:extLst>
                  </p:cNvPr>
                  <p:cNvGrpSpPr/>
                  <p:nvPr/>
                </p:nvGrpSpPr>
                <p:grpSpPr>
                  <a:xfrm>
                    <a:off x="14801850" y="-968050"/>
                    <a:ext cx="62865" cy="62699"/>
                    <a:chOff x="14801850" y="-968050"/>
                    <a:chExt cx="62865" cy="62699"/>
                  </a:xfrm>
                </p:grpSpPr>
                <p:sp>
                  <p:nvSpPr>
                    <p:cNvPr id="1907" name="Freeform 5878">
                      <a:extLst>
                        <a:ext uri="{FF2B5EF4-FFF2-40B4-BE49-F238E27FC236}">
                          <a16:creationId xmlns:a16="http://schemas.microsoft.com/office/drawing/2014/main" id="{3BAB49BA-AE22-81DD-658D-0606B45B873B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01850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8" name="Freeform 5879">
                      <a:extLst>
                        <a:ext uri="{FF2B5EF4-FFF2-40B4-BE49-F238E27FC236}">
                          <a16:creationId xmlns:a16="http://schemas.microsoft.com/office/drawing/2014/main" id="{EFEB5DFB-35E6-2135-90CD-5864E66B61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3328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8" name="Graphic 26">
                    <a:extLst>
                      <a:ext uri="{FF2B5EF4-FFF2-40B4-BE49-F238E27FC236}">
                        <a16:creationId xmlns:a16="http://schemas.microsoft.com/office/drawing/2014/main" id="{33BCCC34-184D-E98E-AB77-CEB4BFE51BD7}"/>
                      </a:ext>
                    </a:extLst>
                  </p:cNvPr>
                  <p:cNvGrpSpPr/>
                  <p:nvPr/>
                </p:nvGrpSpPr>
                <p:grpSpPr>
                  <a:xfrm>
                    <a:off x="14860905" y="-968050"/>
                    <a:ext cx="62864" cy="62699"/>
                    <a:chOff x="14860905" y="-968050"/>
                    <a:chExt cx="62864" cy="62699"/>
                  </a:xfrm>
                </p:grpSpPr>
                <p:sp>
                  <p:nvSpPr>
                    <p:cNvPr id="1905" name="Freeform 5876">
                      <a:extLst>
                        <a:ext uri="{FF2B5EF4-FFF2-40B4-BE49-F238E27FC236}">
                          <a16:creationId xmlns:a16="http://schemas.microsoft.com/office/drawing/2014/main" id="{339CB336-7DB4-F3B8-9287-BAD69CFF192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60905" y="-936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6" name="Freeform 5877">
                      <a:extLst>
                        <a:ext uri="{FF2B5EF4-FFF2-40B4-BE49-F238E27FC236}">
                          <a16:creationId xmlns:a16="http://schemas.microsoft.com/office/drawing/2014/main" id="{9E6A2D18-0DD8-0E3E-C2C8-0B0CD12AF2D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92337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69" name="Graphic 26">
                    <a:extLst>
                      <a:ext uri="{FF2B5EF4-FFF2-40B4-BE49-F238E27FC236}">
                        <a16:creationId xmlns:a16="http://schemas.microsoft.com/office/drawing/2014/main" id="{970CCDFC-95AA-D687-58B3-BD4F67F91F1E}"/>
                      </a:ext>
                    </a:extLst>
                  </p:cNvPr>
                  <p:cNvGrpSpPr/>
                  <p:nvPr/>
                </p:nvGrpSpPr>
                <p:grpSpPr>
                  <a:xfrm>
                    <a:off x="14866620" y="-968050"/>
                    <a:ext cx="62865" cy="62699"/>
                    <a:chOff x="14866620" y="-968050"/>
                    <a:chExt cx="62865" cy="62699"/>
                  </a:xfrm>
                </p:grpSpPr>
                <p:sp>
                  <p:nvSpPr>
                    <p:cNvPr id="1903" name="Freeform 5874">
                      <a:extLst>
                        <a:ext uri="{FF2B5EF4-FFF2-40B4-BE49-F238E27FC236}">
                          <a16:creationId xmlns:a16="http://schemas.microsoft.com/office/drawing/2014/main" id="{F736286F-FB7F-2BB1-C6D0-2343A658843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66620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4" name="Freeform 5875">
                      <a:extLst>
                        <a:ext uri="{FF2B5EF4-FFF2-40B4-BE49-F238E27FC236}">
                          <a16:creationId xmlns:a16="http://schemas.microsoft.com/office/drawing/2014/main" id="{D62FA31E-6D37-A06C-FF74-3B5CD6DFDB1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489805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0" name="Graphic 26">
                    <a:extLst>
                      <a:ext uri="{FF2B5EF4-FFF2-40B4-BE49-F238E27FC236}">
                        <a16:creationId xmlns:a16="http://schemas.microsoft.com/office/drawing/2014/main" id="{A3F055CF-5A19-A0D3-3540-FE9E0D4A6AF4}"/>
                      </a:ext>
                    </a:extLst>
                  </p:cNvPr>
                  <p:cNvGrpSpPr/>
                  <p:nvPr/>
                </p:nvGrpSpPr>
                <p:grpSpPr>
                  <a:xfrm>
                    <a:off x="15168562" y="-968050"/>
                    <a:ext cx="62865" cy="62699"/>
                    <a:chOff x="15168562" y="-968050"/>
                    <a:chExt cx="62865" cy="62699"/>
                  </a:xfrm>
                </p:grpSpPr>
                <p:sp>
                  <p:nvSpPr>
                    <p:cNvPr id="1901" name="Freeform 5872">
                      <a:extLst>
                        <a:ext uri="{FF2B5EF4-FFF2-40B4-BE49-F238E27FC236}">
                          <a16:creationId xmlns:a16="http://schemas.microsoft.com/office/drawing/2014/main" id="{ABE43B05-211D-EF11-FC44-C771732DE8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68562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2" name="Freeform 5873">
                      <a:extLst>
                        <a:ext uri="{FF2B5EF4-FFF2-40B4-BE49-F238E27FC236}">
                          <a16:creationId xmlns:a16="http://schemas.microsoft.com/office/drawing/2014/main" id="{F1CC14EA-60D0-82D6-4C49-82DF91C6348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999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1" name="Graphic 26">
                    <a:extLst>
                      <a:ext uri="{FF2B5EF4-FFF2-40B4-BE49-F238E27FC236}">
                        <a16:creationId xmlns:a16="http://schemas.microsoft.com/office/drawing/2014/main" id="{0FF05859-C225-CCFE-DC37-86BB24D50C35}"/>
                      </a:ext>
                    </a:extLst>
                  </p:cNvPr>
                  <p:cNvGrpSpPr/>
                  <p:nvPr/>
                </p:nvGrpSpPr>
                <p:grpSpPr>
                  <a:xfrm>
                    <a:off x="15175230" y="-968050"/>
                    <a:ext cx="62864" cy="62699"/>
                    <a:chOff x="15175230" y="-968050"/>
                    <a:chExt cx="62864" cy="62699"/>
                  </a:xfrm>
                </p:grpSpPr>
                <p:sp>
                  <p:nvSpPr>
                    <p:cNvPr id="1899" name="Freeform 5870">
                      <a:extLst>
                        <a:ext uri="{FF2B5EF4-FFF2-40B4-BE49-F238E27FC236}">
                          <a16:creationId xmlns:a16="http://schemas.microsoft.com/office/drawing/2014/main" id="{F403DD35-861D-1684-BAE3-23C6B9BC0AC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75230" y="-936700"/>
                      <a:ext cx="62864" cy="9500"/>
                    </a:xfrm>
                    <a:custGeom>
                      <a:avLst/>
                      <a:gdLst>
                        <a:gd name="connsiteX0" fmla="*/ 0 w 62864"/>
                        <a:gd name="connsiteY0" fmla="*/ 0 h 9500"/>
                        <a:gd name="connsiteX1" fmla="*/ 62865 w 62864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4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900" name="Freeform 5871">
                      <a:extLst>
                        <a:ext uri="{FF2B5EF4-FFF2-40B4-BE49-F238E27FC236}">
                          <a16:creationId xmlns:a16="http://schemas.microsoft.com/office/drawing/2014/main" id="{42594D31-4EC5-6782-3EF6-AA50D505140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0666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2" name="Graphic 26">
                    <a:extLst>
                      <a:ext uri="{FF2B5EF4-FFF2-40B4-BE49-F238E27FC236}">
                        <a16:creationId xmlns:a16="http://schemas.microsoft.com/office/drawing/2014/main" id="{1E7F66F9-3402-493F-B02E-FCBBAF4240E5}"/>
                      </a:ext>
                    </a:extLst>
                  </p:cNvPr>
                  <p:cNvGrpSpPr/>
                  <p:nvPr/>
                </p:nvGrpSpPr>
                <p:grpSpPr>
                  <a:xfrm>
                    <a:off x="15198090" y="-968050"/>
                    <a:ext cx="63817" cy="62699"/>
                    <a:chOff x="15198090" y="-968050"/>
                    <a:chExt cx="63817" cy="62699"/>
                  </a:xfrm>
                </p:grpSpPr>
                <p:sp>
                  <p:nvSpPr>
                    <p:cNvPr id="1897" name="Freeform 5868">
                      <a:extLst>
                        <a:ext uri="{FF2B5EF4-FFF2-40B4-BE49-F238E27FC236}">
                          <a16:creationId xmlns:a16="http://schemas.microsoft.com/office/drawing/2014/main" id="{00C2ABAA-020D-471E-EF7F-71CE8DBADC9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198090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8" name="Freeform 5869">
                      <a:extLst>
                        <a:ext uri="{FF2B5EF4-FFF2-40B4-BE49-F238E27FC236}">
                          <a16:creationId xmlns:a16="http://schemas.microsoft.com/office/drawing/2014/main" id="{E677EC8F-1261-6039-24D3-281AFE18F83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3047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3" name="Graphic 26">
                    <a:extLst>
                      <a:ext uri="{FF2B5EF4-FFF2-40B4-BE49-F238E27FC236}">
                        <a16:creationId xmlns:a16="http://schemas.microsoft.com/office/drawing/2014/main" id="{13477D2B-6E59-DFF0-0D20-6D39DBBC8FBD}"/>
                      </a:ext>
                    </a:extLst>
                  </p:cNvPr>
                  <p:cNvGrpSpPr/>
                  <p:nvPr/>
                </p:nvGrpSpPr>
                <p:grpSpPr>
                  <a:xfrm>
                    <a:off x="15201900" y="-968050"/>
                    <a:ext cx="62865" cy="62699"/>
                    <a:chOff x="15201900" y="-968050"/>
                    <a:chExt cx="62865" cy="62699"/>
                  </a:xfrm>
                </p:grpSpPr>
                <p:sp>
                  <p:nvSpPr>
                    <p:cNvPr id="1895" name="Freeform 5866">
                      <a:extLst>
                        <a:ext uri="{FF2B5EF4-FFF2-40B4-BE49-F238E27FC236}">
                          <a16:creationId xmlns:a16="http://schemas.microsoft.com/office/drawing/2014/main" id="{B27E0993-DFE7-D9A3-2C96-A654A5AE693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01900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6" name="Freeform 5867">
                      <a:extLst>
                        <a:ext uri="{FF2B5EF4-FFF2-40B4-BE49-F238E27FC236}">
                          <a16:creationId xmlns:a16="http://schemas.microsoft.com/office/drawing/2014/main" id="{56CDEB20-FAC8-E27C-D188-DCAA557DFABC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33332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4" name="Graphic 26">
                    <a:extLst>
                      <a:ext uri="{FF2B5EF4-FFF2-40B4-BE49-F238E27FC236}">
                        <a16:creationId xmlns:a16="http://schemas.microsoft.com/office/drawing/2014/main" id="{F4362574-3373-1955-2AAF-7933D67E4BB7}"/>
                      </a:ext>
                    </a:extLst>
                  </p:cNvPr>
                  <p:cNvGrpSpPr/>
                  <p:nvPr/>
                </p:nvGrpSpPr>
                <p:grpSpPr>
                  <a:xfrm>
                    <a:off x="15239047" y="-968050"/>
                    <a:ext cx="62865" cy="62699"/>
                    <a:chOff x="15239047" y="-968050"/>
                    <a:chExt cx="62865" cy="62699"/>
                  </a:xfrm>
                </p:grpSpPr>
                <p:sp>
                  <p:nvSpPr>
                    <p:cNvPr id="1893" name="Freeform 5864">
                      <a:extLst>
                        <a:ext uri="{FF2B5EF4-FFF2-40B4-BE49-F238E27FC236}">
                          <a16:creationId xmlns:a16="http://schemas.microsoft.com/office/drawing/2014/main" id="{C2D910D5-BF16-3300-6B53-44CBC33D6E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39047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4" name="Freeform 5865">
                      <a:extLst>
                        <a:ext uri="{FF2B5EF4-FFF2-40B4-BE49-F238E27FC236}">
                          <a16:creationId xmlns:a16="http://schemas.microsoft.com/office/drawing/2014/main" id="{AE1F4C87-CD1F-76CB-8675-934323EB06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7048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5" name="Graphic 26">
                    <a:extLst>
                      <a:ext uri="{FF2B5EF4-FFF2-40B4-BE49-F238E27FC236}">
                        <a16:creationId xmlns:a16="http://schemas.microsoft.com/office/drawing/2014/main" id="{E1DEAF7C-89A3-C128-C902-DB73536FEA8B}"/>
                      </a:ext>
                    </a:extLst>
                  </p:cNvPr>
                  <p:cNvGrpSpPr/>
                  <p:nvPr/>
                </p:nvGrpSpPr>
                <p:grpSpPr>
                  <a:xfrm>
                    <a:off x="15245715" y="-968050"/>
                    <a:ext cx="62865" cy="62699"/>
                    <a:chOff x="15245715" y="-968050"/>
                    <a:chExt cx="62865" cy="62699"/>
                  </a:xfrm>
                </p:grpSpPr>
                <p:sp>
                  <p:nvSpPr>
                    <p:cNvPr id="1891" name="Freeform 5862">
                      <a:extLst>
                        <a:ext uri="{FF2B5EF4-FFF2-40B4-BE49-F238E27FC236}">
                          <a16:creationId xmlns:a16="http://schemas.microsoft.com/office/drawing/2014/main" id="{72B46CC8-A92A-CD09-87B3-FC661C2F637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45715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2" name="Freeform 5863">
                      <a:extLst>
                        <a:ext uri="{FF2B5EF4-FFF2-40B4-BE49-F238E27FC236}">
                          <a16:creationId xmlns:a16="http://schemas.microsoft.com/office/drawing/2014/main" id="{7FAD3142-2583-8468-5E36-ACC92331A02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77147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6" name="Graphic 26">
                    <a:extLst>
                      <a:ext uri="{FF2B5EF4-FFF2-40B4-BE49-F238E27FC236}">
                        <a16:creationId xmlns:a16="http://schemas.microsoft.com/office/drawing/2014/main" id="{9F3F02C7-36B5-A982-EE44-00B1A6CE941D}"/>
                      </a:ext>
                    </a:extLst>
                  </p:cNvPr>
                  <p:cNvGrpSpPr/>
                  <p:nvPr/>
                </p:nvGrpSpPr>
                <p:grpSpPr>
                  <a:xfrm>
                    <a:off x="15255240" y="-968050"/>
                    <a:ext cx="63817" cy="62699"/>
                    <a:chOff x="15255240" y="-968050"/>
                    <a:chExt cx="63817" cy="62699"/>
                  </a:xfrm>
                </p:grpSpPr>
                <p:sp>
                  <p:nvSpPr>
                    <p:cNvPr id="1889" name="Freeform 5860">
                      <a:extLst>
                        <a:ext uri="{FF2B5EF4-FFF2-40B4-BE49-F238E27FC236}">
                          <a16:creationId xmlns:a16="http://schemas.microsoft.com/office/drawing/2014/main" id="{3C65B442-595D-0CED-4EA6-6C1B5319C8B3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55240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90" name="Freeform 5861">
                      <a:extLst>
                        <a:ext uri="{FF2B5EF4-FFF2-40B4-BE49-F238E27FC236}">
                          <a16:creationId xmlns:a16="http://schemas.microsoft.com/office/drawing/2014/main" id="{198901E2-ECB2-6CEA-4D78-D1883D85D2F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8762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7" name="Graphic 26">
                    <a:extLst>
                      <a:ext uri="{FF2B5EF4-FFF2-40B4-BE49-F238E27FC236}">
                        <a16:creationId xmlns:a16="http://schemas.microsoft.com/office/drawing/2014/main" id="{9F8345E2-EF6C-94A6-8F39-1A9D1C663FBC}"/>
                      </a:ext>
                    </a:extLst>
                  </p:cNvPr>
                  <p:cNvGrpSpPr/>
                  <p:nvPr/>
                </p:nvGrpSpPr>
                <p:grpSpPr>
                  <a:xfrm>
                    <a:off x="15260002" y="-968050"/>
                    <a:ext cx="62865" cy="62699"/>
                    <a:chOff x="15260002" y="-968050"/>
                    <a:chExt cx="62865" cy="62699"/>
                  </a:xfrm>
                </p:grpSpPr>
                <p:sp>
                  <p:nvSpPr>
                    <p:cNvPr id="1887" name="Freeform 5858">
                      <a:extLst>
                        <a:ext uri="{FF2B5EF4-FFF2-40B4-BE49-F238E27FC236}">
                          <a16:creationId xmlns:a16="http://schemas.microsoft.com/office/drawing/2014/main" id="{B98676B5-F188-615E-4F25-33963EB6806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60002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8" name="Freeform 5859">
                      <a:extLst>
                        <a:ext uri="{FF2B5EF4-FFF2-40B4-BE49-F238E27FC236}">
                          <a16:creationId xmlns:a16="http://schemas.microsoft.com/office/drawing/2014/main" id="{C56D2680-0913-1D66-CA1D-9B2EC1BFACE1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29143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8" name="Graphic 26">
                    <a:extLst>
                      <a:ext uri="{FF2B5EF4-FFF2-40B4-BE49-F238E27FC236}">
                        <a16:creationId xmlns:a16="http://schemas.microsoft.com/office/drawing/2014/main" id="{3C2B8BF7-3800-D736-43F1-EC96ED3A354A}"/>
                      </a:ext>
                    </a:extLst>
                  </p:cNvPr>
                  <p:cNvGrpSpPr/>
                  <p:nvPr/>
                </p:nvGrpSpPr>
                <p:grpSpPr>
                  <a:xfrm>
                    <a:off x="15322867" y="-968050"/>
                    <a:ext cx="63817" cy="62699"/>
                    <a:chOff x="15322867" y="-968050"/>
                    <a:chExt cx="63817" cy="62699"/>
                  </a:xfrm>
                </p:grpSpPr>
                <p:sp>
                  <p:nvSpPr>
                    <p:cNvPr id="1885" name="Freeform 5856">
                      <a:extLst>
                        <a:ext uri="{FF2B5EF4-FFF2-40B4-BE49-F238E27FC236}">
                          <a16:creationId xmlns:a16="http://schemas.microsoft.com/office/drawing/2014/main" id="{FBFC19C4-B035-D4F7-0BFE-071C306D31C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22867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8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8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6" name="Freeform 5857">
                      <a:extLst>
                        <a:ext uri="{FF2B5EF4-FFF2-40B4-BE49-F238E27FC236}">
                          <a16:creationId xmlns:a16="http://schemas.microsoft.com/office/drawing/2014/main" id="{F8540971-E16A-C809-9997-79DC0A169EC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54300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79" name="Graphic 26">
                    <a:extLst>
                      <a:ext uri="{FF2B5EF4-FFF2-40B4-BE49-F238E27FC236}">
                        <a16:creationId xmlns:a16="http://schemas.microsoft.com/office/drawing/2014/main" id="{C9D29548-FD4D-4F16-799B-09D35D95CA40}"/>
                      </a:ext>
                    </a:extLst>
                  </p:cNvPr>
                  <p:cNvGrpSpPr/>
                  <p:nvPr/>
                </p:nvGrpSpPr>
                <p:grpSpPr>
                  <a:xfrm>
                    <a:off x="15355252" y="-968050"/>
                    <a:ext cx="63817" cy="62699"/>
                    <a:chOff x="15355252" y="-968050"/>
                    <a:chExt cx="63817" cy="62699"/>
                  </a:xfrm>
                </p:grpSpPr>
                <p:sp>
                  <p:nvSpPr>
                    <p:cNvPr id="1883" name="Freeform 5854">
                      <a:extLst>
                        <a:ext uri="{FF2B5EF4-FFF2-40B4-BE49-F238E27FC236}">
                          <a16:creationId xmlns:a16="http://schemas.microsoft.com/office/drawing/2014/main" id="{1D265A46-301E-415D-89F0-F40D45A5BB9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55252" y="-936700"/>
                      <a:ext cx="63817" cy="9500"/>
                    </a:xfrm>
                    <a:custGeom>
                      <a:avLst/>
                      <a:gdLst>
                        <a:gd name="connsiteX0" fmla="*/ 0 w 63817"/>
                        <a:gd name="connsiteY0" fmla="*/ 0 h 9500"/>
                        <a:gd name="connsiteX1" fmla="*/ 63817 w 63817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3817" h="9500">
                          <a:moveTo>
                            <a:pt x="0" y="0"/>
                          </a:moveTo>
                          <a:lnTo>
                            <a:pt x="63817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4" name="Freeform 5855">
                      <a:extLst>
                        <a:ext uri="{FF2B5EF4-FFF2-40B4-BE49-F238E27FC236}">
                          <a16:creationId xmlns:a16="http://schemas.microsoft.com/office/drawing/2014/main" id="{FD987738-4BEC-F9AD-DE23-4A84817D87D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8668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  <p:grpSp>
                <p:nvGrpSpPr>
                  <p:cNvPr id="1880" name="Graphic 26">
                    <a:extLst>
                      <a:ext uri="{FF2B5EF4-FFF2-40B4-BE49-F238E27FC236}">
                        <a16:creationId xmlns:a16="http://schemas.microsoft.com/office/drawing/2014/main" id="{17585D3F-3692-4141-3745-008E5971569C}"/>
                      </a:ext>
                    </a:extLst>
                  </p:cNvPr>
                  <p:cNvGrpSpPr/>
                  <p:nvPr/>
                </p:nvGrpSpPr>
                <p:grpSpPr>
                  <a:xfrm>
                    <a:off x="15359062" y="-968050"/>
                    <a:ext cx="62865" cy="62699"/>
                    <a:chOff x="15359062" y="-968050"/>
                    <a:chExt cx="62865" cy="62699"/>
                  </a:xfrm>
                </p:grpSpPr>
                <p:sp>
                  <p:nvSpPr>
                    <p:cNvPr id="1881" name="Freeform 5852">
                      <a:extLst>
                        <a:ext uri="{FF2B5EF4-FFF2-40B4-BE49-F238E27FC236}">
                          <a16:creationId xmlns:a16="http://schemas.microsoft.com/office/drawing/2014/main" id="{9392FE83-EBF4-CDCF-AA72-CF93DFFA809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59062" y="-936700"/>
                      <a:ext cx="62865" cy="9500"/>
                    </a:xfrm>
                    <a:custGeom>
                      <a:avLst/>
                      <a:gdLst>
                        <a:gd name="connsiteX0" fmla="*/ 0 w 62865"/>
                        <a:gd name="connsiteY0" fmla="*/ 0 h 9500"/>
                        <a:gd name="connsiteX1" fmla="*/ 62865 w 62865"/>
                        <a:gd name="connsiteY1" fmla="*/ 0 h 950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62865" h="9500">
                          <a:moveTo>
                            <a:pt x="0" y="0"/>
                          </a:moveTo>
                          <a:lnTo>
                            <a:pt x="62865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1882" name="Freeform 5853">
                      <a:extLst>
                        <a:ext uri="{FF2B5EF4-FFF2-40B4-BE49-F238E27FC236}">
                          <a16:creationId xmlns:a16="http://schemas.microsoft.com/office/drawing/2014/main" id="{600267FE-B61F-75D5-8579-B4CEAFCBA3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5390495" y="-968050"/>
                      <a:ext cx="9525" cy="62699"/>
                    </a:xfrm>
                    <a:custGeom>
                      <a:avLst/>
                      <a:gdLst>
                        <a:gd name="connsiteX0" fmla="*/ 0 w 9525"/>
                        <a:gd name="connsiteY0" fmla="*/ 62700 h 62699"/>
                        <a:gd name="connsiteX1" fmla="*/ 0 w 9525"/>
                        <a:gd name="connsiteY1" fmla="*/ 0 h 6269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</a:cxnLst>
                      <a:rect l="l" t="t" r="r" b="b"/>
                      <a:pathLst>
                        <a:path w="9525" h="62699">
                          <a:moveTo>
                            <a:pt x="0" y="62700"/>
                          </a:moveTo>
                          <a:lnTo>
                            <a:pt x="0" y="0"/>
                          </a:lnTo>
                        </a:path>
                      </a:pathLst>
                    </a:custGeom>
                    <a:ln w="12700" cap="flat">
                      <a:solidFill>
                        <a:srgbClr val="C4D600"/>
                      </a:solidFill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sz="24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  <p:sp>
              <p:nvSpPr>
                <p:cNvPr id="1776" name="Freeform 5747">
                  <a:extLst>
                    <a:ext uri="{FF2B5EF4-FFF2-40B4-BE49-F238E27FC236}">
                      <a16:creationId xmlns:a16="http://schemas.microsoft.com/office/drawing/2014/main" id="{DADC1A96-F20E-FAB1-B3E1-A19A04A1E7DF}"/>
                    </a:ext>
                  </a:extLst>
                </p:cNvPr>
                <p:cNvSpPr/>
                <p:nvPr/>
              </p:nvSpPr>
              <p:spPr>
                <a:xfrm>
                  <a:off x="9773602" y="-2266700"/>
                  <a:ext cx="5615940" cy="1330950"/>
                </a:xfrm>
                <a:custGeom>
                  <a:avLst/>
                  <a:gdLst>
                    <a:gd name="connsiteX0" fmla="*/ 0 w 5615940"/>
                    <a:gd name="connsiteY0" fmla="*/ 0 h 1330950"/>
                    <a:gd name="connsiteX1" fmla="*/ 70485 w 5615940"/>
                    <a:gd name="connsiteY1" fmla="*/ 0 h 1330950"/>
                    <a:gd name="connsiteX2" fmla="*/ 70485 w 5615940"/>
                    <a:gd name="connsiteY2" fmla="*/ 15200 h 1330950"/>
                    <a:gd name="connsiteX3" fmla="*/ 126683 w 5615940"/>
                    <a:gd name="connsiteY3" fmla="*/ 15200 h 1330950"/>
                    <a:gd name="connsiteX4" fmla="*/ 126683 w 5615940"/>
                    <a:gd name="connsiteY4" fmla="*/ 28500 h 1330950"/>
                    <a:gd name="connsiteX5" fmla="*/ 257175 w 5615940"/>
                    <a:gd name="connsiteY5" fmla="*/ 28500 h 1330950"/>
                    <a:gd name="connsiteX6" fmla="*/ 257175 w 5615940"/>
                    <a:gd name="connsiteY6" fmla="*/ 41800 h 1330950"/>
                    <a:gd name="connsiteX7" fmla="*/ 460058 w 5615940"/>
                    <a:gd name="connsiteY7" fmla="*/ 41800 h 1330950"/>
                    <a:gd name="connsiteX8" fmla="*/ 460058 w 5615940"/>
                    <a:gd name="connsiteY8" fmla="*/ 70300 h 1330950"/>
                    <a:gd name="connsiteX9" fmla="*/ 474345 w 5615940"/>
                    <a:gd name="connsiteY9" fmla="*/ 70300 h 1330950"/>
                    <a:gd name="connsiteX10" fmla="*/ 474345 w 5615940"/>
                    <a:gd name="connsiteY10" fmla="*/ 87400 h 1330950"/>
                    <a:gd name="connsiteX11" fmla="*/ 623888 w 5615940"/>
                    <a:gd name="connsiteY11" fmla="*/ 87400 h 1330950"/>
                    <a:gd name="connsiteX12" fmla="*/ 623888 w 5615940"/>
                    <a:gd name="connsiteY12" fmla="*/ 116850 h 1330950"/>
                    <a:gd name="connsiteX13" fmla="*/ 735330 w 5615940"/>
                    <a:gd name="connsiteY13" fmla="*/ 116850 h 1330950"/>
                    <a:gd name="connsiteX14" fmla="*/ 735330 w 5615940"/>
                    <a:gd name="connsiteY14" fmla="*/ 135850 h 1330950"/>
                    <a:gd name="connsiteX15" fmla="*/ 771525 w 5615940"/>
                    <a:gd name="connsiteY15" fmla="*/ 135850 h 1330950"/>
                    <a:gd name="connsiteX16" fmla="*/ 854393 w 5615940"/>
                    <a:gd name="connsiteY16" fmla="*/ 135850 h 1330950"/>
                    <a:gd name="connsiteX17" fmla="*/ 854393 w 5615940"/>
                    <a:gd name="connsiteY17" fmla="*/ 173850 h 1330950"/>
                    <a:gd name="connsiteX18" fmla="*/ 876300 w 5615940"/>
                    <a:gd name="connsiteY18" fmla="*/ 173850 h 1330950"/>
                    <a:gd name="connsiteX19" fmla="*/ 876300 w 5615940"/>
                    <a:gd name="connsiteY19" fmla="*/ 201400 h 1330950"/>
                    <a:gd name="connsiteX20" fmla="*/ 922973 w 5615940"/>
                    <a:gd name="connsiteY20" fmla="*/ 201400 h 1330950"/>
                    <a:gd name="connsiteX21" fmla="*/ 922973 w 5615940"/>
                    <a:gd name="connsiteY21" fmla="*/ 216600 h 1330950"/>
                    <a:gd name="connsiteX22" fmla="*/ 1195388 w 5615940"/>
                    <a:gd name="connsiteY22" fmla="*/ 216600 h 1330950"/>
                    <a:gd name="connsiteX23" fmla="*/ 1195388 w 5615940"/>
                    <a:gd name="connsiteY23" fmla="*/ 240350 h 1330950"/>
                    <a:gd name="connsiteX24" fmla="*/ 1360170 w 5615940"/>
                    <a:gd name="connsiteY24" fmla="*/ 240350 h 1330950"/>
                    <a:gd name="connsiteX25" fmla="*/ 1360170 w 5615940"/>
                    <a:gd name="connsiteY25" fmla="*/ 253650 h 1330950"/>
                    <a:gd name="connsiteX26" fmla="*/ 1389698 w 5615940"/>
                    <a:gd name="connsiteY26" fmla="*/ 253650 h 1330950"/>
                    <a:gd name="connsiteX27" fmla="*/ 1389698 w 5615940"/>
                    <a:gd name="connsiteY27" fmla="*/ 286900 h 1330950"/>
                    <a:gd name="connsiteX28" fmla="*/ 1508760 w 5615940"/>
                    <a:gd name="connsiteY28" fmla="*/ 286900 h 1330950"/>
                    <a:gd name="connsiteX29" fmla="*/ 1508760 w 5615940"/>
                    <a:gd name="connsiteY29" fmla="*/ 304000 h 1330950"/>
                    <a:gd name="connsiteX30" fmla="*/ 1578293 w 5615940"/>
                    <a:gd name="connsiteY30" fmla="*/ 304000 h 1330950"/>
                    <a:gd name="connsiteX31" fmla="*/ 1578293 w 5615940"/>
                    <a:gd name="connsiteY31" fmla="*/ 320150 h 1330950"/>
                    <a:gd name="connsiteX32" fmla="*/ 1656398 w 5615940"/>
                    <a:gd name="connsiteY32" fmla="*/ 320150 h 1330950"/>
                    <a:gd name="connsiteX33" fmla="*/ 1656398 w 5615940"/>
                    <a:gd name="connsiteY33" fmla="*/ 334400 h 1330950"/>
                    <a:gd name="connsiteX34" fmla="*/ 1701165 w 5615940"/>
                    <a:gd name="connsiteY34" fmla="*/ 334400 h 1330950"/>
                    <a:gd name="connsiteX35" fmla="*/ 1701165 w 5615940"/>
                    <a:gd name="connsiteY35" fmla="*/ 349600 h 1330950"/>
                    <a:gd name="connsiteX36" fmla="*/ 1752600 w 5615940"/>
                    <a:gd name="connsiteY36" fmla="*/ 349600 h 1330950"/>
                    <a:gd name="connsiteX37" fmla="*/ 1752600 w 5615940"/>
                    <a:gd name="connsiteY37" fmla="*/ 362900 h 1330950"/>
                    <a:gd name="connsiteX38" fmla="*/ 1864995 w 5615940"/>
                    <a:gd name="connsiteY38" fmla="*/ 362900 h 1330950"/>
                    <a:gd name="connsiteX39" fmla="*/ 1864995 w 5615940"/>
                    <a:gd name="connsiteY39" fmla="*/ 413250 h 1330950"/>
                    <a:gd name="connsiteX40" fmla="*/ 1927860 w 5615940"/>
                    <a:gd name="connsiteY40" fmla="*/ 413250 h 1330950"/>
                    <a:gd name="connsiteX41" fmla="*/ 1927860 w 5615940"/>
                    <a:gd name="connsiteY41" fmla="*/ 428450 h 1330950"/>
                    <a:gd name="connsiteX42" fmla="*/ 2143125 w 5615940"/>
                    <a:gd name="connsiteY42" fmla="*/ 428450 h 1330950"/>
                    <a:gd name="connsiteX43" fmla="*/ 2143125 w 5615940"/>
                    <a:gd name="connsiteY43" fmla="*/ 448400 h 1330950"/>
                    <a:gd name="connsiteX44" fmla="*/ 2163128 w 5615940"/>
                    <a:gd name="connsiteY44" fmla="*/ 448400 h 1330950"/>
                    <a:gd name="connsiteX45" fmla="*/ 2163128 w 5615940"/>
                    <a:gd name="connsiteY45" fmla="*/ 465500 h 1330950"/>
                    <a:gd name="connsiteX46" fmla="*/ 2191703 w 5615940"/>
                    <a:gd name="connsiteY46" fmla="*/ 465500 h 1330950"/>
                    <a:gd name="connsiteX47" fmla="*/ 2191703 w 5615940"/>
                    <a:gd name="connsiteY47" fmla="*/ 479750 h 1330950"/>
                    <a:gd name="connsiteX48" fmla="*/ 2269808 w 5615940"/>
                    <a:gd name="connsiteY48" fmla="*/ 479750 h 1330950"/>
                    <a:gd name="connsiteX49" fmla="*/ 2269808 w 5615940"/>
                    <a:gd name="connsiteY49" fmla="*/ 495900 h 1330950"/>
                    <a:gd name="connsiteX50" fmla="*/ 2295525 w 5615940"/>
                    <a:gd name="connsiteY50" fmla="*/ 495900 h 1330950"/>
                    <a:gd name="connsiteX51" fmla="*/ 2295525 w 5615940"/>
                    <a:gd name="connsiteY51" fmla="*/ 512050 h 1330950"/>
                    <a:gd name="connsiteX52" fmla="*/ 2387918 w 5615940"/>
                    <a:gd name="connsiteY52" fmla="*/ 512050 h 1330950"/>
                    <a:gd name="connsiteX53" fmla="*/ 2387918 w 5615940"/>
                    <a:gd name="connsiteY53" fmla="*/ 525350 h 1330950"/>
                    <a:gd name="connsiteX54" fmla="*/ 2497455 w 5615940"/>
                    <a:gd name="connsiteY54" fmla="*/ 525350 h 1330950"/>
                    <a:gd name="connsiteX55" fmla="*/ 2497455 w 5615940"/>
                    <a:gd name="connsiteY55" fmla="*/ 564300 h 1330950"/>
                    <a:gd name="connsiteX56" fmla="*/ 2569845 w 5615940"/>
                    <a:gd name="connsiteY56" fmla="*/ 564300 h 1330950"/>
                    <a:gd name="connsiteX57" fmla="*/ 2569845 w 5615940"/>
                    <a:gd name="connsiteY57" fmla="*/ 580450 h 1330950"/>
                    <a:gd name="connsiteX58" fmla="*/ 2604135 w 5615940"/>
                    <a:gd name="connsiteY58" fmla="*/ 580450 h 1330950"/>
                    <a:gd name="connsiteX59" fmla="*/ 2604135 w 5615940"/>
                    <a:gd name="connsiteY59" fmla="*/ 597550 h 1330950"/>
                    <a:gd name="connsiteX60" fmla="*/ 2614613 w 5615940"/>
                    <a:gd name="connsiteY60" fmla="*/ 597550 h 1330950"/>
                    <a:gd name="connsiteX61" fmla="*/ 2614613 w 5615940"/>
                    <a:gd name="connsiteY61" fmla="*/ 610850 h 1330950"/>
                    <a:gd name="connsiteX62" fmla="*/ 2663190 w 5615940"/>
                    <a:gd name="connsiteY62" fmla="*/ 610850 h 1330950"/>
                    <a:gd name="connsiteX63" fmla="*/ 2663190 w 5615940"/>
                    <a:gd name="connsiteY63" fmla="*/ 631750 h 1330950"/>
                    <a:gd name="connsiteX64" fmla="*/ 2712720 w 5615940"/>
                    <a:gd name="connsiteY64" fmla="*/ 631750 h 1330950"/>
                    <a:gd name="connsiteX65" fmla="*/ 2712720 w 5615940"/>
                    <a:gd name="connsiteY65" fmla="*/ 649800 h 1330950"/>
                    <a:gd name="connsiteX66" fmla="*/ 2810828 w 5615940"/>
                    <a:gd name="connsiteY66" fmla="*/ 649800 h 1330950"/>
                    <a:gd name="connsiteX67" fmla="*/ 2810828 w 5615940"/>
                    <a:gd name="connsiteY67" fmla="*/ 663100 h 1330950"/>
                    <a:gd name="connsiteX68" fmla="*/ 2818448 w 5615940"/>
                    <a:gd name="connsiteY68" fmla="*/ 663100 h 1330950"/>
                    <a:gd name="connsiteX69" fmla="*/ 2818448 w 5615940"/>
                    <a:gd name="connsiteY69" fmla="*/ 682100 h 1330950"/>
                    <a:gd name="connsiteX70" fmla="*/ 2989898 w 5615940"/>
                    <a:gd name="connsiteY70" fmla="*/ 682100 h 1330950"/>
                    <a:gd name="connsiteX71" fmla="*/ 2989898 w 5615940"/>
                    <a:gd name="connsiteY71" fmla="*/ 698250 h 1330950"/>
                    <a:gd name="connsiteX72" fmla="*/ 3065145 w 5615940"/>
                    <a:gd name="connsiteY72" fmla="*/ 698250 h 1330950"/>
                    <a:gd name="connsiteX73" fmla="*/ 3065145 w 5615940"/>
                    <a:gd name="connsiteY73" fmla="*/ 714400 h 1330950"/>
                    <a:gd name="connsiteX74" fmla="*/ 3224213 w 5615940"/>
                    <a:gd name="connsiteY74" fmla="*/ 714400 h 1330950"/>
                    <a:gd name="connsiteX75" fmla="*/ 3224213 w 5615940"/>
                    <a:gd name="connsiteY75" fmla="*/ 735300 h 1330950"/>
                    <a:gd name="connsiteX76" fmla="*/ 3270885 w 5615940"/>
                    <a:gd name="connsiteY76" fmla="*/ 735300 h 1330950"/>
                    <a:gd name="connsiteX77" fmla="*/ 3270885 w 5615940"/>
                    <a:gd name="connsiteY77" fmla="*/ 750500 h 1330950"/>
                    <a:gd name="connsiteX78" fmla="*/ 3307080 w 5615940"/>
                    <a:gd name="connsiteY78" fmla="*/ 750500 h 1330950"/>
                    <a:gd name="connsiteX79" fmla="*/ 3307080 w 5615940"/>
                    <a:gd name="connsiteY79" fmla="*/ 766650 h 1330950"/>
                    <a:gd name="connsiteX80" fmla="*/ 3461385 w 5615940"/>
                    <a:gd name="connsiteY80" fmla="*/ 766650 h 1330950"/>
                    <a:gd name="connsiteX81" fmla="*/ 3461385 w 5615940"/>
                    <a:gd name="connsiteY81" fmla="*/ 802750 h 1330950"/>
                    <a:gd name="connsiteX82" fmla="*/ 3520440 w 5615940"/>
                    <a:gd name="connsiteY82" fmla="*/ 802750 h 1330950"/>
                    <a:gd name="connsiteX83" fmla="*/ 3520440 w 5615940"/>
                    <a:gd name="connsiteY83" fmla="*/ 821750 h 1330950"/>
                    <a:gd name="connsiteX84" fmla="*/ 3546158 w 5615940"/>
                    <a:gd name="connsiteY84" fmla="*/ 821750 h 1330950"/>
                    <a:gd name="connsiteX85" fmla="*/ 3546158 w 5615940"/>
                    <a:gd name="connsiteY85" fmla="*/ 851200 h 1330950"/>
                    <a:gd name="connsiteX86" fmla="*/ 3559493 w 5615940"/>
                    <a:gd name="connsiteY86" fmla="*/ 851200 h 1330950"/>
                    <a:gd name="connsiteX87" fmla="*/ 3559493 w 5615940"/>
                    <a:gd name="connsiteY87" fmla="*/ 878750 h 1330950"/>
                    <a:gd name="connsiteX88" fmla="*/ 3576638 w 5615940"/>
                    <a:gd name="connsiteY88" fmla="*/ 878750 h 1330950"/>
                    <a:gd name="connsiteX89" fmla="*/ 3576638 w 5615940"/>
                    <a:gd name="connsiteY89" fmla="*/ 889200 h 1330950"/>
                    <a:gd name="connsiteX90" fmla="*/ 3635693 w 5615940"/>
                    <a:gd name="connsiteY90" fmla="*/ 889200 h 1330950"/>
                    <a:gd name="connsiteX91" fmla="*/ 3635693 w 5615940"/>
                    <a:gd name="connsiteY91" fmla="*/ 915800 h 1330950"/>
                    <a:gd name="connsiteX92" fmla="*/ 3867150 w 5615940"/>
                    <a:gd name="connsiteY92" fmla="*/ 915800 h 1330950"/>
                    <a:gd name="connsiteX93" fmla="*/ 3867150 w 5615940"/>
                    <a:gd name="connsiteY93" fmla="*/ 934800 h 1330950"/>
                    <a:gd name="connsiteX94" fmla="*/ 4167188 w 5615940"/>
                    <a:gd name="connsiteY94" fmla="*/ 934800 h 1330950"/>
                    <a:gd name="connsiteX95" fmla="*/ 4167188 w 5615940"/>
                    <a:gd name="connsiteY95" fmla="*/ 965200 h 1330950"/>
                    <a:gd name="connsiteX96" fmla="*/ 4264343 w 5615940"/>
                    <a:gd name="connsiteY96" fmla="*/ 965200 h 1330950"/>
                    <a:gd name="connsiteX97" fmla="*/ 4264343 w 5615940"/>
                    <a:gd name="connsiteY97" fmla="*/ 990850 h 1330950"/>
                    <a:gd name="connsiteX98" fmla="*/ 4355783 w 5615940"/>
                    <a:gd name="connsiteY98" fmla="*/ 990850 h 1330950"/>
                    <a:gd name="connsiteX99" fmla="*/ 4355783 w 5615940"/>
                    <a:gd name="connsiteY99" fmla="*/ 1022200 h 1330950"/>
                    <a:gd name="connsiteX100" fmla="*/ 4378643 w 5615940"/>
                    <a:gd name="connsiteY100" fmla="*/ 1022200 h 1330950"/>
                    <a:gd name="connsiteX101" fmla="*/ 4378643 w 5615940"/>
                    <a:gd name="connsiteY101" fmla="*/ 1059250 h 1330950"/>
                    <a:gd name="connsiteX102" fmla="*/ 4390073 w 5615940"/>
                    <a:gd name="connsiteY102" fmla="*/ 1059250 h 1330950"/>
                    <a:gd name="connsiteX103" fmla="*/ 4390073 w 5615940"/>
                    <a:gd name="connsiteY103" fmla="*/ 1092500 h 1330950"/>
                    <a:gd name="connsiteX104" fmla="*/ 4450080 w 5615940"/>
                    <a:gd name="connsiteY104" fmla="*/ 1092500 h 1330950"/>
                    <a:gd name="connsiteX105" fmla="*/ 4450080 w 5615940"/>
                    <a:gd name="connsiteY105" fmla="*/ 1131450 h 1330950"/>
                    <a:gd name="connsiteX106" fmla="*/ 4495800 w 5615940"/>
                    <a:gd name="connsiteY106" fmla="*/ 1131450 h 1330950"/>
                    <a:gd name="connsiteX107" fmla="*/ 4495800 w 5615940"/>
                    <a:gd name="connsiteY107" fmla="*/ 1171350 h 1330950"/>
                    <a:gd name="connsiteX108" fmla="*/ 4732973 w 5615940"/>
                    <a:gd name="connsiteY108" fmla="*/ 1171350 h 1330950"/>
                    <a:gd name="connsiteX109" fmla="*/ 4732973 w 5615940"/>
                    <a:gd name="connsiteY109" fmla="*/ 1213150 h 1330950"/>
                    <a:gd name="connsiteX110" fmla="*/ 4817745 w 5615940"/>
                    <a:gd name="connsiteY110" fmla="*/ 1213150 h 1330950"/>
                    <a:gd name="connsiteX111" fmla="*/ 4817745 w 5615940"/>
                    <a:gd name="connsiteY111" fmla="*/ 1257800 h 1330950"/>
                    <a:gd name="connsiteX112" fmla="*/ 4988243 w 5615940"/>
                    <a:gd name="connsiteY112" fmla="*/ 1257800 h 1330950"/>
                    <a:gd name="connsiteX113" fmla="*/ 4988243 w 5615940"/>
                    <a:gd name="connsiteY113" fmla="*/ 1330950 h 1330950"/>
                    <a:gd name="connsiteX114" fmla="*/ 5615940 w 5615940"/>
                    <a:gd name="connsiteY114" fmla="*/ 1330950 h 1330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</a:cxnLst>
                  <a:rect l="l" t="t" r="r" b="b"/>
                  <a:pathLst>
                    <a:path w="5615940" h="1330950">
                      <a:moveTo>
                        <a:pt x="0" y="0"/>
                      </a:moveTo>
                      <a:lnTo>
                        <a:pt x="70485" y="0"/>
                      </a:lnTo>
                      <a:lnTo>
                        <a:pt x="70485" y="15200"/>
                      </a:lnTo>
                      <a:lnTo>
                        <a:pt x="126683" y="15200"/>
                      </a:lnTo>
                      <a:lnTo>
                        <a:pt x="126683" y="28500"/>
                      </a:lnTo>
                      <a:lnTo>
                        <a:pt x="257175" y="28500"/>
                      </a:lnTo>
                      <a:lnTo>
                        <a:pt x="257175" y="41800"/>
                      </a:lnTo>
                      <a:lnTo>
                        <a:pt x="460058" y="41800"/>
                      </a:lnTo>
                      <a:lnTo>
                        <a:pt x="460058" y="70300"/>
                      </a:lnTo>
                      <a:lnTo>
                        <a:pt x="474345" y="70300"/>
                      </a:lnTo>
                      <a:lnTo>
                        <a:pt x="474345" y="87400"/>
                      </a:lnTo>
                      <a:lnTo>
                        <a:pt x="623888" y="87400"/>
                      </a:lnTo>
                      <a:lnTo>
                        <a:pt x="623888" y="116850"/>
                      </a:lnTo>
                      <a:lnTo>
                        <a:pt x="735330" y="116850"/>
                      </a:lnTo>
                      <a:lnTo>
                        <a:pt x="735330" y="135850"/>
                      </a:lnTo>
                      <a:lnTo>
                        <a:pt x="771525" y="135850"/>
                      </a:lnTo>
                      <a:lnTo>
                        <a:pt x="854393" y="135850"/>
                      </a:lnTo>
                      <a:lnTo>
                        <a:pt x="854393" y="173850"/>
                      </a:lnTo>
                      <a:lnTo>
                        <a:pt x="876300" y="173850"/>
                      </a:lnTo>
                      <a:lnTo>
                        <a:pt x="876300" y="201400"/>
                      </a:lnTo>
                      <a:lnTo>
                        <a:pt x="922973" y="201400"/>
                      </a:lnTo>
                      <a:lnTo>
                        <a:pt x="922973" y="216600"/>
                      </a:lnTo>
                      <a:lnTo>
                        <a:pt x="1195388" y="216600"/>
                      </a:lnTo>
                      <a:lnTo>
                        <a:pt x="1195388" y="240350"/>
                      </a:lnTo>
                      <a:lnTo>
                        <a:pt x="1360170" y="240350"/>
                      </a:lnTo>
                      <a:lnTo>
                        <a:pt x="1360170" y="253650"/>
                      </a:lnTo>
                      <a:lnTo>
                        <a:pt x="1389698" y="253650"/>
                      </a:lnTo>
                      <a:lnTo>
                        <a:pt x="1389698" y="286900"/>
                      </a:lnTo>
                      <a:lnTo>
                        <a:pt x="1508760" y="286900"/>
                      </a:lnTo>
                      <a:lnTo>
                        <a:pt x="1508760" y="304000"/>
                      </a:lnTo>
                      <a:lnTo>
                        <a:pt x="1578293" y="304000"/>
                      </a:lnTo>
                      <a:lnTo>
                        <a:pt x="1578293" y="320150"/>
                      </a:lnTo>
                      <a:lnTo>
                        <a:pt x="1656398" y="320150"/>
                      </a:lnTo>
                      <a:lnTo>
                        <a:pt x="1656398" y="334400"/>
                      </a:lnTo>
                      <a:lnTo>
                        <a:pt x="1701165" y="334400"/>
                      </a:lnTo>
                      <a:lnTo>
                        <a:pt x="1701165" y="349600"/>
                      </a:lnTo>
                      <a:lnTo>
                        <a:pt x="1752600" y="349600"/>
                      </a:lnTo>
                      <a:lnTo>
                        <a:pt x="1752600" y="362900"/>
                      </a:lnTo>
                      <a:lnTo>
                        <a:pt x="1864995" y="362900"/>
                      </a:lnTo>
                      <a:lnTo>
                        <a:pt x="1864995" y="413250"/>
                      </a:lnTo>
                      <a:lnTo>
                        <a:pt x="1927860" y="413250"/>
                      </a:lnTo>
                      <a:lnTo>
                        <a:pt x="1927860" y="428450"/>
                      </a:lnTo>
                      <a:lnTo>
                        <a:pt x="2143125" y="428450"/>
                      </a:lnTo>
                      <a:lnTo>
                        <a:pt x="2143125" y="448400"/>
                      </a:lnTo>
                      <a:lnTo>
                        <a:pt x="2163128" y="448400"/>
                      </a:lnTo>
                      <a:lnTo>
                        <a:pt x="2163128" y="465500"/>
                      </a:lnTo>
                      <a:lnTo>
                        <a:pt x="2191703" y="465500"/>
                      </a:lnTo>
                      <a:lnTo>
                        <a:pt x="2191703" y="479750"/>
                      </a:lnTo>
                      <a:lnTo>
                        <a:pt x="2269808" y="479750"/>
                      </a:lnTo>
                      <a:lnTo>
                        <a:pt x="2269808" y="495900"/>
                      </a:lnTo>
                      <a:lnTo>
                        <a:pt x="2295525" y="495900"/>
                      </a:lnTo>
                      <a:lnTo>
                        <a:pt x="2295525" y="512050"/>
                      </a:lnTo>
                      <a:lnTo>
                        <a:pt x="2387918" y="512050"/>
                      </a:lnTo>
                      <a:lnTo>
                        <a:pt x="2387918" y="525350"/>
                      </a:lnTo>
                      <a:lnTo>
                        <a:pt x="2497455" y="525350"/>
                      </a:lnTo>
                      <a:lnTo>
                        <a:pt x="2497455" y="564300"/>
                      </a:lnTo>
                      <a:lnTo>
                        <a:pt x="2569845" y="564300"/>
                      </a:lnTo>
                      <a:lnTo>
                        <a:pt x="2569845" y="580450"/>
                      </a:lnTo>
                      <a:lnTo>
                        <a:pt x="2604135" y="580450"/>
                      </a:lnTo>
                      <a:lnTo>
                        <a:pt x="2604135" y="597550"/>
                      </a:lnTo>
                      <a:lnTo>
                        <a:pt x="2614613" y="597550"/>
                      </a:lnTo>
                      <a:lnTo>
                        <a:pt x="2614613" y="610850"/>
                      </a:lnTo>
                      <a:lnTo>
                        <a:pt x="2663190" y="610850"/>
                      </a:lnTo>
                      <a:lnTo>
                        <a:pt x="2663190" y="631750"/>
                      </a:lnTo>
                      <a:lnTo>
                        <a:pt x="2712720" y="631750"/>
                      </a:lnTo>
                      <a:lnTo>
                        <a:pt x="2712720" y="649800"/>
                      </a:lnTo>
                      <a:lnTo>
                        <a:pt x="2810828" y="649800"/>
                      </a:lnTo>
                      <a:lnTo>
                        <a:pt x="2810828" y="663100"/>
                      </a:lnTo>
                      <a:lnTo>
                        <a:pt x="2818448" y="663100"/>
                      </a:lnTo>
                      <a:lnTo>
                        <a:pt x="2818448" y="682100"/>
                      </a:lnTo>
                      <a:lnTo>
                        <a:pt x="2989898" y="682100"/>
                      </a:lnTo>
                      <a:lnTo>
                        <a:pt x="2989898" y="698250"/>
                      </a:lnTo>
                      <a:lnTo>
                        <a:pt x="3065145" y="698250"/>
                      </a:lnTo>
                      <a:lnTo>
                        <a:pt x="3065145" y="714400"/>
                      </a:lnTo>
                      <a:lnTo>
                        <a:pt x="3224213" y="714400"/>
                      </a:lnTo>
                      <a:lnTo>
                        <a:pt x="3224213" y="735300"/>
                      </a:lnTo>
                      <a:lnTo>
                        <a:pt x="3270885" y="735300"/>
                      </a:lnTo>
                      <a:lnTo>
                        <a:pt x="3270885" y="750500"/>
                      </a:lnTo>
                      <a:lnTo>
                        <a:pt x="3307080" y="750500"/>
                      </a:lnTo>
                      <a:lnTo>
                        <a:pt x="3307080" y="766650"/>
                      </a:lnTo>
                      <a:lnTo>
                        <a:pt x="3461385" y="766650"/>
                      </a:lnTo>
                      <a:lnTo>
                        <a:pt x="3461385" y="802750"/>
                      </a:lnTo>
                      <a:lnTo>
                        <a:pt x="3520440" y="802750"/>
                      </a:lnTo>
                      <a:lnTo>
                        <a:pt x="3520440" y="821750"/>
                      </a:lnTo>
                      <a:lnTo>
                        <a:pt x="3546158" y="821750"/>
                      </a:lnTo>
                      <a:lnTo>
                        <a:pt x="3546158" y="851200"/>
                      </a:lnTo>
                      <a:lnTo>
                        <a:pt x="3559493" y="851200"/>
                      </a:lnTo>
                      <a:lnTo>
                        <a:pt x="3559493" y="878750"/>
                      </a:lnTo>
                      <a:lnTo>
                        <a:pt x="3576638" y="878750"/>
                      </a:lnTo>
                      <a:lnTo>
                        <a:pt x="3576638" y="889200"/>
                      </a:lnTo>
                      <a:lnTo>
                        <a:pt x="3635693" y="889200"/>
                      </a:lnTo>
                      <a:lnTo>
                        <a:pt x="3635693" y="915800"/>
                      </a:lnTo>
                      <a:lnTo>
                        <a:pt x="3867150" y="915800"/>
                      </a:lnTo>
                      <a:lnTo>
                        <a:pt x="3867150" y="934800"/>
                      </a:lnTo>
                      <a:lnTo>
                        <a:pt x="4167188" y="934800"/>
                      </a:lnTo>
                      <a:lnTo>
                        <a:pt x="4167188" y="965200"/>
                      </a:lnTo>
                      <a:lnTo>
                        <a:pt x="4264343" y="965200"/>
                      </a:lnTo>
                      <a:lnTo>
                        <a:pt x="4264343" y="990850"/>
                      </a:lnTo>
                      <a:lnTo>
                        <a:pt x="4355783" y="990850"/>
                      </a:lnTo>
                      <a:lnTo>
                        <a:pt x="4355783" y="1022200"/>
                      </a:lnTo>
                      <a:lnTo>
                        <a:pt x="4378643" y="1022200"/>
                      </a:lnTo>
                      <a:lnTo>
                        <a:pt x="4378643" y="1059250"/>
                      </a:lnTo>
                      <a:lnTo>
                        <a:pt x="4390073" y="1059250"/>
                      </a:lnTo>
                      <a:lnTo>
                        <a:pt x="4390073" y="1092500"/>
                      </a:lnTo>
                      <a:lnTo>
                        <a:pt x="4450080" y="1092500"/>
                      </a:lnTo>
                      <a:lnTo>
                        <a:pt x="4450080" y="1131450"/>
                      </a:lnTo>
                      <a:lnTo>
                        <a:pt x="4495800" y="1131450"/>
                      </a:lnTo>
                      <a:lnTo>
                        <a:pt x="4495800" y="1171350"/>
                      </a:lnTo>
                      <a:lnTo>
                        <a:pt x="4732973" y="1171350"/>
                      </a:lnTo>
                      <a:lnTo>
                        <a:pt x="4732973" y="1213150"/>
                      </a:lnTo>
                      <a:lnTo>
                        <a:pt x="4817745" y="1213150"/>
                      </a:lnTo>
                      <a:lnTo>
                        <a:pt x="4817745" y="1257800"/>
                      </a:lnTo>
                      <a:lnTo>
                        <a:pt x="4988243" y="1257800"/>
                      </a:lnTo>
                      <a:lnTo>
                        <a:pt x="4988243" y="1330950"/>
                      </a:lnTo>
                      <a:lnTo>
                        <a:pt x="5615940" y="1330950"/>
                      </a:lnTo>
                    </a:path>
                  </a:pathLst>
                </a:custGeom>
                <a:noFill/>
                <a:ln w="12700" cap="flat">
                  <a:solidFill>
                    <a:srgbClr val="C4D600"/>
                  </a:solidFill>
                  <a:custDash>
                    <a:ds d="300000" sp="150000"/>
                  </a:custDash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4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16" name="Group 1715">
                <a:extLst>
                  <a:ext uri="{FF2B5EF4-FFF2-40B4-BE49-F238E27FC236}">
                    <a16:creationId xmlns:a16="http://schemas.microsoft.com/office/drawing/2014/main" id="{532A9A00-DBE2-91AA-807F-E180D2970C22}"/>
                  </a:ext>
                </a:extLst>
              </p:cNvPr>
              <p:cNvGrpSpPr/>
              <p:nvPr/>
            </p:nvGrpSpPr>
            <p:grpSpPr>
              <a:xfrm>
                <a:off x="552480" y="1346923"/>
                <a:ext cx="658931" cy="2851188"/>
                <a:chOff x="479587" y="985332"/>
                <a:chExt cx="494196" cy="2138390"/>
              </a:xfrm>
            </p:grpSpPr>
            <p:sp>
              <p:nvSpPr>
                <p:cNvPr id="1769" name="TextBox 1768">
                  <a:extLst>
                    <a:ext uri="{FF2B5EF4-FFF2-40B4-BE49-F238E27FC236}">
                      <a16:creationId xmlns:a16="http://schemas.microsoft.com/office/drawing/2014/main" id="{1ACF9B66-8431-D02E-CCB6-F5182DC30663}"/>
                    </a:ext>
                  </a:extLst>
                </p:cNvPr>
                <p:cNvSpPr txBox="1"/>
                <p:nvPr/>
              </p:nvSpPr>
              <p:spPr>
                <a:xfrm>
                  <a:off x="479587" y="985332"/>
                  <a:ext cx="494191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00</a:t>
                  </a:r>
                </a:p>
              </p:txBody>
            </p:sp>
            <p:sp>
              <p:nvSpPr>
                <p:cNvPr id="1770" name="TextBox 1769">
                  <a:extLst>
                    <a:ext uri="{FF2B5EF4-FFF2-40B4-BE49-F238E27FC236}">
                      <a16:creationId xmlns:a16="http://schemas.microsoft.com/office/drawing/2014/main" id="{80EB437F-EF25-328A-4318-353729A6DF2E}"/>
                    </a:ext>
                  </a:extLst>
                </p:cNvPr>
                <p:cNvSpPr txBox="1"/>
                <p:nvPr/>
              </p:nvSpPr>
              <p:spPr>
                <a:xfrm>
                  <a:off x="600514" y="1371735"/>
                  <a:ext cx="373268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80</a:t>
                  </a:r>
                </a:p>
              </p:txBody>
            </p:sp>
            <p:sp>
              <p:nvSpPr>
                <p:cNvPr id="1771" name="TextBox 1770">
                  <a:extLst>
                    <a:ext uri="{FF2B5EF4-FFF2-40B4-BE49-F238E27FC236}">
                      <a16:creationId xmlns:a16="http://schemas.microsoft.com/office/drawing/2014/main" id="{CEF9ADD8-04D9-611C-40FE-02BC2B1972F0}"/>
                    </a:ext>
                  </a:extLst>
                </p:cNvPr>
                <p:cNvSpPr txBox="1"/>
                <p:nvPr/>
              </p:nvSpPr>
              <p:spPr>
                <a:xfrm>
                  <a:off x="600514" y="1758137"/>
                  <a:ext cx="373268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0</a:t>
                  </a:r>
                </a:p>
              </p:txBody>
            </p:sp>
            <p:sp>
              <p:nvSpPr>
                <p:cNvPr id="1772" name="TextBox 1771">
                  <a:extLst>
                    <a:ext uri="{FF2B5EF4-FFF2-40B4-BE49-F238E27FC236}">
                      <a16:creationId xmlns:a16="http://schemas.microsoft.com/office/drawing/2014/main" id="{468545B5-8E45-BED2-9517-CF19B0850D23}"/>
                    </a:ext>
                  </a:extLst>
                </p:cNvPr>
                <p:cNvSpPr txBox="1"/>
                <p:nvPr/>
              </p:nvSpPr>
              <p:spPr>
                <a:xfrm>
                  <a:off x="600514" y="2144540"/>
                  <a:ext cx="373268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0</a:t>
                  </a:r>
                </a:p>
              </p:txBody>
            </p:sp>
            <p:sp>
              <p:nvSpPr>
                <p:cNvPr id="1773" name="TextBox 1772">
                  <a:extLst>
                    <a:ext uri="{FF2B5EF4-FFF2-40B4-BE49-F238E27FC236}">
                      <a16:creationId xmlns:a16="http://schemas.microsoft.com/office/drawing/2014/main" id="{09EDEDE7-4EA7-AA1A-AC62-E76D14C6E6AF}"/>
                    </a:ext>
                  </a:extLst>
                </p:cNvPr>
                <p:cNvSpPr txBox="1"/>
                <p:nvPr/>
              </p:nvSpPr>
              <p:spPr>
                <a:xfrm>
                  <a:off x="600511" y="2530944"/>
                  <a:ext cx="373269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0</a:t>
                  </a:r>
                </a:p>
              </p:txBody>
            </p:sp>
            <p:sp>
              <p:nvSpPr>
                <p:cNvPr id="1774" name="TextBox 1773">
                  <a:extLst>
                    <a:ext uri="{FF2B5EF4-FFF2-40B4-BE49-F238E27FC236}">
                      <a16:creationId xmlns:a16="http://schemas.microsoft.com/office/drawing/2014/main" id="{10F9ED68-4F92-3FF8-181E-00B3E60B5233}"/>
                    </a:ext>
                  </a:extLst>
                </p:cNvPr>
                <p:cNvSpPr txBox="1"/>
                <p:nvPr/>
              </p:nvSpPr>
              <p:spPr>
                <a:xfrm>
                  <a:off x="721438" y="2917346"/>
                  <a:ext cx="252345" cy="206376"/>
                </a:xfrm>
                <a:prstGeom prst="rect">
                  <a:avLst/>
                </a:prstGeom>
                <a:noFill/>
              </p:spPr>
              <p:txBody>
                <a:bodyPr wrap="none" rIns="0" rtlCol="0" anchor="ctr" anchorCtr="0">
                  <a:spAutoFit/>
                </a:bodyPr>
                <a:lstStyle/>
                <a:p>
                  <a:pPr marL="0" marR="0" lvl="0" indent="0" algn="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</a:p>
              </p:txBody>
            </p:sp>
          </p:grpSp>
          <p:sp>
            <p:nvSpPr>
              <p:cNvPr id="1717" name="TextBox 1716">
                <a:extLst>
                  <a:ext uri="{FF2B5EF4-FFF2-40B4-BE49-F238E27FC236}">
                    <a16:creationId xmlns:a16="http://schemas.microsoft.com/office/drawing/2014/main" id="{5C21770C-3FE1-7BB3-8137-2FB14FD65F2B}"/>
                  </a:ext>
                </a:extLst>
              </p:cNvPr>
              <p:cNvSpPr txBox="1"/>
              <p:nvPr/>
            </p:nvSpPr>
            <p:spPr>
              <a:xfrm rot="16200000">
                <a:off x="-697450" y="2473250"/>
                <a:ext cx="2688653" cy="584088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FS (%)</a:t>
                </a:r>
              </a:p>
            </p:txBody>
          </p:sp>
          <p:grpSp>
            <p:nvGrpSpPr>
              <p:cNvPr id="1718" name="Group 1717">
                <a:extLst>
                  <a:ext uri="{FF2B5EF4-FFF2-40B4-BE49-F238E27FC236}">
                    <a16:creationId xmlns:a16="http://schemas.microsoft.com/office/drawing/2014/main" id="{04B94F69-2947-7548-74B1-FF8C3B0458E3}"/>
                  </a:ext>
                </a:extLst>
              </p:cNvPr>
              <p:cNvGrpSpPr/>
              <p:nvPr/>
            </p:nvGrpSpPr>
            <p:grpSpPr>
              <a:xfrm>
                <a:off x="1289243" y="4138003"/>
                <a:ext cx="10386611" cy="275168"/>
                <a:chOff x="1162868" y="3256608"/>
                <a:chExt cx="7789958" cy="206376"/>
              </a:xfrm>
            </p:grpSpPr>
            <p:sp>
              <p:nvSpPr>
                <p:cNvPr id="1758" name="TextBox 1757">
                  <a:extLst>
                    <a:ext uri="{FF2B5EF4-FFF2-40B4-BE49-F238E27FC236}">
                      <a16:creationId xmlns:a16="http://schemas.microsoft.com/office/drawing/2014/main" id="{F36ED692-261D-A8C9-A03E-8D902BB849FB}"/>
                    </a:ext>
                  </a:extLst>
                </p:cNvPr>
                <p:cNvSpPr txBox="1"/>
                <p:nvPr/>
              </p:nvSpPr>
              <p:spPr>
                <a:xfrm>
                  <a:off x="1162868" y="3256608"/>
                  <a:ext cx="275832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</a:t>
                  </a:r>
                </a:p>
              </p:txBody>
            </p:sp>
            <p:sp>
              <p:nvSpPr>
                <p:cNvPr id="1759" name="TextBox 1758">
                  <a:extLst>
                    <a:ext uri="{FF2B5EF4-FFF2-40B4-BE49-F238E27FC236}">
                      <a16:creationId xmlns:a16="http://schemas.microsoft.com/office/drawing/2014/main" id="{294ED7C3-EC48-86A5-1669-E681EFC57933}"/>
                    </a:ext>
                  </a:extLst>
                </p:cNvPr>
                <p:cNvSpPr txBox="1"/>
                <p:nvPr/>
              </p:nvSpPr>
              <p:spPr>
                <a:xfrm>
                  <a:off x="1895739" y="3256608"/>
                  <a:ext cx="275832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</a:t>
                  </a:r>
                </a:p>
              </p:txBody>
            </p:sp>
            <p:sp>
              <p:nvSpPr>
                <p:cNvPr id="1760" name="TextBox 1759">
                  <a:extLst>
                    <a:ext uri="{FF2B5EF4-FFF2-40B4-BE49-F238E27FC236}">
                      <a16:creationId xmlns:a16="http://schemas.microsoft.com/office/drawing/2014/main" id="{5B7CC41E-CD28-8622-952A-37C359FEDB10}"/>
                    </a:ext>
                  </a:extLst>
                </p:cNvPr>
                <p:cNvSpPr txBox="1"/>
                <p:nvPr/>
              </p:nvSpPr>
              <p:spPr>
                <a:xfrm>
                  <a:off x="2518142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2</a:t>
                  </a:r>
                </a:p>
              </p:txBody>
            </p:sp>
            <p:sp>
              <p:nvSpPr>
                <p:cNvPr id="1761" name="TextBox 1760">
                  <a:extLst>
                    <a:ext uri="{FF2B5EF4-FFF2-40B4-BE49-F238E27FC236}">
                      <a16:creationId xmlns:a16="http://schemas.microsoft.com/office/drawing/2014/main" id="{ADB27337-1E3E-0B47-1A41-D7E1390FE59F}"/>
                    </a:ext>
                  </a:extLst>
                </p:cNvPr>
                <p:cNvSpPr txBox="1"/>
                <p:nvPr/>
              </p:nvSpPr>
              <p:spPr>
                <a:xfrm>
                  <a:off x="3258507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18</a:t>
                  </a:r>
                </a:p>
              </p:txBody>
            </p:sp>
            <p:sp>
              <p:nvSpPr>
                <p:cNvPr id="1762" name="TextBox 1761">
                  <a:extLst>
                    <a:ext uri="{FF2B5EF4-FFF2-40B4-BE49-F238E27FC236}">
                      <a16:creationId xmlns:a16="http://schemas.microsoft.com/office/drawing/2014/main" id="{A340E82B-8331-D0E2-5664-8C0D52083832}"/>
                    </a:ext>
                  </a:extLst>
                </p:cNvPr>
                <p:cNvSpPr txBox="1"/>
                <p:nvPr/>
              </p:nvSpPr>
              <p:spPr>
                <a:xfrm>
                  <a:off x="3998874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24</a:t>
                  </a:r>
                </a:p>
              </p:txBody>
            </p:sp>
            <p:sp>
              <p:nvSpPr>
                <p:cNvPr id="1763" name="TextBox 1762">
                  <a:extLst>
                    <a:ext uri="{FF2B5EF4-FFF2-40B4-BE49-F238E27FC236}">
                      <a16:creationId xmlns:a16="http://schemas.microsoft.com/office/drawing/2014/main" id="{C1402EE6-BD89-87D0-4255-D21B2F76636A}"/>
                    </a:ext>
                  </a:extLst>
                </p:cNvPr>
                <p:cNvSpPr txBox="1"/>
                <p:nvPr/>
              </p:nvSpPr>
              <p:spPr>
                <a:xfrm>
                  <a:off x="4739239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0</a:t>
                  </a:r>
                </a:p>
              </p:txBody>
            </p:sp>
            <p:sp>
              <p:nvSpPr>
                <p:cNvPr id="1764" name="TextBox 1763">
                  <a:extLst>
                    <a:ext uri="{FF2B5EF4-FFF2-40B4-BE49-F238E27FC236}">
                      <a16:creationId xmlns:a16="http://schemas.microsoft.com/office/drawing/2014/main" id="{AD6404E3-7846-DE9D-6478-276CE86EFA68}"/>
                    </a:ext>
                  </a:extLst>
                </p:cNvPr>
                <p:cNvSpPr txBox="1"/>
                <p:nvPr/>
              </p:nvSpPr>
              <p:spPr>
                <a:xfrm>
                  <a:off x="5479605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6</a:t>
                  </a:r>
                </a:p>
              </p:txBody>
            </p:sp>
            <p:sp>
              <p:nvSpPr>
                <p:cNvPr id="1765" name="TextBox 1764">
                  <a:extLst>
                    <a:ext uri="{FF2B5EF4-FFF2-40B4-BE49-F238E27FC236}">
                      <a16:creationId xmlns:a16="http://schemas.microsoft.com/office/drawing/2014/main" id="{1CB70AD1-5C51-EB4F-B002-C434FFAED4E8}"/>
                    </a:ext>
                  </a:extLst>
                </p:cNvPr>
                <p:cNvSpPr txBox="1"/>
                <p:nvPr/>
              </p:nvSpPr>
              <p:spPr>
                <a:xfrm>
                  <a:off x="6219972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2</a:t>
                  </a:r>
                </a:p>
              </p:txBody>
            </p:sp>
            <p:sp>
              <p:nvSpPr>
                <p:cNvPr id="1766" name="TextBox 1765">
                  <a:extLst>
                    <a:ext uri="{FF2B5EF4-FFF2-40B4-BE49-F238E27FC236}">
                      <a16:creationId xmlns:a16="http://schemas.microsoft.com/office/drawing/2014/main" id="{49CB45A1-045B-CCF1-362B-FBA17BDC2590}"/>
                    </a:ext>
                  </a:extLst>
                </p:cNvPr>
                <p:cNvSpPr txBox="1"/>
                <p:nvPr/>
              </p:nvSpPr>
              <p:spPr>
                <a:xfrm>
                  <a:off x="6960337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8</a:t>
                  </a:r>
                </a:p>
              </p:txBody>
            </p:sp>
            <p:sp>
              <p:nvSpPr>
                <p:cNvPr id="1767" name="TextBox 1766">
                  <a:extLst>
                    <a:ext uri="{FF2B5EF4-FFF2-40B4-BE49-F238E27FC236}">
                      <a16:creationId xmlns:a16="http://schemas.microsoft.com/office/drawing/2014/main" id="{71E08BD0-29C3-F2D1-4F6B-336BEEADABB9}"/>
                    </a:ext>
                  </a:extLst>
                </p:cNvPr>
                <p:cNvSpPr txBox="1"/>
                <p:nvPr/>
              </p:nvSpPr>
              <p:spPr>
                <a:xfrm>
                  <a:off x="7700704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4</a:t>
                  </a:r>
                </a:p>
              </p:txBody>
            </p:sp>
            <p:sp>
              <p:nvSpPr>
                <p:cNvPr id="1768" name="TextBox 1767">
                  <a:extLst>
                    <a:ext uri="{FF2B5EF4-FFF2-40B4-BE49-F238E27FC236}">
                      <a16:creationId xmlns:a16="http://schemas.microsoft.com/office/drawing/2014/main" id="{BDC436F7-0E2C-6AFA-3EF6-9E4CC1C02D15}"/>
                    </a:ext>
                  </a:extLst>
                </p:cNvPr>
                <p:cNvSpPr txBox="1"/>
                <p:nvPr/>
              </p:nvSpPr>
              <p:spPr>
                <a:xfrm>
                  <a:off x="8441069" y="3256608"/>
                  <a:ext cx="511757" cy="206376"/>
                </a:xfrm>
                <a:prstGeom prst="rect">
                  <a:avLst/>
                </a:prstGeom>
                <a:noFill/>
              </p:spPr>
              <p:txBody>
                <a:bodyPr wrap="square" lIns="36576" rIns="36576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0</a:t>
                  </a:r>
                </a:p>
              </p:txBody>
            </p:sp>
          </p:grpSp>
          <p:sp>
            <p:nvSpPr>
              <p:cNvPr id="1719" name="TextBox 1718">
                <a:extLst>
                  <a:ext uri="{FF2B5EF4-FFF2-40B4-BE49-F238E27FC236}">
                    <a16:creationId xmlns:a16="http://schemas.microsoft.com/office/drawing/2014/main" id="{384136B5-3EED-F835-0881-F0A288390F49}"/>
                  </a:ext>
                </a:extLst>
              </p:cNvPr>
              <p:cNvSpPr txBox="1"/>
              <p:nvPr/>
            </p:nvSpPr>
            <p:spPr>
              <a:xfrm>
                <a:off x="1289244" y="4341999"/>
                <a:ext cx="10190659" cy="281334"/>
              </a:xfrm>
              <a:prstGeom prst="rect">
                <a:avLst/>
              </a:prstGeom>
              <a:noFill/>
            </p:spPr>
            <p:txBody>
              <a:bodyPr wrap="square" r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onths from Randomization</a:t>
                </a:r>
              </a:p>
            </p:txBody>
          </p:sp>
          <p:grpSp>
            <p:nvGrpSpPr>
              <p:cNvPr id="1733" name="Group 1732">
                <a:extLst>
                  <a:ext uri="{FF2B5EF4-FFF2-40B4-BE49-F238E27FC236}">
                    <a16:creationId xmlns:a16="http://schemas.microsoft.com/office/drawing/2014/main" id="{4AA91DBA-71DC-0F82-005D-CFE022947C14}"/>
                  </a:ext>
                </a:extLst>
              </p:cNvPr>
              <p:cNvGrpSpPr/>
              <p:nvPr/>
            </p:nvGrpSpPr>
            <p:grpSpPr>
              <a:xfrm>
                <a:off x="1452069" y="2470554"/>
                <a:ext cx="5096708" cy="461970"/>
                <a:chOff x="2147929" y="-1394063"/>
                <a:chExt cx="2985849" cy="298892"/>
              </a:xfrm>
            </p:grpSpPr>
            <p:sp>
              <p:nvSpPr>
                <p:cNvPr id="1754" name="TextBox 1753">
                  <a:extLst>
                    <a:ext uri="{FF2B5EF4-FFF2-40B4-BE49-F238E27FC236}">
                      <a16:creationId xmlns:a16="http://schemas.microsoft.com/office/drawing/2014/main" id="{128229D1-0CBD-8939-4E2A-FCD59C262451}"/>
                    </a:ext>
                  </a:extLst>
                </p:cNvPr>
                <p:cNvSpPr txBox="1"/>
                <p:nvPr/>
              </p:nvSpPr>
              <p:spPr>
                <a:xfrm>
                  <a:off x="3961095" y="-1292986"/>
                  <a:ext cx="1172683" cy="197815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69 (0.48 to 0.97)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0.35 (0.23 to 0.53)</a:t>
                  </a:r>
                </a:p>
              </p:txBody>
            </p:sp>
            <p:sp>
              <p:nvSpPr>
                <p:cNvPr id="1755" name="TextBox 1754">
                  <a:extLst>
                    <a:ext uri="{FF2B5EF4-FFF2-40B4-BE49-F238E27FC236}">
                      <a16:creationId xmlns:a16="http://schemas.microsoft.com/office/drawing/2014/main" id="{5E3D2BE1-8124-1976-73C5-AF5148FD77B9}"/>
                    </a:ext>
                  </a:extLst>
                </p:cNvPr>
                <p:cNvSpPr txBox="1"/>
                <p:nvPr/>
              </p:nvSpPr>
              <p:spPr>
                <a:xfrm>
                  <a:off x="2189207" y="-1292986"/>
                  <a:ext cx="2047288" cy="197815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 vs FCR/BR (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)</a:t>
                  </a:r>
                </a:p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O vs FCR/BR (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)</a:t>
                  </a:r>
                </a:p>
              </p:txBody>
            </p:sp>
            <p:sp>
              <p:nvSpPr>
                <p:cNvPr id="1756" name="TextBox 1755">
                  <a:extLst>
                    <a:ext uri="{FF2B5EF4-FFF2-40B4-BE49-F238E27FC236}">
                      <a16:creationId xmlns:a16="http://schemas.microsoft.com/office/drawing/2014/main" id="{FBC43D4B-BEC0-0D4C-4042-EA661FE19418}"/>
                    </a:ext>
                  </a:extLst>
                </p:cNvPr>
                <p:cNvSpPr txBox="1"/>
                <p:nvPr/>
              </p:nvSpPr>
              <p:spPr>
                <a:xfrm>
                  <a:off x="4143770" y="-1394063"/>
                  <a:ext cx="807334" cy="98907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b" anchorCtr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HR (95% CI)</a:t>
                  </a:r>
                </a:p>
              </p:txBody>
            </p:sp>
            <p:cxnSp>
              <p:nvCxnSpPr>
                <p:cNvPr id="1757" name="Straight Connector 1756">
                  <a:extLst>
                    <a:ext uri="{FF2B5EF4-FFF2-40B4-BE49-F238E27FC236}">
                      <a16:creationId xmlns:a16="http://schemas.microsoft.com/office/drawing/2014/main" id="{233CBB31-D41E-9246-36AE-EC8A2E4579B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2147929" y="-1294531"/>
                  <a:ext cx="2974712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F4444"/>
                  </a:solidFill>
                  <a:prstDash val="solid"/>
                </a:ln>
                <a:effectLst/>
              </p:spPr>
            </p:cxnSp>
          </p:grpSp>
          <p:grpSp>
            <p:nvGrpSpPr>
              <p:cNvPr id="1734" name="Group 1733">
                <a:extLst>
                  <a:ext uri="{FF2B5EF4-FFF2-40B4-BE49-F238E27FC236}">
                    <a16:creationId xmlns:a16="http://schemas.microsoft.com/office/drawing/2014/main" id="{AC353BD6-44D4-941D-9BF3-98F5F4F7994D}"/>
                  </a:ext>
                </a:extLst>
              </p:cNvPr>
              <p:cNvGrpSpPr/>
              <p:nvPr/>
            </p:nvGrpSpPr>
            <p:grpSpPr>
              <a:xfrm>
                <a:off x="1452070" y="3249072"/>
                <a:ext cx="5089749" cy="623099"/>
                <a:chOff x="1282135" y="2266784"/>
                <a:chExt cx="3293053" cy="382098"/>
              </a:xfrm>
            </p:grpSpPr>
            <p:sp>
              <p:nvSpPr>
                <p:cNvPr id="1744" name="TextBox 1743">
                  <a:extLst>
                    <a:ext uri="{FF2B5EF4-FFF2-40B4-BE49-F238E27FC236}">
                      <a16:creationId xmlns:a16="http://schemas.microsoft.com/office/drawing/2014/main" id="{B1C8468B-73F6-0007-3E73-AE3640C50511}"/>
                    </a:ext>
                  </a:extLst>
                </p:cNvPr>
                <p:cNvSpPr txBox="1"/>
                <p:nvPr/>
              </p:nvSpPr>
              <p:spPr>
                <a:xfrm>
                  <a:off x="2783577" y="2367646"/>
                  <a:ext cx="476315" cy="281232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1/167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36/169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67/172</a:t>
                  </a:r>
                </a:p>
              </p:txBody>
            </p:sp>
            <p:sp>
              <p:nvSpPr>
                <p:cNvPr id="1745" name="TextBox 1744">
                  <a:extLst>
                    <a:ext uri="{FF2B5EF4-FFF2-40B4-BE49-F238E27FC236}">
                      <a16:creationId xmlns:a16="http://schemas.microsoft.com/office/drawing/2014/main" id="{3FB0E97E-4BB6-7B88-3630-93234B18A38C}"/>
                    </a:ext>
                  </a:extLst>
                </p:cNvPr>
                <p:cNvSpPr txBox="1"/>
                <p:nvPr/>
              </p:nvSpPr>
              <p:spPr>
                <a:xfrm>
                  <a:off x="1536824" y="2367643"/>
                  <a:ext cx="1119931" cy="28123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 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endPara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AVO 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endPara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  <a:p>
                  <a:pPr marL="0" marR="0" lvl="0" indent="0" algn="l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FCR/BR 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IGHV</a:t>
                  </a:r>
                  <a:endPara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746" name="TextBox 1745">
                  <a:extLst>
                    <a:ext uri="{FF2B5EF4-FFF2-40B4-BE49-F238E27FC236}">
                      <a16:creationId xmlns:a16="http://schemas.microsoft.com/office/drawing/2014/main" id="{E4512B85-B5A2-49CC-3D43-70A31177997E}"/>
                    </a:ext>
                  </a:extLst>
                </p:cNvPr>
                <p:cNvSpPr txBox="1"/>
                <p:nvPr/>
              </p:nvSpPr>
              <p:spPr>
                <a:xfrm>
                  <a:off x="2686150" y="2266784"/>
                  <a:ext cx="671170" cy="937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b" anchorCtr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Events/N</a:t>
                  </a:r>
                </a:p>
              </p:txBody>
            </p:sp>
            <p:cxnSp>
              <p:nvCxnSpPr>
                <p:cNvPr id="1747" name="Straight Connector 1746">
                  <a:extLst>
                    <a:ext uri="{FF2B5EF4-FFF2-40B4-BE49-F238E27FC236}">
                      <a16:creationId xmlns:a16="http://schemas.microsoft.com/office/drawing/2014/main" id="{3E48CFAF-9F36-D7D8-1C7D-341EF52B351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282135" y="2362465"/>
                  <a:ext cx="3293053" cy="0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3F4444"/>
                  </a:solidFill>
                  <a:prstDash val="solid"/>
                </a:ln>
                <a:effectLst/>
              </p:spPr>
            </p:cxnSp>
            <p:sp>
              <p:nvSpPr>
                <p:cNvPr id="1748" name="TextBox 1747">
                  <a:extLst>
                    <a:ext uri="{FF2B5EF4-FFF2-40B4-BE49-F238E27FC236}">
                      <a16:creationId xmlns:a16="http://schemas.microsoft.com/office/drawing/2014/main" id="{EAFC1C90-EC0C-A87B-9B39-E405C54F9623}"/>
                    </a:ext>
                  </a:extLst>
                </p:cNvPr>
                <p:cNvSpPr txBox="1"/>
                <p:nvPr/>
              </p:nvSpPr>
              <p:spPr>
                <a:xfrm>
                  <a:off x="3802348" y="2367651"/>
                  <a:ext cx="303109" cy="281231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51.5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NR</a:t>
                  </a:r>
                </a:p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43.3</a:t>
                  </a:r>
                </a:p>
              </p:txBody>
            </p:sp>
            <p:sp>
              <p:nvSpPr>
                <p:cNvPr id="1749" name="TextBox 1748">
                  <a:extLst>
                    <a:ext uri="{FF2B5EF4-FFF2-40B4-BE49-F238E27FC236}">
                      <a16:creationId xmlns:a16="http://schemas.microsoft.com/office/drawing/2014/main" id="{494AD6EC-1F48-CB04-C606-9EBB9057F908}"/>
                    </a:ext>
                  </a:extLst>
                </p:cNvPr>
                <p:cNvSpPr txBox="1"/>
                <p:nvPr/>
              </p:nvSpPr>
              <p:spPr>
                <a:xfrm>
                  <a:off x="3490387" y="2266784"/>
                  <a:ext cx="927043" cy="93744"/>
                </a:xfrm>
                <a:prstGeom prst="rect">
                  <a:avLst/>
                </a:prstGeom>
                <a:noFill/>
              </p:spPr>
              <p:txBody>
                <a:bodyPr wrap="none" lIns="0" tIns="0" rIns="0" bIns="0" rtlCol="0" anchor="b" anchorCtr="0">
                  <a:spAutoFit/>
                </a:bodyPr>
                <a:lstStyle/>
                <a:p>
                  <a:pPr marL="0" marR="0" lvl="0" indent="0" algn="ctr" defTabSz="60958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edian (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mo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)</a:t>
                  </a:r>
                </a:p>
              </p:txBody>
            </p:sp>
            <p:grpSp>
              <p:nvGrpSpPr>
                <p:cNvPr id="1750" name="Group 1749">
                  <a:extLst>
                    <a:ext uri="{FF2B5EF4-FFF2-40B4-BE49-F238E27FC236}">
                      <a16:creationId xmlns:a16="http://schemas.microsoft.com/office/drawing/2014/main" id="{1AB9743B-0F71-4AC5-5232-716343A9B5F8}"/>
                    </a:ext>
                  </a:extLst>
                </p:cNvPr>
                <p:cNvGrpSpPr/>
                <p:nvPr/>
              </p:nvGrpSpPr>
              <p:grpSpPr>
                <a:xfrm>
                  <a:off x="1327839" y="2424249"/>
                  <a:ext cx="153432" cy="167001"/>
                  <a:chOff x="1282135" y="2424249"/>
                  <a:chExt cx="199136" cy="167001"/>
                </a:xfrm>
              </p:grpSpPr>
              <p:cxnSp>
                <p:nvCxnSpPr>
                  <p:cNvPr id="1751" name="Straight Connector 1750">
                    <a:extLst>
                      <a:ext uri="{FF2B5EF4-FFF2-40B4-BE49-F238E27FC236}">
                        <a16:creationId xmlns:a16="http://schemas.microsoft.com/office/drawing/2014/main" id="{23250983-A84C-B3EE-D202-8CC1CE998208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82135" y="2424249"/>
                    <a:ext cx="19913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68D2DF"/>
                    </a:solidFill>
                    <a:prstDash val="dash"/>
                  </a:ln>
                  <a:effectLst/>
                </p:spPr>
              </p:cxnSp>
              <p:cxnSp>
                <p:nvCxnSpPr>
                  <p:cNvPr id="1752" name="Straight Connector 1751">
                    <a:extLst>
                      <a:ext uri="{FF2B5EF4-FFF2-40B4-BE49-F238E27FC236}">
                        <a16:creationId xmlns:a16="http://schemas.microsoft.com/office/drawing/2014/main" id="{B8698EDC-440D-F4FF-40BD-C5776810BF67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82135" y="2504402"/>
                    <a:ext cx="19913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830051"/>
                    </a:solidFill>
                    <a:prstDash val="dash"/>
                  </a:ln>
                  <a:effectLst/>
                </p:spPr>
              </p:cxnSp>
              <p:cxnSp>
                <p:nvCxnSpPr>
                  <p:cNvPr id="1753" name="Straight Connector 1752">
                    <a:extLst>
                      <a:ext uri="{FF2B5EF4-FFF2-40B4-BE49-F238E27FC236}">
                        <a16:creationId xmlns:a16="http://schemas.microsoft.com/office/drawing/2014/main" id="{1E3F8B4C-2B1B-877D-8E81-59CE070B6136}"/>
                      </a:ext>
                    </a:extLst>
                  </p:cNvPr>
                  <p:cNvCxnSpPr>
                    <a:cxnSpLocks/>
                  </p:cNvCxnSpPr>
                  <p:nvPr/>
                </p:nvCxnSpPr>
                <p:spPr>
                  <a:xfrm>
                    <a:off x="1282135" y="2591250"/>
                    <a:ext cx="199136" cy="0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rgbClr val="C4D600"/>
                    </a:solidFill>
                    <a:prstDash val="dash"/>
                  </a:ln>
                  <a:effectLst/>
                </p:spPr>
              </p:cxnSp>
            </p:grpSp>
          </p:grpSp>
          <p:sp>
            <p:nvSpPr>
              <p:cNvPr id="1735" name="TextBox 1734">
                <a:extLst>
                  <a:ext uri="{FF2B5EF4-FFF2-40B4-BE49-F238E27FC236}">
                    <a16:creationId xmlns:a16="http://schemas.microsoft.com/office/drawing/2014/main" id="{FCF86114-1B96-7102-E10F-B4E9A662AE9A}"/>
                  </a:ext>
                </a:extLst>
              </p:cNvPr>
              <p:cNvSpPr txBox="1"/>
              <p:nvPr/>
            </p:nvSpPr>
            <p:spPr>
              <a:xfrm>
                <a:off x="9751722" y="2001105"/>
                <a:ext cx="2440277" cy="275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O ‒  </a:t>
                </a:r>
                <a:r>
                  <a:rPr kumimoji="0" lang="en-US" sz="12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IGHV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830051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6" name="TextBox 1735">
                <a:extLst>
                  <a:ext uri="{FF2B5EF4-FFF2-40B4-BE49-F238E27FC236}">
                    <a16:creationId xmlns:a16="http://schemas.microsoft.com/office/drawing/2014/main" id="{6C989860-BEAD-6808-42BA-EEA62FAA2B4D}"/>
                  </a:ext>
                </a:extLst>
              </p:cNvPr>
              <p:cNvSpPr txBox="1"/>
              <p:nvPr/>
            </p:nvSpPr>
            <p:spPr>
              <a:xfrm>
                <a:off x="10103799" y="2553432"/>
                <a:ext cx="2083274" cy="275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AV ‒ </a:t>
                </a:r>
                <a:r>
                  <a:rPr kumimoji="0" lang="en-US" sz="12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IGHV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68D2D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37" name="TextBox 1736">
                <a:extLst>
                  <a:ext uri="{FF2B5EF4-FFF2-40B4-BE49-F238E27FC236}">
                    <a16:creationId xmlns:a16="http://schemas.microsoft.com/office/drawing/2014/main" id="{7D9BE51D-EAF8-2D27-6D6D-7245C1298DB6}"/>
                  </a:ext>
                </a:extLst>
              </p:cNvPr>
              <p:cNvSpPr txBox="1"/>
              <p:nvPr/>
            </p:nvSpPr>
            <p:spPr>
              <a:xfrm>
                <a:off x="9017986" y="3173802"/>
                <a:ext cx="2688804" cy="2751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FCR/BR ‒ </a:t>
                </a:r>
                <a:r>
                  <a:rPr kumimoji="0" lang="en-US" sz="12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uIGHV</a:t>
                </a:r>
                <a:endParaRPr kumimoji="0" lang="en-US" sz="1200" b="1" i="0" u="none" strike="noStrike" kern="0" cap="none" spc="0" normalizeH="0" baseline="0" noProof="0" dirty="0">
                  <a:ln>
                    <a:noFill/>
                  </a:ln>
                  <a:solidFill>
                    <a:srgbClr val="C4D6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cxnSp>
            <p:nvCxnSpPr>
              <p:cNvPr id="1738" name="Straight Connector 1737">
                <a:extLst>
                  <a:ext uri="{FF2B5EF4-FFF2-40B4-BE49-F238E27FC236}">
                    <a16:creationId xmlns:a16="http://schemas.microsoft.com/office/drawing/2014/main" id="{C35231D8-BB80-B94F-41C0-7D2CD547F9A2}"/>
                  </a:ext>
                </a:extLst>
              </p:cNvPr>
              <p:cNvCxnSpPr/>
              <p:nvPr/>
            </p:nvCxnSpPr>
            <p:spPr>
              <a:xfrm flipV="1">
                <a:off x="7448812" y="1718329"/>
                <a:ext cx="243840" cy="115147"/>
              </a:xfrm>
              <a:prstGeom prst="line">
                <a:avLst/>
              </a:prstGeom>
              <a:noFill/>
              <a:ln w="15875" cap="flat" cmpd="sng" algn="ctr">
                <a:solidFill>
                  <a:srgbClr val="830051"/>
                </a:solidFill>
                <a:prstDash val="solid"/>
              </a:ln>
              <a:effectLst/>
            </p:spPr>
          </p:cxnSp>
          <p:sp>
            <p:nvSpPr>
              <p:cNvPr id="1739" name="TextBox 1738">
                <a:extLst>
                  <a:ext uri="{FF2B5EF4-FFF2-40B4-BE49-F238E27FC236}">
                    <a16:creationId xmlns:a16="http://schemas.microsoft.com/office/drawing/2014/main" id="{61A2DF27-9DBD-00A1-702C-FD3966CD5B51}"/>
                  </a:ext>
                </a:extLst>
              </p:cNvPr>
              <p:cNvSpPr txBox="1"/>
              <p:nvPr/>
            </p:nvSpPr>
            <p:spPr>
              <a:xfrm>
                <a:off x="7628140" y="1504475"/>
                <a:ext cx="1174867" cy="2751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830051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82.8%</a:t>
                </a:r>
              </a:p>
            </p:txBody>
          </p:sp>
          <p:cxnSp>
            <p:nvCxnSpPr>
              <p:cNvPr id="1740" name="Straight Connector 1739">
                <a:extLst>
                  <a:ext uri="{FF2B5EF4-FFF2-40B4-BE49-F238E27FC236}">
                    <a16:creationId xmlns:a16="http://schemas.microsoft.com/office/drawing/2014/main" id="{FDC76BF7-876C-7A9C-65B1-0F7D5344FDB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435155" y="2181099"/>
                <a:ext cx="336384" cy="60960"/>
              </a:xfrm>
              <a:prstGeom prst="line">
                <a:avLst/>
              </a:prstGeom>
              <a:noFill/>
              <a:ln w="15875" cap="flat" cmpd="sng" algn="ctr">
                <a:solidFill>
                  <a:srgbClr val="68D2DF"/>
                </a:solidFill>
                <a:prstDash val="solid"/>
              </a:ln>
              <a:effectLst/>
            </p:spPr>
          </p:cxnSp>
          <p:sp>
            <p:nvSpPr>
              <p:cNvPr id="1741" name="TextBox 1740">
                <a:extLst>
                  <a:ext uri="{FF2B5EF4-FFF2-40B4-BE49-F238E27FC236}">
                    <a16:creationId xmlns:a16="http://schemas.microsoft.com/office/drawing/2014/main" id="{6E0E2322-4638-99D7-0FE0-017D1C318013}"/>
                  </a:ext>
                </a:extLst>
              </p:cNvPr>
              <p:cNvSpPr txBox="1"/>
              <p:nvPr/>
            </p:nvSpPr>
            <p:spPr>
              <a:xfrm>
                <a:off x="7706515" y="2008824"/>
                <a:ext cx="1174867" cy="2751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68D2D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68.9%</a:t>
                </a:r>
              </a:p>
            </p:txBody>
          </p:sp>
          <p:cxnSp>
            <p:nvCxnSpPr>
              <p:cNvPr id="1742" name="Straight Connector 1741">
                <a:extLst>
                  <a:ext uri="{FF2B5EF4-FFF2-40B4-BE49-F238E27FC236}">
                    <a16:creationId xmlns:a16="http://schemas.microsoft.com/office/drawing/2014/main" id="{F1A53306-717E-8B41-525D-61A586F7D3D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7420354" y="2661396"/>
                <a:ext cx="254877" cy="194315"/>
              </a:xfrm>
              <a:prstGeom prst="line">
                <a:avLst/>
              </a:prstGeom>
              <a:noFill/>
              <a:ln w="15875" cap="flat" cmpd="sng" algn="ctr">
                <a:solidFill>
                  <a:srgbClr val="C4D600"/>
                </a:solidFill>
                <a:prstDash val="solid"/>
              </a:ln>
              <a:effectLst/>
            </p:spPr>
          </p:cxnSp>
          <p:sp>
            <p:nvSpPr>
              <p:cNvPr id="1743" name="TextBox 1742">
                <a:extLst>
                  <a:ext uri="{FF2B5EF4-FFF2-40B4-BE49-F238E27FC236}">
                    <a16:creationId xmlns:a16="http://schemas.microsoft.com/office/drawing/2014/main" id="{6F40916A-D512-D598-8DF7-0D303F744AA3}"/>
                  </a:ext>
                </a:extLst>
              </p:cNvPr>
              <p:cNvSpPr txBox="1"/>
              <p:nvPr/>
            </p:nvSpPr>
            <p:spPr>
              <a:xfrm>
                <a:off x="7575849" y="2772558"/>
                <a:ext cx="1174867" cy="275168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C4D6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56.8%</a:t>
                </a:r>
              </a:p>
            </p:txBody>
          </p:sp>
        </p:grpSp>
        <p:sp>
          <p:nvSpPr>
            <p:cNvPr id="2860" name="TextBox 2859">
              <a:extLst>
                <a:ext uri="{FF2B5EF4-FFF2-40B4-BE49-F238E27FC236}">
                  <a16:creationId xmlns:a16="http://schemas.microsoft.com/office/drawing/2014/main" id="{94671FBD-F2F0-E101-B0A1-E8CCFC69454B}"/>
                </a:ext>
              </a:extLst>
            </p:cNvPr>
            <p:cNvSpPr txBox="1"/>
            <p:nvPr/>
          </p:nvSpPr>
          <p:spPr>
            <a:xfrm>
              <a:off x="7509882" y="1729804"/>
              <a:ext cx="3391954" cy="29238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FS in the </a:t>
              </a:r>
              <a:r>
                <a:rPr kumimoji="0" lang="en-US" sz="20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uIGHV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Subgroup</a:t>
              </a:r>
              <a:endParaRPr kumimoji="0" lang="en-US" sz="2000" b="1" i="0" u="none" strike="sng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highlight>
                  <a:srgbClr val="00FFFF"/>
                </a:highligh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294A0C58-99C8-C2C2-BC06-EA9DD3D65A5B}"/>
              </a:ext>
            </a:extLst>
          </p:cNvPr>
          <p:cNvSpPr txBox="1"/>
          <p:nvPr/>
        </p:nvSpPr>
        <p:spPr>
          <a:xfrm>
            <a:off x="4542651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+mn-lt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24682583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BE12B8A-AAFA-27BC-ABCA-82EB8A115C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305E6-2C6C-AE4C-A07D-11624B388D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AMPLIFY results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5B1C4EE-1FA9-98B1-0547-A4B61FF5B4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961" y="1344058"/>
            <a:ext cx="11071952" cy="4792338"/>
          </a:xfrm>
        </p:spPr>
        <p:txBody>
          <a:bodyPr>
            <a:normAutofit/>
          </a:bodyPr>
          <a:lstStyle/>
          <a:p>
            <a:r>
              <a:rPr lang="en-US" b="1" dirty="0"/>
              <a:t>First potential registration trial for a BTKi-BCL2i combination </a:t>
            </a:r>
          </a:p>
          <a:p>
            <a:endParaRPr lang="en-US" b="1" dirty="0"/>
          </a:p>
          <a:p>
            <a:r>
              <a:rPr lang="en-US" b="1" dirty="0"/>
              <a:t>AV is very safe and very easy: potentially applicable to most any CLL patient</a:t>
            </a:r>
          </a:p>
          <a:p>
            <a:endParaRPr lang="en-US" b="1" dirty="0"/>
          </a:p>
          <a:p>
            <a:r>
              <a:rPr lang="en-US" b="1" dirty="0"/>
              <a:t>AVO is very effective, equalizing outcome in UM and M IGHV patients at 3 yrs: good for young fit higher risk patients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0BDEB4-8673-04D8-A7BE-CB82E82799FC}"/>
              </a:ext>
            </a:extLst>
          </p:cNvPr>
          <p:cNvSpPr txBox="1"/>
          <p:nvPr/>
        </p:nvSpPr>
        <p:spPr>
          <a:xfrm>
            <a:off x="4542651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+mn-lt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79441740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642120B-B89C-72EC-6817-EA04DD04B2A7}"/>
              </a:ext>
            </a:extLst>
          </p:cNvPr>
          <p:cNvSpPr/>
          <p:nvPr/>
        </p:nvSpPr>
        <p:spPr>
          <a:xfrm>
            <a:off x="0" y="-29392"/>
            <a:ext cx="12192000" cy="790575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solidFill>
              <a:srgbClr val="BFBFBF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F799DCE3-68B1-AAB8-5FF6-1AE5F2C87A8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816" y="165885"/>
            <a:ext cx="10476722" cy="497588"/>
          </a:xfrm>
        </p:spPr>
        <p:txBody>
          <a:bodyPr>
            <a:normAutofit fontScale="90000"/>
          </a:bodyPr>
          <a:lstStyle/>
          <a:p>
            <a:r>
              <a:rPr lang="en-US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O for 16-25 Months for High Risk Del17p Disease: Survival &amp; Recurrence   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BBEF5227-89D0-0E20-37C5-3C60E87F2E58}"/>
              </a:ext>
            </a:extLst>
          </p:cNvPr>
          <p:cNvSpPr txBox="1">
            <a:spLocks/>
          </p:cNvSpPr>
          <p:nvPr/>
        </p:nvSpPr>
        <p:spPr>
          <a:xfrm>
            <a:off x="5728277" y="1180360"/>
            <a:ext cx="6463723" cy="1945950"/>
          </a:xfrm>
          <a:prstGeom prst="rect">
            <a:avLst/>
          </a:prstGeom>
        </p:spPr>
        <p:txBody>
          <a:bodyPr/>
          <a:lstStyle>
            <a:lvl1pPr marL="412750" marR="0" indent="-412750" algn="l" defTabSz="6858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35 pts (51%) had MRD recurrence</a:t>
            </a:r>
          </a:p>
          <a:p>
            <a:pPr marL="628650" marR="0" lvl="1" indent="-171450" algn="l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Median time to MRD recurrence was 32.2 months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2689B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70% 4-year PFS in pts with </a:t>
            </a:r>
            <a:r>
              <a:rPr kumimoji="0" lang="en-US" altLang="en-US" sz="19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; 96% in pts without </a:t>
            </a:r>
            <a:r>
              <a:rPr kumimoji="0" lang="en-US" altLang="en-US" sz="19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rgbClr val="12689B"/>
              </a:buClr>
              <a:buSzPct val="120000"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88% 4-year OS in pts with </a:t>
            </a:r>
            <a:r>
              <a:rPr kumimoji="0" lang="en-US" altLang="en-US" sz="1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; 100% in pts without </a:t>
            </a:r>
            <a:r>
              <a:rPr kumimoji="0" lang="en-US" altLang="en-US" sz="19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TP53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 aberration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Times New Roman" panose="02020603050405020304" pitchFamily="18" charset="0"/>
                <a:cs typeface="Times New Roman" panose="02020603050405020304" pitchFamily="18" charset="0"/>
              </a:rPr>
              <a:t>10 pts have had clinical progression, </a:t>
            </a: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4 of these 10 progressions were transformation events, including Richter’s DLBCL (n=2) and Hodgkin lymphoma (n=2)</a:t>
            </a:r>
            <a:b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</a:br>
            <a:endParaRPr kumimoji="0" lang="en-US" alt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Times New Roman" panose="02020603050405020304" pitchFamily="18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Times New Roman" panose="02020603050405020304" pitchFamily="18" charset="0"/>
              </a:rPr>
              <a:t>3 pts have died in total, one each due to gr 5 COVID-19 infection during treatment, complications from polysubstance abuse, and progression of Richter’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D9BA96B-B12D-87A0-3D37-D9DB2047EB6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64566" y="976470"/>
            <a:ext cx="5563711" cy="551044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4E11580-3A34-5F92-0553-0BEC520948D2}"/>
              </a:ext>
            </a:extLst>
          </p:cNvPr>
          <p:cNvSpPr txBox="1"/>
          <p:nvPr/>
        </p:nvSpPr>
        <p:spPr>
          <a:xfrm>
            <a:off x="8880049" y="6486911"/>
            <a:ext cx="33119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Davids M et al. ASH 2024; Abstract 1865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6E60572-E14E-920B-A520-D51E2B9AD396}"/>
              </a:ext>
            </a:extLst>
          </p:cNvPr>
          <p:cNvSpPr txBox="1"/>
          <p:nvPr/>
        </p:nvSpPr>
        <p:spPr>
          <a:xfrm>
            <a:off x="4542651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prstClr val="black"/>
                </a:solidFill>
                <a:latin typeface="Calibri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356243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34496"/>
    </mc:Choice>
    <mc:Fallback xmlns="">
      <p:transition spd="slow" advTm="34496"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66E837-C8E0-9875-A8C3-5629DFF0836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ECDDF-BD90-41A9-1BBB-0B8460FED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VO </a:t>
            </a:r>
            <a:r>
              <a:rPr lang="en-US" sz="3600" b="1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or 16-25 </a:t>
            </a:r>
            <a:r>
              <a:rPr lang="en-US" sz="3600" b="1" dirty="0">
                <a:solidFill>
                  <a:srgbClr val="32323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nths for High Risk Del17p Disease</a:t>
            </a:r>
            <a:endParaRPr lang="en-US" sz="36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0B2745-2BE7-C05C-69FC-F6FAAE79FEB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30831"/>
            <a:ext cx="9753600" cy="5674769"/>
          </a:xfrm>
        </p:spPr>
        <p:txBody>
          <a:bodyPr>
            <a:normAutofit lnSpcReduction="10000"/>
          </a:bodyPr>
          <a:lstStyle/>
          <a:p>
            <a:r>
              <a:rPr lang="en-US" sz="3200" b="1" dirty="0"/>
              <a:t>Longer, MRD guided AVO regimen for patients with del17p disease </a:t>
            </a:r>
          </a:p>
          <a:p>
            <a:endParaRPr lang="en-US" sz="3200" b="1" dirty="0"/>
          </a:p>
          <a:p>
            <a:r>
              <a:rPr lang="en-US" sz="3200" b="1" dirty="0"/>
              <a:t>Highly effective in inducing </a:t>
            </a:r>
            <a:r>
              <a:rPr lang="en-US" sz="3200" b="1" dirty="0" err="1"/>
              <a:t>uMRD</a:t>
            </a:r>
            <a:r>
              <a:rPr lang="en-US" sz="3200" b="1" dirty="0"/>
              <a:t> remission</a:t>
            </a:r>
          </a:p>
          <a:p>
            <a:endParaRPr lang="en-US" sz="3200" b="1" dirty="0"/>
          </a:p>
          <a:p>
            <a:r>
              <a:rPr lang="en-US" sz="3200" b="1" dirty="0"/>
              <a:t>Durability is somewhat reduced compared to the 17p wild type population – but nonetheless looks better compared to </a:t>
            </a:r>
            <a:r>
              <a:rPr lang="en-US" sz="3200" b="1" dirty="0" err="1"/>
              <a:t>ven</a:t>
            </a:r>
            <a:r>
              <a:rPr lang="en-US" sz="3200" b="1" dirty="0"/>
              <a:t> </a:t>
            </a:r>
            <a:r>
              <a:rPr lang="en-US" sz="3200" b="1" dirty="0" err="1"/>
              <a:t>obin</a:t>
            </a:r>
            <a:endParaRPr lang="en-US" sz="3200" b="1" dirty="0"/>
          </a:p>
          <a:p>
            <a:endParaRPr lang="en-US" sz="3200" b="1" dirty="0"/>
          </a:p>
          <a:p>
            <a:r>
              <a:rPr lang="en-US" sz="3200" b="1" dirty="0"/>
              <a:t>Ongoing head to head trial comparing AVO to VO in </a:t>
            </a:r>
            <a:r>
              <a:rPr lang="en-US" sz="3200" b="1"/>
              <a:t>high risk </a:t>
            </a:r>
            <a:r>
              <a:rPr lang="en-US" sz="3200" b="1" dirty="0"/>
              <a:t>del17p disease (GCLLSG)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AB90685-7412-7091-469B-11F67D401563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Author’s sl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8FDD87B-3B26-E897-E0F8-338EFF45146B}"/>
              </a:ext>
            </a:extLst>
          </p:cNvPr>
          <p:cNvSpPr txBox="1"/>
          <p:nvPr/>
        </p:nvSpPr>
        <p:spPr>
          <a:xfrm>
            <a:off x="4542651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prstClr val="black"/>
                </a:solidFill>
                <a:latin typeface="Calibri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841770476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New picture">
            <a:extLst>
              <a:ext uri="{FF2B5EF4-FFF2-40B4-BE49-F238E27FC236}">
                <a16:creationId xmlns:a16="http://schemas.microsoft.com/office/drawing/2014/main" id="{B6A73919-2F35-B4B2-CC2C-61A49102DE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241" y="121186"/>
            <a:ext cx="8395447" cy="6599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2" name="New picture">
            <a:extLst>
              <a:ext uri="{FF2B5EF4-FFF2-40B4-BE49-F238E27FC236}">
                <a16:creationId xmlns:a16="http://schemas.microsoft.com/office/drawing/2014/main" id="{9B039A66-F790-C842-0961-244519C4E0F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340" t="5318" r="41718" b="51879"/>
          <a:stretch/>
        </p:blipFill>
        <p:spPr bwMode="auto">
          <a:xfrm>
            <a:off x="9011799" y="289814"/>
            <a:ext cx="2963656" cy="2475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3" name="New picture">
            <a:extLst>
              <a:ext uri="{FF2B5EF4-FFF2-40B4-BE49-F238E27FC236}">
                <a16:creationId xmlns:a16="http://schemas.microsoft.com/office/drawing/2014/main" id="{104C2AB3-BD3C-31C8-DFAA-0A501031D6B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11" t="54225" r="16450" b="1357"/>
          <a:stretch/>
        </p:blipFill>
        <p:spPr bwMode="auto">
          <a:xfrm>
            <a:off x="8903316" y="3800818"/>
            <a:ext cx="3072139" cy="23465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C754EA2C-CCF6-3982-2D6C-BF9EA9E09CC7}"/>
              </a:ext>
            </a:extLst>
          </p:cNvPr>
          <p:cNvSpPr txBox="1"/>
          <p:nvPr/>
        </p:nvSpPr>
        <p:spPr>
          <a:xfrm>
            <a:off x="8821445" y="6195987"/>
            <a:ext cx="331195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ürstenau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 et al. Blood 2024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CAA0452-E03A-128A-2399-10DAD011581D}"/>
              </a:ext>
            </a:extLst>
          </p:cNvPr>
          <p:cNvSpPr txBox="1"/>
          <p:nvPr/>
        </p:nvSpPr>
        <p:spPr>
          <a:xfrm>
            <a:off x="9164378" y="6427341"/>
            <a:ext cx="301877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>
                <a:solidFill>
                  <a:schemeClr val="tx1"/>
                </a:solidFill>
                <a:latin typeface="+mn-lt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34857045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126B37-9325-E79F-48D8-FFE872FD036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1DF5A8-079C-DBB9-6E3D-9966CB933A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</a:t>
            </a:r>
            <a:r>
              <a:rPr lang="en-US" sz="4400" dirty="0"/>
              <a:t>AVO in Relapsed Disease</a:t>
            </a:r>
            <a:r>
              <a:rPr lang="en-US" sz="4400" b="1" dirty="0"/>
              <a:t>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2D2DBF-D06C-C9B6-431D-F385DF96E5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326666"/>
            <a:ext cx="9753600" cy="5674769"/>
          </a:xfrm>
        </p:spPr>
        <p:txBody>
          <a:bodyPr>
            <a:normAutofit/>
          </a:bodyPr>
          <a:lstStyle/>
          <a:p>
            <a:r>
              <a:rPr lang="en-US" sz="2400" b="1" dirty="0"/>
              <a:t>Heterogeneous group of heavily pretreated patients </a:t>
            </a:r>
          </a:p>
          <a:p>
            <a:endParaRPr lang="en-US" sz="2400" dirty="0"/>
          </a:p>
          <a:p>
            <a:r>
              <a:rPr lang="en-US" sz="2400" b="1" dirty="0"/>
              <a:t>Surprisingly effective – 3 yr PFS 85%</a:t>
            </a:r>
          </a:p>
          <a:p>
            <a:endParaRPr lang="en-US" sz="2400" dirty="0"/>
          </a:p>
          <a:p>
            <a:r>
              <a:rPr lang="en-US" sz="2400" b="1" dirty="0"/>
              <a:t>Some patients may not get to </a:t>
            </a:r>
            <a:r>
              <a:rPr lang="en-US" sz="2400" b="1" dirty="0" err="1"/>
              <a:t>uMRD</a:t>
            </a:r>
            <a:r>
              <a:rPr lang="en-US" sz="2400" b="1" dirty="0"/>
              <a:t>:  should they just continue?   </a:t>
            </a:r>
          </a:p>
          <a:p>
            <a:endParaRPr lang="en-US" sz="2400" dirty="0"/>
          </a:p>
          <a:p>
            <a:r>
              <a:rPr lang="en-US" sz="2400" b="1" dirty="0"/>
              <a:t>Underscores the importance of avoiding development of resistance – but maybe combination will stil</a:t>
            </a:r>
            <a:r>
              <a:rPr lang="en-US" sz="2400" dirty="0"/>
              <a:t>l work….</a:t>
            </a:r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3D520DF-519C-FCA3-EA45-D078F1201983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Author’s slid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B1B1D5-6A37-967D-11D8-EF174A23007A}"/>
              </a:ext>
            </a:extLst>
          </p:cNvPr>
          <p:cNvSpPr txBox="1"/>
          <p:nvPr/>
        </p:nvSpPr>
        <p:spPr>
          <a:xfrm>
            <a:off x="4151784" y="640281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+mn-lt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20131250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12BFFA3-CEDA-0E21-C10C-D1FD5DA08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058" y="97908"/>
            <a:ext cx="11863059" cy="430887"/>
          </a:xfrm>
        </p:spPr>
        <p:txBody>
          <a:bodyPr>
            <a:noAutofit/>
          </a:bodyPr>
          <a:lstStyle/>
          <a:p>
            <a:pPr algn="ctr"/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SEQUOIA Arm D Treatment Regimen and MRD</a:t>
            </a:r>
            <a:endParaRPr lang="en-US" dirty="0">
              <a:solidFill>
                <a:schemeClr val="tx2"/>
              </a:solidFill>
              <a:highlight>
                <a:srgbClr val="FFFF00"/>
              </a:highlight>
            </a:endParaRPr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96AEF000-D5EF-8648-A94E-151E94055B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2234" y="1216163"/>
            <a:ext cx="11863059" cy="830997"/>
          </a:xfrm>
        </p:spPr>
        <p:txBody>
          <a:bodyPr/>
          <a:lstStyle/>
          <a:p>
            <a:r>
              <a:rPr lang="en-US" dirty="0"/>
              <a:t>Zanubrutinib lead-in (3 cycles) followed by zanubrutinib + venetoclax (12-24 cycles dependent on </a:t>
            </a:r>
            <a:r>
              <a:rPr lang="en-US" dirty="0" err="1"/>
              <a:t>uMRD</a:t>
            </a:r>
            <a:r>
              <a:rPr lang="en-US" dirty="0"/>
              <a:t> early dose-stopping rules), then zanubrutinib monotherapy until disease progression, unacceptable toxicity, or meeting </a:t>
            </a:r>
            <a:r>
              <a:rPr lang="en-US" dirty="0" err="1"/>
              <a:t>uMRD</a:t>
            </a:r>
            <a:r>
              <a:rPr lang="en-US" dirty="0"/>
              <a:t> early dose-stopping ru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579708-B594-9695-56DD-05EF9CDEE0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BM biopsy and aspirate are required to confirm a suspected CR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(BM collection timepoint not defined per protocol), starting after cycle 9 and then annually if needed. </a:t>
            </a:r>
            <a:b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b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Patients with confirmed CR/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Ri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and 2 consecutive PB </a:t>
            </a:r>
            <a:r>
              <a:rPr kumimoji="0" lang="en-US" sz="10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uMR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≥12 weeks apart.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E9A422DF-4D41-742E-7D8F-F25BDC56D841}"/>
              </a:ext>
            </a:extLst>
          </p:cNvPr>
          <p:cNvSpPr txBox="1"/>
          <p:nvPr/>
        </p:nvSpPr>
        <p:spPr>
          <a:xfrm rot="16200000">
            <a:off x="-641563" y="3276394"/>
            <a:ext cx="15306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eatments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171D2510-9BC7-A14E-9615-CB27A0BFEB2B}"/>
              </a:ext>
            </a:extLst>
          </p:cNvPr>
          <p:cNvSpPr txBox="1"/>
          <p:nvPr/>
        </p:nvSpPr>
        <p:spPr>
          <a:xfrm rot="16200000">
            <a:off x="-561472" y="5227845"/>
            <a:ext cx="133882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ssessment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30974F4-50C2-BB68-9D70-10D6CC98865C}"/>
              </a:ext>
            </a:extLst>
          </p:cNvPr>
          <p:cNvGrpSpPr/>
          <p:nvPr/>
        </p:nvGrpSpPr>
        <p:grpSpPr>
          <a:xfrm>
            <a:off x="229832" y="2224676"/>
            <a:ext cx="6843322" cy="4052714"/>
            <a:chOff x="153272" y="2552359"/>
            <a:chExt cx="11858880" cy="3725031"/>
          </a:xfrm>
        </p:grpSpPr>
        <p:pic>
          <p:nvPicPr>
            <p:cNvPr id="22" name="Graphic 21" descr="Checkmark with solid fill">
              <a:extLst>
                <a:ext uri="{FF2B5EF4-FFF2-40B4-BE49-F238E27FC236}">
                  <a16:creationId xmlns:a16="http://schemas.microsoft.com/office/drawing/2014/main" id="{81F87191-CEB9-747A-1B73-2346BA1C1A5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008482" y="4584737"/>
              <a:ext cx="333827" cy="333827"/>
            </a:xfrm>
            <a:prstGeom prst="rect">
              <a:avLst/>
            </a:prstGeom>
          </p:spPr>
        </p:pic>
        <p:pic>
          <p:nvPicPr>
            <p:cNvPr id="23" name="Graphic 22" descr="Checkmark with solid fill">
              <a:extLst>
                <a:ext uri="{FF2B5EF4-FFF2-40B4-BE49-F238E27FC236}">
                  <a16:creationId xmlns:a16="http://schemas.microsoft.com/office/drawing/2014/main" id="{99FD0727-1B9E-CBD5-D5F1-A904D91087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022098" y="5043413"/>
              <a:ext cx="333827" cy="333827"/>
            </a:xfrm>
            <a:prstGeom prst="rect">
              <a:avLst/>
            </a:prstGeom>
          </p:spPr>
        </p:pic>
        <p:pic>
          <p:nvPicPr>
            <p:cNvPr id="24" name="Graphic 23" descr="Checkmark with solid fill">
              <a:extLst>
                <a:ext uri="{FF2B5EF4-FFF2-40B4-BE49-F238E27FC236}">
                  <a16:creationId xmlns:a16="http://schemas.microsoft.com/office/drawing/2014/main" id="{B3E1FCAB-1735-A2E2-1CFF-4BD1FD91415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821441" y="4582188"/>
              <a:ext cx="333827" cy="333827"/>
            </a:xfrm>
            <a:prstGeom prst="rect">
              <a:avLst/>
            </a:prstGeom>
          </p:spPr>
        </p:pic>
        <p:pic>
          <p:nvPicPr>
            <p:cNvPr id="25" name="Graphic 24" descr="Checkmark with solid fill">
              <a:extLst>
                <a:ext uri="{FF2B5EF4-FFF2-40B4-BE49-F238E27FC236}">
                  <a16:creationId xmlns:a16="http://schemas.microsoft.com/office/drawing/2014/main" id="{9EA9317C-0BD2-FCC2-39EF-ADEA83483B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835057" y="5040864"/>
              <a:ext cx="333827" cy="333827"/>
            </a:xfrm>
            <a:prstGeom prst="rect">
              <a:avLst/>
            </a:prstGeom>
          </p:spPr>
        </p:pic>
        <p:pic>
          <p:nvPicPr>
            <p:cNvPr id="26" name="Graphic 25" descr="Checkmark with solid fill">
              <a:extLst>
                <a:ext uri="{FF2B5EF4-FFF2-40B4-BE49-F238E27FC236}">
                  <a16:creationId xmlns:a16="http://schemas.microsoft.com/office/drawing/2014/main" id="{076ACF83-8478-8DBD-1C3C-B5672909C94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4639042" y="4584665"/>
              <a:ext cx="333827" cy="333827"/>
            </a:xfrm>
            <a:prstGeom prst="rect">
              <a:avLst/>
            </a:prstGeom>
          </p:spPr>
        </p:pic>
        <p:pic>
          <p:nvPicPr>
            <p:cNvPr id="28" name="Graphic 27" descr="Checkmark with solid fill">
              <a:extLst>
                <a:ext uri="{FF2B5EF4-FFF2-40B4-BE49-F238E27FC236}">
                  <a16:creationId xmlns:a16="http://schemas.microsoft.com/office/drawing/2014/main" id="{F2D89565-BB94-EF8C-72EE-EE593F727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452001" y="4582116"/>
              <a:ext cx="333827" cy="333827"/>
            </a:xfrm>
            <a:prstGeom prst="rect">
              <a:avLst/>
            </a:prstGeom>
          </p:spPr>
        </p:pic>
        <p:pic>
          <p:nvPicPr>
            <p:cNvPr id="29" name="Graphic 28" descr="Checkmark with solid fill">
              <a:extLst>
                <a:ext uri="{FF2B5EF4-FFF2-40B4-BE49-F238E27FC236}">
                  <a16:creationId xmlns:a16="http://schemas.microsoft.com/office/drawing/2014/main" id="{89970BC8-A3EC-40F2-9CE0-1DBD514B469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5465617" y="5040792"/>
              <a:ext cx="333827" cy="333827"/>
            </a:xfrm>
            <a:prstGeom prst="rect">
              <a:avLst/>
            </a:prstGeom>
          </p:spPr>
        </p:pic>
        <p:pic>
          <p:nvPicPr>
            <p:cNvPr id="30" name="Graphic 29" descr="Checkmark with solid fill">
              <a:extLst>
                <a:ext uri="{FF2B5EF4-FFF2-40B4-BE49-F238E27FC236}">
                  <a16:creationId xmlns:a16="http://schemas.microsoft.com/office/drawing/2014/main" id="{6AE1DB4F-05DB-E3BD-F5F1-44EB792C7F2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6251344" y="4582188"/>
              <a:ext cx="333827" cy="333827"/>
            </a:xfrm>
            <a:prstGeom prst="rect">
              <a:avLst/>
            </a:prstGeom>
          </p:spPr>
        </p:pic>
        <p:pic>
          <p:nvPicPr>
            <p:cNvPr id="31" name="Graphic 30" descr="Checkmark with solid fill">
              <a:extLst>
                <a:ext uri="{FF2B5EF4-FFF2-40B4-BE49-F238E27FC236}">
                  <a16:creationId xmlns:a16="http://schemas.microsoft.com/office/drawing/2014/main" id="{AF9D9852-0364-B924-376F-EF83C18491E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264960" y="5040864"/>
              <a:ext cx="333827" cy="333827"/>
            </a:xfrm>
            <a:prstGeom prst="rect">
              <a:avLst/>
            </a:prstGeom>
          </p:spPr>
        </p:pic>
        <p:pic>
          <p:nvPicPr>
            <p:cNvPr id="32" name="Graphic 31" descr="Checkmark with solid fill">
              <a:extLst>
                <a:ext uri="{FF2B5EF4-FFF2-40B4-BE49-F238E27FC236}">
                  <a16:creationId xmlns:a16="http://schemas.microsoft.com/office/drawing/2014/main" id="{B50DB16E-1F98-6040-CCAD-AB73E1F5BA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064303" y="4579639"/>
              <a:ext cx="333827" cy="333827"/>
            </a:xfrm>
            <a:prstGeom prst="rect">
              <a:avLst/>
            </a:prstGeom>
          </p:spPr>
        </p:pic>
        <p:pic>
          <p:nvPicPr>
            <p:cNvPr id="33" name="Graphic 32" descr="Checkmark with solid fill">
              <a:extLst>
                <a:ext uri="{FF2B5EF4-FFF2-40B4-BE49-F238E27FC236}">
                  <a16:creationId xmlns:a16="http://schemas.microsoft.com/office/drawing/2014/main" id="{4092AEAB-2C57-B7A0-D4A2-ECC3EEDEF18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077919" y="5038315"/>
              <a:ext cx="333827" cy="333827"/>
            </a:xfrm>
            <a:prstGeom prst="rect">
              <a:avLst/>
            </a:prstGeom>
          </p:spPr>
        </p:pic>
        <p:pic>
          <p:nvPicPr>
            <p:cNvPr id="34" name="Graphic 33" descr="Checkmark with solid fill">
              <a:extLst>
                <a:ext uri="{FF2B5EF4-FFF2-40B4-BE49-F238E27FC236}">
                  <a16:creationId xmlns:a16="http://schemas.microsoft.com/office/drawing/2014/main" id="{1CC92033-E3A8-8BD6-43F2-9706B14C5B99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881904" y="4582116"/>
              <a:ext cx="333827" cy="333827"/>
            </a:xfrm>
            <a:prstGeom prst="rect">
              <a:avLst/>
            </a:prstGeom>
          </p:spPr>
        </p:pic>
        <p:pic>
          <p:nvPicPr>
            <p:cNvPr id="35" name="Graphic 34" descr="Checkmark with solid fill">
              <a:extLst>
                <a:ext uri="{FF2B5EF4-FFF2-40B4-BE49-F238E27FC236}">
                  <a16:creationId xmlns:a16="http://schemas.microsoft.com/office/drawing/2014/main" id="{5F450A63-C996-3648-2DFC-819733E29EC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7895520" y="5040792"/>
              <a:ext cx="333827" cy="333827"/>
            </a:xfrm>
            <a:prstGeom prst="rect">
              <a:avLst/>
            </a:prstGeom>
          </p:spPr>
        </p:pic>
        <p:pic>
          <p:nvPicPr>
            <p:cNvPr id="36" name="Graphic 35" descr="Checkmark with solid fill">
              <a:extLst>
                <a:ext uri="{FF2B5EF4-FFF2-40B4-BE49-F238E27FC236}">
                  <a16:creationId xmlns:a16="http://schemas.microsoft.com/office/drawing/2014/main" id="{B4236485-6FE8-A1BA-ECAD-2F2EABC76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8694863" y="4579567"/>
              <a:ext cx="333827" cy="333827"/>
            </a:xfrm>
            <a:prstGeom prst="rect">
              <a:avLst/>
            </a:prstGeom>
          </p:spPr>
        </p:pic>
        <p:pic>
          <p:nvPicPr>
            <p:cNvPr id="37" name="Graphic 36" descr="Checkmark with solid fill">
              <a:extLst>
                <a:ext uri="{FF2B5EF4-FFF2-40B4-BE49-F238E27FC236}">
                  <a16:creationId xmlns:a16="http://schemas.microsoft.com/office/drawing/2014/main" id="{453C2FDA-1342-97A6-F862-F7BB5341E56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708479" y="5038243"/>
              <a:ext cx="333827" cy="333827"/>
            </a:xfrm>
            <a:prstGeom prst="rect">
              <a:avLst/>
            </a:prstGeom>
          </p:spPr>
        </p:pic>
        <p:pic>
          <p:nvPicPr>
            <p:cNvPr id="38" name="Graphic 37" descr="Checkmark with solid fill">
              <a:extLst>
                <a:ext uri="{FF2B5EF4-FFF2-40B4-BE49-F238E27FC236}">
                  <a16:creationId xmlns:a16="http://schemas.microsoft.com/office/drawing/2014/main" id="{CFC34932-54A8-23FC-722E-E640A73D20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9480590" y="4582116"/>
              <a:ext cx="333827" cy="333827"/>
            </a:xfrm>
            <a:prstGeom prst="rect">
              <a:avLst/>
            </a:prstGeom>
          </p:spPr>
        </p:pic>
        <p:pic>
          <p:nvPicPr>
            <p:cNvPr id="39" name="Graphic 38" descr="Checkmark with solid fill">
              <a:extLst>
                <a:ext uri="{FF2B5EF4-FFF2-40B4-BE49-F238E27FC236}">
                  <a16:creationId xmlns:a16="http://schemas.microsoft.com/office/drawing/2014/main" id="{7C2BF78C-9979-E8AF-203C-9541B383AB3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494206" y="5040792"/>
              <a:ext cx="333827" cy="333827"/>
            </a:xfrm>
            <a:prstGeom prst="rect">
              <a:avLst/>
            </a:prstGeom>
          </p:spPr>
        </p:pic>
        <p:pic>
          <p:nvPicPr>
            <p:cNvPr id="40" name="Graphic 39" descr="Checkmark with solid fill">
              <a:extLst>
                <a:ext uri="{FF2B5EF4-FFF2-40B4-BE49-F238E27FC236}">
                  <a16:creationId xmlns:a16="http://schemas.microsoft.com/office/drawing/2014/main" id="{AD65B609-BD63-E3D8-B5C3-E772683AC2F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0293549" y="4579567"/>
              <a:ext cx="333827" cy="333827"/>
            </a:xfrm>
            <a:prstGeom prst="rect">
              <a:avLst/>
            </a:prstGeom>
          </p:spPr>
        </p:pic>
        <p:pic>
          <p:nvPicPr>
            <p:cNvPr id="41" name="Graphic 40" descr="Checkmark with solid fill">
              <a:extLst>
                <a:ext uri="{FF2B5EF4-FFF2-40B4-BE49-F238E27FC236}">
                  <a16:creationId xmlns:a16="http://schemas.microsoft.com/office/drawing/2014/main" id="{5C58AA5C-B805-4AE4-F527-DA787786191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0307165" y="5038243"/>
              <a:ext cx="333827" cy="333827"/>
            </a:xfrm>
            <a:prstGeom prst="rect">
              <a:avLst/>
            </a:prstGeom>
          </p:spPr>
        </p:pic>
        <p:pic>
          <p:nvPicPr>
            <p:cNvPr id="45" name="Graphic 44" descr="Checkmark with solid fill">
              <a:extLst>
                <a:ext uri="{FF2B5EF4-FFF2-40B4-BE49-F238E27FC236}">
                  <a16:creationId xmlns:a16="http://schemas.microsoft.com/office/drawing/2014/main" id="{7A410CA1-C1AB-3714-AD75-48F77B0283D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660276" y="5053004"/>
              <a:ext cx="333827" cy="333827"/>
            </a:xfrm>
            <a:prstGeom prst="rect">
              <a:avLst/>
            </a:prstGeom>
          </p:spPr>
        </p:pic>
        <p:sp>
          <p:nvSpPr>
            <p:cNvPr id="55" name="Arrow: Right 54">
              <a:extLst>
                <a:ext uri="{FF2B5EF4-FFF2-40B4-BE49-F238E27FC236}">
                  <a16:creationId xmlns:a16="http://schemas.microsoft.com/office/drawing/2014/main" id="{419C2480-0577-4421-C59B-B0479827302F}"/>
                </a:ext>
              </a:extLst>
            </p:cNvPr>
            <p:cNvSpPr/>
            <p:nvPr/>
          </p:nvSpPr>
          <p:spPr>
            <a:xfrm>
              <a:off x="5239418" y="5573845"/>
              <a:ext cx="5519025" cy="175327"/>
            </a:xfrm>
            <a:prstGeom prst="rightArrow">
              <a:avLst/>
            </a:prstGeom>
            <a:solidFill>
              <a:srgbClr val="3E5983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6" name="Arrow: Right 55">
              <a:extLst>
                <a:ext uri="{FF2B5EF4-FFF2-40B4-BE49-F238E27FC236}">
                  <a16:creationId xmlns:a16="http://schemas.microsoft.com/office/drawing/2014/main" id="{1C5773E5-5C2F-B5DD-975B-618EDAB11AB7}"/>
                </a:ext>
              </a:extLst>
            </p:cNvPr>
            <p:cNvSpPr/>
            <p:nvPr/>
          </p:nvSpPr>
          <p:spPr>
            <a:xfrm>
              <a:off x="5237708" y="5993369"/>
              <a:ext cx="5519025" cy="188208"/>
            </a:xfrm>
            <a:prstGeom prst="rightArrow">
              <a:avLst/>
            </a:prstGeom>
            <a:solidFill>
              <a:srgbClr val="18325F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id="{666AE9E5-E49C-C080-A3DC-4B4493CE7E80}"/>
                </a:ext>
              </a:extLst>
            </p:cNvPr>
            <p:cNvSpPr/>
            <p:nvPr/>
          </p:nvSpPr>
          <p:spPr>
            <a:xfrm>
              <a:off x="354500" y="4072650"/>
              <a:ext cx="1975103" cy="365760"/>
            </a:xfrm>
            <a:prstGeom prst="rect">
              <a:avLst/>
            </a:prstGeom>
            <a:solidFill>
              <a:schemeClr val="bg1"/>
            </a:solidFill>
            <a:ln w="28575">
              <a:solidFill>
                <a:srgbClr val="196B24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TLS risk assessments</a:t>
              </a:r>
            </a:p>
          </p:txBody>
        </p:sp>
        <p:pic>
          <p:nvPicPr>
            <p:cNvPr id="69" name="Graphic 68" descr="Checkmark with solid fill">
              <a:extLst>
                <a:ext uri="{FF2B5EF4-FFF2-40B4-BE49-F238E27FC236}">
                  <a16:creationId xmlns:a16="http://schemas.microsoft.com/office/drawing/2014/main" id="{2EDE5966-A62D-BA74-EA5B-474105C4DA7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2434908" y="4098958"/>
              <a:ext cx="333827" cy="333827"/>
            </a:xfrm>
            <a:prstGeom prst="rect">
              <a:avLst/>
            </a:prstGeom>
          </p:spPr>
        </p:pic>
        <p:pic>
          <p:nvPicPr>
            <p:cNvPr id="70" name="Graphic 69" descr="Checkmark with solid fill">
              <a:extLst>
                <a:ext uri="{FF2B5EF4-FFF2-40B4-BE49-F238E27FC236}">
                  <a16:creationId xmlns:a16="http://schemas.microsoft.com/office/drawing/2014/main" id="{3384A907-A559-43F8-E5D8-B392F7F1952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3484169" y="4096409"/>
              <a:ext cx="333827" cy="333827"/>
            </a:xfrm>
            <a:prstGeom prst="rect">
              <a:avLst/>
            </a:prstGeom>
          </p:spPr>
        </p:pic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BFA4AEBE-6923-E3C6-BE3A-225F7EC1750D}"/>
                </a:ext>
              </a:extLst>
            </p:cNvPr>
            <p:cNvCxnSpPr>
              <a:cxnSpLocks/>
            </p:cNvCxnSpPr>
            <p:nvPr/>
          </p:nvCxnSpPr>
          <p:spPr>
            <a:xfrm>
              <a:off x="2434908" y="4045039"/>
              <a:ext cx="8321825" cy="28012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Straight Connector 72">
              <a:extLst>
                <a:ext uri="{FF2B5EF4-FFF2-40B4-BE49-F238E27FC236}">
                  <a16:creationId xmlns:a16="http://schemas.microsoft.com/office/drawing/2014/main" id="{4BBA1122-32E2-178B-D57A-3D4B38B6215E}"/>
                </a:ext>
              </a:extLst>
            </p:cNvPr>
            <p:cNvCxnSpPr>
              <a:cxnSpLocks/>
            </p:cNvCxnSpPr>
            <p:nvPr/>
          </p:nvCxnSpPr>
          <p:spPr>
            <a:xfrm>
              <a:off x="2412588" y="4528794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17E7E0B0-A177-9A3C-B0BC-E25D1D3BE880}"/>
                </a:ext>
              </a:extLst>
            </p:cNvPr>
            <p:cNvSpPr/>
            <p:nvPr/>
          </p:nvSpPr>
          <p:spPr>
            <a:xfrm>
              <a:off x="2570761" y="3388586"/>
              <a:ext cx="1195382" cy="23514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ead-in</a:t>
              </a:r>
              <a:endPara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80" name="Rectangle: Rounded Corners 79">
              <a:extLst>
                <a:ext uri="{FF2B5EF4-FFF2-40B4-BE49-F238E27FC236}">
                  <a16:creationId xmlns:a16="http://schemas.microsoft.com/office/drawing/2014/main" id="{3D1351EF-4E2F-9828-90D3-305B4861B13F}"/>
                </a:ext>
              </a:extLst>
            </p:cNvPr>
            <p:cNvSpPr/>
            <p:nvPr/>
          </p:nvSpPr>
          <p:spPr>
            <a:xfrm>
              <a:off x="7137805" y="3632114"/>
              <a:ext cx="3829194" cy="387005"/>
            </a:xfrm>
            <a:prstGeom prst="roundRect">
              <a:avLst/>
            </a:prstGeom>
            <a:solidFill>
              <a:srgbClr val="E3F0DB"/>
            </a:solidFill>
            <a:ln>
              <a:solidFill>
                <a:srgbClr val="8BC167"/>
              </a:solidFill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tarting at C16, may discontinue </a:t>
              </a:r>
              <a:r>
                <a:rPr kumimoji="0" lang="en-US" sz="11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venetoclax</a:t>
              </a:r>
              <a:r>
                <a:rPr kumimoji="0" lang="en-US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for confirmed </a:t>
              </a:r>
              <a:r>
                <a:rPr kumimoji="0" lang="en-US" sz="11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uMRD</a:t>
              </a:r>
              <a:r>
                <a:rPr kumimoji="0" lang="en-US" sz="1100" b="1" i="1" u="none" strike="noStrike" kern="1200" cap="none" spc="0" normalizeH="0" baseline="0" noProof="0" dirty="0">
                  <a:ln>
                    <a:noFill/>
                  </a:ln>
                  <a:solidFill>
                    <a:srgbClr val="3A3637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(PB &amp; BM)</a:t>
              </a:r>
            </a:p>
          </p:txBody>
        </p:sp>
        <p:cxnSp>
          <p:nvCxnSpPr>
            <p:cNvPr id="83" name="Straight Connector 82">
              <a:extLst>
                <a:ext uri="{FF2B5EF4-FFF2-40B4-BE49-F238E27FC236}">
                  <a16:creationId xmlns:a16="http://schemas.microsoft.com/office/drawing/2014/main" id="{B089D961-F44B-F90F-228A-B462653F9DE4}"/>
                </a:ext>
              </a:extLst>
            </p:cNvPr>
            <p:cNvCxnSpPr>
              <a:cxnSpLocks/>
            </p:cNvCxnSpPr>
            <p:nvPr/>
          </p:nvCxnSpPr>
          <p:spPr>
            <a:xfrm>
              <a:off x="2378792" y="4976599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Straight Connector 83">
              <a:extLst>
                <a:ext uri="{FF2B5EF4-FFF2-40B4-BE49-F238E27FC236}">
                  <a16:creationId xmlns:a16="http://schemas.microsoft.com/office/drawing/2014/main" id="{136336AE-A64B-45C8-8A06-F500E21561EF}"/>
                </a:ext>
              </a:extLst>
            </p:cNvPr>
            <p:cNvCxnSpPr>
              <a:cxnSpLocks/>
            </p:cNvCxnSpPr>
            <p:nvPr/>
          </p:nvCxnSpPr>
          <p:spPr>
            <a:xfrm>
              <a:off x="2380056" y="5431206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Straight Connector 84">
              <a:extLst>
                <a:ext uri="{FF2B5EF4-FFF2-40B4-BE49-F238E27FC236}">
                  <a16:creationId xmlns:a16="http://schemas.microsoft.com/office/drawing/2014/main" id="{897FF1AD-1D13-44AD-650E-16140602777F}"/>
                </a:ext>
              </a:extLst>
            </p:cNvPr>
            <p:cNvCxnSpPr>
              <a:cxnSpLocks/>
            </p:cNvCxnSpPr>
            <p:nvPr/>
          </p:nvCxnSpPr>
          <p:spPr>
            <a:xfrm>
              <a:off x="2346260" y="5879011"/>
              <a:ext cx="8345855" cy="0"/>
            </a:xfrm>
            <a:prstGeom prst="line">
              <a:avLst/>
            </a:prstGeom>
            <a:ln>
              <a:solidFill>
                <a:schemeClr val="bg1">
                  <a:lumMod val="9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Isosceles Triangle 18">
              <a:extLst>
                <a:ext uri="{FF2B5EF4-FFF2-40B4-BE49-F238E27FC236}">
                  <a16:creationId xmlns:a16="http://schemas.microsoft.com/office/drawing/2014/main" id="{4A411656-BA34-7032-DF83-87D83BC3BA12}"/>
                </a:ext>
              </a:extLst>
            </p:cNvPr>
            <p:cNvSpPr/>
            <p:nvPr/>
          </p:nvSpPr>
          <p:spPr>
            <a:xfrm rot="16200000">
              <a:off x="3984430" y="3181225"/>
              <a:ext cx="347026" cy="526039"/>
            </a:xfrm>
            <a:prstGeom prst="triangle">
              <a:avLst>
                <a:gd name="adj" fmla="val 100000"/>
              </a:avLst>
            </a:prstGeom>
            <a:solidFill>
              <a:srgbClr val="8BC16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gradFill>
                  <a:gsLst>
                    <a:gs pos="79000">
                      <a:srgbClr val="89A5D7"/>
                    </a:gs>
                    <a:gs pos="16000">
                      <a:srgbClr val="CED8EA"/>
                    </a:gs>
                    <a:gs pos="96000">
                      <a:srgbClr val="4472C4"/>
                    </a:gs>
                  </a:gsLst>
                  <a:lin ang="5400000" scaled="1"/>
                </a:gra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sp>
          <p:nvSpPr>
            <p:cNvPr id="98" name="Rectangle: Rounded Corners 15">
              <a:extLst>
                <a:ext uri="{FF2B5EF4-FFF2-40B4-BE49-F238E27FC236}">
                  <a16:creationId xmlns:a16="http://schemas.microsoft.com/office/drawing/2014/main" id="{BCC1B487-012F-79AA-9907-CCC692014071}"/>
                </a:ext>
              </a:extLst>
            </p:cNvPr>
            <p:cNvSpPr/>
            <p:nvPr/>
          </p:nvSpPr>
          <p:spPr>
            <a:xfrm>
              <a:off x="4373212" y="3261874"/>
              <a:ext cx="6039221" cy="355884"/>
            </a:xfrm>
            <a:prstGeom prst="roundRect">
              <a:avLst/>
            </a:prstGeom>
            <a:solidFill>
              <a:srgbClr val="8BC167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</a:t>
              </a:r>
              <a:r>
                <a:rPr kumimoji="0" lang="en-US" sz="14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Venetoclax</a:t>
              </a: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E7E6E6">
                      <a:lumMod val="25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ramp-up cycle, then 400 mg once daily for 12-24 cycles </a:t>
              </a:r>
            </a:p>
          </p:txBody>
        </p: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2011B3BF-9E43-5ACB-3666-29FA19B3B322}"/>
                </a:ext>
              </a:extLst>
            </p:cNvPr>
            <p:cNvCxnSpPr>
              <a:cxnSpLocks/>
            </p:cNvCxnSpPr>
            <p:nvPr/>
          </p:nvCxnSpPr>
          <p:spPr>
            <a:xfrm>
              <a:off x="3093980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111" name="TextBox 110">
              <a:extLst>
                <a:ext uri="{FF2B5EF4-FFF2-40B4-BE49-F238E27FC236}">
                  <a16:creationId xmlns:a16="http://schemas.microsoft.com/office/drawing/2014/main" id="{BB1FE074-657C-9FBA-C186-C65B45E9A917}"/>
                </a:ext>
              </a:extLst>
            </p:cNvPr>
            <p:cNvSpPr txBox="1"/>
            <p:nvPr/>
          </p:nvSpPr>
          <p:spPr>
            <a:xfrm>
              <a:off x="2883355" y="2552360"/>
              <a:ext cx="3926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</a:t>
              </a:r>
            </a:p>
          </p:txBody>
        </p: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A62044B-A588-AA47-230D-F1B496560123}"/>
                </a:ext>
              </a:extLst>
            </p:cNvPr>
            <p:cNvSpPr txBox="1"/>
            <p:nvPr/>
          </p:nvSpPr>
          <p:spPr>
            <a:xfrm>
              <a:off x="3695154" y="2552360"/>
              <a:ext cx="678055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4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EC2EBB35-8C61-022E-D906-0155D7BBDE32}"/>
                </a:ext>
              </a:extLst>
            </p:cNvPr>
            <p:cNvSpPr txBox="1"/>
            <p:nvPr/>
          </p:nvSpPr>
          <p:spPr>
            <a:xfrm>
              <a:off x="4517109" y="2552360"/>
              <a:ext cx="39267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7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5C8E3181-608D-1206-078E-B9AAD2B547E3}"/>
                </a:ext>
              </a:extLst>
            </p:cNvPr>
            <p:cNvSpPr txBox="1"/>
            <p:nvPr/>
          </p:nvSpPr>
          <p:spPr>
            <a:xfrm>
              <a:off x="5242163" y="2552360"/>
              <a:ext cx="948842" cy="2586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0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EE05B503-3873-A0D1-BD5F-D366580E286A}"/>
                </a:ext>
              </a:extLst>
            </p:cNvPr>
            <p:cNvSpPr txBox="1"/>
            <p:nvPr/>
          </p:nvSpPr>
          <p:spPr>
            <a:xfrm>
              <a:off x="6071437" y="2552360"/>
              <a:ext cx="49323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3</a:t>
              </a:r>
            </a:p>
          </p:txBody>
        </p:sp>
        <p:sp>
          <p:nvSpPr>
            <p:cNvPr id="118" name="TextBox 117">
              <a:extLst>
                <a:ext uri="{FF2B5EF4-FFF2-40B4-BE49-F238E27FC236}">
                  <a16:creationId xmlns:a16="http://schemas.microsoft.com/office/drawing/2014/main" id="{B5485390-2972-5447-E431-005C62A1E4CE}"/>
                </a:ext>
              </a:extLst>
            </p:cNvPr>
            <p:cNvSpPr txBox="1"/>
            <p:nvPr/>
          </p:nvSpPr>
          <p:spPr>
            <a:xfrm>
              <a:off x="6859894" y="2552360"/>
              <a:ext cx="988729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6</a:t>
              </a:r>
            </a:p>
          </p:txBody>
        </p:sp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41D5A966-D940-2C08-1468-47038EECDB7B}"/>
                </a:ext>
              </a:extLst>
            </p:cNvPr>
            <p:cNvSpPr txBox="1"/>
            <p:nvPr/>
          </p:nvSpPr>
          <p:spPr>
            <a:xfrm>
              <a:off x="7683860" y="2552360"/>
              <a:ext cx="493231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19</a:t>
              </a:r>
            </a:p>
          </p:txBody>
        </p:sp>
        <p:sp>
          <p:nvSpPr>
            <p:cNvPr id="120" name="TextBox 119">
              <a:extLst>
                <a:ext uri="{FF2B5EF4-FFF2-40B4-BE49-F238E27FC236}">
                  <a16:creationId xmlns:a16="http://schemas.microsoft.com/office/drawing/2014/main" id="{69352186-197F-F9C0-5064-CF14427321B5}"/>
                </a:ext>
              </a:extLst>
            </p:cNvPr>
            <p:cNvSpPr txBox="1"/>
            <p:nvPr/>
          </p:nvSpPr>
          <p:spPr>
            <a:xfrm>
              <a:off x="8490162" y="2552359"/>
              <a:ext cx="814207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22</a:t>
              </a:r>
            </a:p>
          </p:txBody>
        </p:sp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4BBC79C1-BF69-A8C7-CD48-CA30FE3D7EB8}"/>
                </a:ext>
              </a:extLst>
            </p:cNvPr>
            <p:cNvSpPr txBox="1"/>
            <p:nvPr/>
          </p:nvSpPr>
          <p:spPr>
            <a:xfrm>
              <a:off x="9304368" y="2552360"/>
              <a:ext cx="852208" cy="25460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25</a:t>
              </a:r>
            </a:p>
          </p:txBody>
        </p:sp>
        <p:sp>
          <p:nvSpPr>
            <p:cNvPr id="122" name="TextBox 121">
              <a:extLst>
                <a:ext uri="{FF2B5EF4-FFF2-40B4-BE49-F238E27FC236}">
                  <a16:creationId xmlns:a16="http://schemas.microsoft.com/office/drawing/2014/main" id="{C9002ED7-1064-2EC0-D4EE-BF37D1FB9893}"/>
                </a:ext>
              </a:extLst>
            </p:cNvPr>
            <p:cNvSpPr txBox="1"/>
            <p:nvPr/>
          </p:nvSpPr>
          <p:spPr>
            <a:xfrm>
              <a:off x="10114790" y="2552360"/>
              <a:ext cx="852208" cy="4243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28+</a:t>
              </a:r>
            </a:p>
          </p:txBody>
        </p: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A6C87683-778B-B2A5-F809-B82A344B28AC}"/>
                </a:ext>
              </a:extLst>
            </p:cNvPr>
            <p:cNvCxnSpPr>
              <a:cxnSpLocks/>
            </p:cNvCxnSpPr>
            <p:nvPr/>
          </p:nvCxnSpPr>
          <p:spPr>
            <a:xfrm>
              <a:off x="3891491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782F5926-A76C-F331-6FBE-23C02D06EC3C}"/>
                </a:ext>
              </a:extLst>
            </p:cNvPr>
            <p:cNvCxnSpPr>
              <a:cxnSpLocks/>
            </p:cNvCxnSpPr>
            <p:nvPr/>
          </p:nvCxnSpPr>
          <p:spPr>
            <a:xfrm>
              <a:off x="4707094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7379596F-E134-CAEE-97A0-E3081F5AE3AA}"/>
                </a:ext>
              </a:extLst>
            </p:cNvPr>
            <p:cNvCxnSpPr>
              <a:cxnSpLocks/>
            </p:cNvCxnSpPr>
            <p:nvPr/>
          </p:nvCxnSpPr>
          <p:spPr>
            <a:xfrm>
              <a:off x="5514179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F213189A-13E3-1168-4401-E461A1A72BF5}"/>
                </a:ext>
              </a:extLst>
            </p:cNvPr>
            <p:cNvCxnSpPr>
              <a:cxnSpLocks/>
            </p:cNvCxnSpPr>
            <p:nvPr/>
          </p:nvCxnSpPr>
          <p:spPr>
            <a:xfrm>
              <a:off x="6327577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54FCBB0C-E6A9-F802-2078-8FD14F0A097F}"/>
                </a:ext>
              </a:extLst>
            </p:cNvPr>
            <p:cNvCxnSpPr>
              <a:cxnSpLocks/>
            </p:cNvCxnSpPr>
            <p:nvPr/>
          </p:nvCxnSpPr>
          <p:spPr>
            <a:xfrm>
              <a:off x="7138261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C3BD3D6C-CB1D-568A-BF39-711FAA63CE4E}"/>
                </a:ext>
              </a:extLst>
            </p:cNvPr>
            <p:cNvCxnSpPr>
              <a:cxnSpLocks/>
            </p:cNvCxnSpPr>
            <p:nvPr/>
          </p:nvCxnSpPr>
          <p:spPr>
            <a:xfrm>
              <a:off x="7946350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36DDABB7-96CE-C063-6849-ECBF86399C5F}"/>
                </a:ext>
              </a:extLst>
            </p:cNvPr>
            <p:cNvCxnSpPr>
              <a:cxnSpLocks/>
            </p:cNvCxnSpPr>
            <p:nvPr/>
          </p:nvCxnSpPr>
          <p:spPr>
            <a:xfrm>
              <a:off x="8759002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D2479A63-DA0A-C9F6-A7B3-1E47B6459589}"/>
                </a:ext>
              </a:extLst>
            </p:cNvPr>
            <p:cNvCxnSpPr>
              <a:cxnSpLocks/>
            </p:cNvCxnSpPr>
            <p:nvPr/>
          </p:nvCxnSpPr>
          <p:spPr>
            <a:xfrm>
              <a:off x="9566859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C8A350A-8700-E7BF-976A-A8E48378D584}"/>
                </a:ext>
              </a:extLst>
            </p:cNvPr>
            <p:cNvCxnSpPr>
              <a:cxnSpLocks/>
            </p:cNvCxnSpPr>
            <p:nvPr/>
          </p:nvCxnSpPr>
          <p:spPr>
            <a:xfrm>
              <a:off x="10382412" y="2783639"/>
              <a:ext cx="0" cy="91440"/>
            </a:xfrm>
            <a:prstGeom prst="line">
              <a:avLst/>
            </a:prstGeom>
            <a:noFill/>
            <a:ln w="6350" cap="flat" cmpd="sng" algn="ctr">
              <a:solidFill>
                <a:srgbClr val="000000"/>
              </a:solidFill>
              <a:prstDash val="solid"/>
              <a:miter lim="800000"/>
            </a:ln>
            <a:effectLst/>
          </p:spPr>
        </p:cxnSp>
        <p:sp>
          <p:nvSpPr>
            <p:cNvPr id="137" name="Rectangle: Rounded Corners 16">
              <a:extLst>
                <a:ext uri="{FF2B5EF4-FFF2-40B4-BE49-F238E27FC236}">
                  <a16:creationId xmlns:a16="http://schemas.microsoft.com/office/drawing/2014/main" id="{9126B0A7-DEB3-7066-68ED-399027052BD3}"/>
                </a:ext>
              </a:extLst>
            </p:cNvPr>
            <p:cNvSpPr/>
            <p:nvPr/>
          </p:nvSpPr>
          <p:spPr>
            <a:xfrm>
              <a:off x="3079692" y="2887394"/>
              <a:ext cx="8527587" cy="327557"/>
            </a:xfrm>
            <a:prstGeom prst="roundRect">
              <a:avLst>
                <a:gd name="adj" fmla="val 16667"/>
              </a:avLst>
            </a:prstGeom>
            <a:gradFill flip="none" rotWithShape="1">
              <a:gsLst>
                <a:gs pos="0">
                  <a:schemeClr val="tx2"/>
                </a:gs>
                <a:gs pos="0">
                  <a:srgbClr val="2D4F8C"/>
                </a:gs>
              </a:gsLst>
              <a:lin ang="810000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  Zanubrutinib 160 mg twice daily for ≥27 cycles </a:t>
              </a:r>
            </a:p>
          </p:txBody>
        </p:sp>
        <p:sp>
          <p:nvSpPr>
            <p:cNvPr id="138" name="Arrow: Right 137">
              <a:extLst>
                <a:ext uri="{FF2B5EF4-FFF2-40B4-BE49-F238E27FC236}">
                  <a16:creationId xmlns:a16="http://schemas.microsoft.com/office/drawing/2014/main" id="{02869623-76C6-9344-A00C-A45AF457203C}"/>
                </a:ext>
              </a:extLst>
            </p:cNvPr>
            <p:cNvSpPr/>
            <p:nvPr/>
          </p:nvSpPr>
          <p:spPr>
            <a:xfrm>
              <a:off x="11329665" y="2799030"/>
              <a:ext cx="682487" cy="504284"/>
            </a:xfrm>
            <a:prstGeom prst="rightArrow">
              <a:avLst>
                <a:gd name="adj1" fmla="val 64803"/>
                <a:gd name="adj2" fmla="val 50000"/>
              </a:avLst>
            </a:prstGeom>
            <a:solidFill>
              <a:srgbClr val="2D4F8C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2" name="Rectangle 141">
              <a:extLst>
                <a:ext uri="{FF2B5EF4-FFF2-40B4-BE49-F238E27FC236}">
                  <a16:creationId xmlns:a16="http://schemas.microsoft.com/office/drawing/2014/main" id="{930A2D2C-E46D-C076-4CE7-6E7B66926537}"/>
                </a:ext>
              </a:extLst>
            </p:cNvPr>
            <p:cNvSpPr/>
            <p:nvPr/>
          </p:nvSpPr>
          <p:spPr>
            <a:xfrm>
              <a:off x="153272" y="4540740"/>
              <a:ext cx="2643044" cy="365760"/>
            </a:xfrm>
            <a:prstGeom prst="rect">
              <a:avLst/>
            </a:prstGeom>
            <a:noFill/>
            <a:ln w="28575" cap="flat" cmpd="sng" algn="ctr">
              <a:solidFill>
                <a:srgbClr val="9CC2E5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Hematology/physical examination/imaging</a:t>
              </a:r>
            </a:p>
          </p:txBody>
        </p:sp>
        <p:sp>
          <p:nvSpPr>
            <p:cNvPr id="143" name="Rectangle 142">
              <a:extLst>
                <a:ext uri="{FF2B5EF4-FFF2-40B4-BE49-F238E27FC236}">
                  <a16:creationId xmlns:a16="http://schemas.microsoft.com/office/drawing/2014/main" id="{7A2DD4CF-B6DA-B5D8-36D4-98B32CE88DBE}"/>
                </a:ext>
              </a:extLst>
            </p:cNvPr>
            <p:cNvSpPr/>
            <p:nvPr/>
          </p:nvSpPr>
          <p:spPr>
            <a:xfrm>
              <a:off x="610531" y="5023111"/>
              <a:ext cx="1719072" cy="365760"/>
            </a:xfrm>
            <a:prstGeom prst="rect">
              <a:avLst/>
            </a:prstGeom>
            <a:noFill/>
            <a:ln w="28575" cap="flat" cmpd="sng" algn="ctr">
              <a:solidFill>
                <a:srgbClr val="6C8DB3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MRD: PB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4C43180C-E150-34DC-4B2D-D902FFA6A808}"/>
                </a:ext>
              </a:extLst>
            </p:cNvPr>
            <p:cNvSpPr/>
            <p:nvPr/>
          </p:nvSpPr>
          <p:spPr>
            <a:xfrm>
              <a:off x="153272" y="5478628"/>
              <a:ext cx="2615463" cy="365760"/>
            </a:xfrm>
            <a:prstGeom prst="rect">
              <a:avLst/>
            </a:prstGeom>
            <a:noFill/>
            <a:ln w="28575" cap="flat" cmpd="sng" algn="ctr">
              <a:solidFill>
                <a:srgbClr val="3E5983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BM biopsy &amp; aspirate </a:t>
              </a:r>
              <a:b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</a:b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for </a:t>
              </a:r>
              <a:r>
                <a:rPr kumimoji="0" lang="en-US" sz="1100" b="1" i="0" u="none" strike="noStrike" kern="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CR</a:t>
              </a:r>
              <a:r>
                <a:rPr kumimoji="0" lang="en-US" sz="1100" b="1" i="0" u="none" strike="noStrike" kern="0" cap="none" spc="0" normalizeH="0" baseline="3000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a</a:t>
              </a:r>
              <a:endParaRPr kumimoji="0" lang="en-US" sz="1100" b="1" i="0" u="none" strike="noStrike" kern="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sp>
          <p:nvSpPr>
            <p:cNvPr id="145" name="Rectangle 144">
              <a:extLst>
                <a:ext uri="{FF2B5EF4-FFF2-40B4-BE49-F238E27FC236}">
                  <a16:creationId xmlns:a16="http://schemas.microsoft.com/office/drawing/2014/main" id="{F0615DA6-2540-A32B-6E7A-B126CCEE0653}"/>
                </a:ext>
              </a:extLst>
            </p:cNvPr>
            <p:cNvSpPr/>
            <p:nvPr/>
          </p:nvSpPr>
          <p:spPr>
            <a:xfrm>
              <a:off x="610531" y="5911630"/>
              <a:ext cx="1719072" cy="365760"/>
            </a:xfrm>
            <a:prstGeom prst="rect">
              <a:avLst/>
            </a:prstGeom>
            <a:noFill/>
            <a:ln w="28575" cap="flat" cmpd="sng" algn="ctr">
              <a:solidFill>
                <a:srgbClr val="243D68"/>
              </a:solidFill>
              <a:prstDash val="solid"/>
              <a:miter lim="800000"/>
            </a:ln>
            <a:effectLst/>
          </p:spPr>
          <p:txBody>
            <a:bodyPr lIns="0" rIns="0" rtlCol="0" anchor="ctr"/>
            <a:lstStyle/>
            <a:p>
              <a:pPr marL="0" marR="0" lvl="0" indent="0" algn="ct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MRD: BM </a:t>
              </a:r>
              <a:r>
                <a:rPr kumimoji="0" lang="en-US" sz="1100" b="1" i="0" u="none" strike="noStrike" kern="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aspirate</a:t>
              </a:r>
              <a:r>
                <a:rPr kumimoji="0" lang="en-US" sz="1100" b="1" i="0" u="none" strike="noStrike" kern="0" cap="none" spc="0" normalizeH="0" baseline="3000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Arial" panose="020B0604020202020204" pitchFamily="34" charset="0"/>
                </a:rPr>
                <a:t>b</a:t>
              </a:r>
              <a:endParaRPr kumimoji="0" lang="en-US" sz="1100" b="1" i="0" u="none" strike="noStrike" kern="0" cap="none" spc="0" normalizeH="0" baseline="3000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Geneva" charset="0"/>
                <a:cs typeface="Arial" panose="020B0604020202020204" pitchFamily="34" charset="0"/>
              </a:endParaRPr>
            </a:p>
          </p:txBody>
        </p:sp>
        <p:sp>
          <p:nvSpPr>
            <p:cNvPr id="146" name="Right Brace 145">
              <a:extLst>
                <a:ext uri="{FF2B5EF4-FFF2-40B4-BE49-F238E27FC236}">
                  <a16:creationId xmlns:a16="http://schemas.microsoft.com/office/drawing/2014/main" id="{2EB8A201-5343-2F55-340E-63E0E67AC510}"/>
                </a:ext>
              </a:extLst>
            </p:cNvPr>
            <p:cNvSpPr/>
            <p:nvPr/>
          </p:nvSpPr>
          <p:spPr>
            <a:xfrm rot="5400000">
              <a:off x="3322462" y="3021717"/>
              <a:ext cx="153058" cy="610023"/>
            </a:xfrm>
            <a:prstGeom prst="rightBrace">
              <a:avLst/>
            </a:prstGeom>
            <a:ln>
              <a:solidFill>
                <a:srgbClr val="2D4F8C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147" name="Rectangle: Rounded Corners 146">
            <a:extLst>
              <a:ext uri="{FF2B5EF4-FFF2-40B4-BE49-F238E27FC236}">
                <a16:creationId xmlns:a16="http://schemas.microsoft.com/office/drawing/2014/main" id="{97623CA8-500F-D350-C8C8-7DFEA6F5F8F5}"/>
              </a:ext>
            </a:extLst>
          </p:cNvPr>
          <p:cNvSpPr/>
          <p:nvPr/>
        </p:nvSpPr>
        <p:spPr>
          <a:xfrm>
            <a:off x="5255187" y="1752214"/>
            <a:ext cx="2631143" cy="504284"/>
          </a:xfrm>
          <a:prstGeom prst="roundRect">
            <a:avLst/>
          </a:prstGeom>
          <a:solidFill>
            <a:srgbClr val="D5DCE8"/>
          </a:solidFill>
          <a:ln>
            <a:solidFill>
              <a:srgbClr val="2D4F8C"/>
            </a:solidFill>
            <a:prstDash val="dash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eyond C28, continue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zanubrutinib</a:t>
            </a: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lone until confirmed </a:t>
            </a:r>
            <a:r>
              <a:rPr kumimoji="0" lang="en-US" sz="1100" b="1" i="1" u="none" strike="noStrike" kern="1200" cap="none" spc="0" normalizeH="0" baseline="0" noProof="0" dirty="0" err="1">
                <a:ln>
                  <a:noFill/>
                </a:ln>
                <a:solidFill>
                  <a:srgbClr val="3A3637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MRD</a:t>
            </a:r>
            <a:endParaRPr kumimoji="0" lang="en-US" sz="1100" b="1" i="1" u="none" strike="noStrike" kern="1200" cap="none" spc="0" normalizeH="0" baseline="0" noProof="0" dirty="0">
              <a:ln>
                <a:noFill/>
              </a:ln>
              <a:solidFill>
                <a:srgbClr val="3A3637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EAD73A9-024D-7D6C-B28D-235E5FEBA0C6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141446" y="2415990"/>
            <a:ext cx="4975671" cy="274012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C538FB7-80EA-9CE6-0F97-A4C19CB4B085}"/>
              </a:ext>
            </a:extLst>
          </p:cNvPr>
          <p:cNvSpPr txBox="1"/>
          <p:nvPr/>
        </p:nvSpPr>
        <p:spPr>
          <a:xfrm>
            <a:off x="3007151" y="3241977"/>
            <a:ext cx="612742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ürstenau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FD4AA7FA-8296-0BD3-111E-8651460EEE6A}"/>
              </a:ext>
            </a:extLst>
          </p:cNvPr>
          <p:cNvSpPr txBox="1"/>
          <p:nvPr/>
        </p:nvSpPr>
        <p:spPr>
          <a:xfrm>
            <a:off x="8766928" y="6550223"/>
            <a:ext cx="34250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huo MA et al. EHA 2024;Abstract S160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CB994F6-ABC4-2966-27DD-A79D76EEA7CD}"/>
              </a:ext>
            </a:extLst>
          </p:cNvPr>
          <p:cNvSpPr txBox="1"/>
          <p:nvPr/>
        </p:nvSpPr>
        <p:spPr>
          <a:xfrm>
            <a:off x="4905643" y="6597352"/>
            <a:ext cx="335059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0" dirty="0">
                <a:solidFill>
                  <a:schemeClr val="tx1"/>
                </a:solidFill>
                <a:latin typeface="+mn-lt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24199452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AC9AB9-F3C4-BC70-0FC9-63362F4E61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7979CB-B0FC-955A-F34C-EDAE7E9615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SEQUOIA Arm D: </a:t>
            </a:r>
            <a:r>
              <a:rPr lang="en-US" sz="4400" b="1" dirty="0" err="1"/>
              <a:t>Zanu</a:t>
            </a:r>
            <a:r>
              <a:rPr lang="en-US" sz="4400" b="1" dirty="0"/>
              <a:t> Ven in Del17p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9B4813-F00D-1E0D-E945-470B97037B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199" y="1030831"/>
            <a:ext cx="10304443" cy="5674769"/>
          </a:xfrm>
        </p:spPr>
        <p:txBody>
          <a:bodyPr>
            <a:normAutofit/>
          </a:bodyPr>
          <a:lstStyle/>
          <a:p>
            <a:r>
              <a:rPr lang="en-US" sz="3200" b="1" dirty="0"/>
              <a:t>Relatively slow achievement of </a:t>
            </a:r>
            <a:r>
              <a:rPr lang="en-US" sz="3200" b="1" dirty="0" err="1"/>
              <a:t>uMRD</a:t>
            </a:r>
            <a:r>
              <a:rPr lang="en-US" sz="3200" b="1" dirty="0"/>
              <a:t>:? Due to 17p</a:t>
            </a:r>
          </a:p>
          <a:p>
            <a:endParaRPr lang="en-US" sz="3200" b="1" dirty="0"/>
          </a:p>
          <a:p>
            <a:r>
              <a:rPr lang="en-US" sz="3200" b="1" dirty="0"/>
              <a:t>Very strict stopping criteria:  Most patients continue on therapy</a:t>
            </a:r>
          </a:p>
          <a:p>
            <a:pPr lvl="1"/>
            <a:r>
              <a:rPr lang="en-US" sz="3200" b="1" dirty="0"/>
              <a:t>       --?Is this really a time limited regimen</a:t>
            </a:r>
          </a:p>
          <a:p>
            <a:pPr lvl="1"/>
            <a:endParaRPr lang="en-US" sz="3200" b="1" dirty="0"/>
          </a:p>
          <a:p>
            <a:pPr lvl="1"/>
            <a:r>
              <a:rPr lang="en-US" sz="3200" b="1" dirty="0"/>
              <a:t>BUT:  maybe a longer treatment duration is preferred in this patient subgroup – </a:t>
            </a:r>
          </a:p>
          <a:p>
            <a:pPr lvl="1"/>
            <a:endParaRPr lang="en-US" sz="3200" b="1" dirty="0"/>
          </a:p>
          <a:p>
            <a:pPr lvl="1"/>
            <a:r>
              <a:rPr lang="en-US" sz="3200" b="1" dirty="0"/>
              <a:t>Longer follow-up is required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B12659D-AA4D-1071-635B-CA053416C43E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Author’s slid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E99BF4C-6CFA-337F-C21B-B79ED674D10F}"/>
              </a:ext>
            </a:extLst>
          </p:cNvPr>
          <p:cNvSpPr txBox="1"/>
          <p:nvPr/>
        </p:nvSpPr>
        <p:spPr>
          <a:xfrm>
            <a:off x="4542651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prstClr val="black"/>
                </a:solidFill>
                <a:latin typeface="Calibri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3709340505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10308F1-CF5A-B114-F8EB-7790093BD6A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4800" y="5999568"/>
            <a:ext cx="11582400" cy="364067"/>
          </a:xfrm>
        </p:spPr>
        <p:txBody>
          <a:bodyPr/>
          <a:lstStyle/>
          <a:p>
            <a:pPr>
              <a:spcBef>
                <a:spcPts val="0"/>
              </a:spcBef>
            </a:pPr>
            <a:endParaRPr lang="en-US" sz="933" baseline="30000" dirty="0"/>
          </a:p>
          <a:p>
            <a:pPr>
              <a:spcBef>
                <a:spcPts val="0"/>
              </a:spcBef>
            </a:pPr>
            <a:r>
              <a:rPr lang="en-US" sz="933" baseline="30000" dirty="0"/>
              <a:t>a </a:t>
            </a:r>
            <a:r>
              <a:rPr lang="en-US" sz="933" dirty="0"/>
              <a:t>Percentages based on the number of patients who reached assessment at 24 or 48 weeks after completion of ramp-up, following zanu monotherapy and sonro ramp-up to target dose</a:t>
            </a:r>
          </a:p>
          <a:p>
            <a:pPr>
              <a:spcBef>
                <a:spcPts val="0"/>
              </a:spcBef>
            </a:pPr>
            <a:r>
              <a:rPr lang="en-US" sz="900" baseline="30000" dirty="0">
                <a:effectLst/>
                <a:latin typeface="Arial" panose="020B0604020202020204" pitchFamily="34" charset="0"/>
              </a:rPr>
              <a:t>b</a:t>
            </a:r>
            <a:r>
              <a:rPr lang="en-US" sz="930" dirty="0">
                <a:effectLst/>
                <a:latin typeface="Arial" panose="020B0604020202020204" pitchFamily="34" charset="0"/>
              </a:rPr>
              <a:t> As measured by ERIC flow cytometry panel; uMRD4 is defined as less than 1 CLL cell per 10,000 leukocytes (&lt;10-4). c Number of weeks at target dose, following </a:t>
            </a:r>
            <a:r>
              <a:rPr lang="en-US" sz="930" dirty="0" err="1">
                <a:effectLst/>
                <a:latin typeface="Arial" panose="020B0604020202020204" pitchFamily="34" charset="0"/>
              </a:rPr>
              <a:t>zanu</a:t>
            </a:r>
            <a:r>
              <a:rPr lang="en-US" sz="930" dirty="0">
                <a:effectLst/>
                <a:latin typeface="Arial" panose="020B0604020202020204" pitchFamily="34" charset="0"/>
              </a:rPr>
              <a:t> monotherapy and </a:t>
            </a:r>
            <a:r>
              <a:rPr lang="en-US" sz="930" dirty="0" err="1">
                <a:effectLst/>
                <a:latin typeface="Arial" panose="020B0604020202020204" pitchFamily="34" charset="0"/>
              </a:rPr>
              <a:t>sonro</a:t>
            </a:r>
            <a:r>
              <a:rPr lang="en-US" sz="930" dirty="0">
                <a:effectLst/>
                <a:latin typeface="Arial" panose="020B0604020202020204" pitchFamily="34" charset="0"/>
              </a:rPr>
              <a:t> ramp-up to target dose.</a:t>
            </a:r>
            <a:endParaRPr lang="en-US" sz="933" dirty="0"/>
          </a:p>
        </p:txBody>
      </p:sp>
      <p:sp>
        <p:nvSpPr>
          <p:cNvPr id="119" name="Title 1">
            <a:extLst>
              <a:ext uri="{FF2B5EF4-FFF2-40B4-BE49-F238E27FC236}">
                <a16:creationId xmlns:a16="http://schemas.microsoft.com/office/drawing/2014/main" id="{FD3356AC-F697-3F9F-9C89-60AF77EFAFDD}"/>
              </a:ext>
            </a:extLst>
          </p:cNvPr>
          <p:cNvSpPr txBox="1">
            <a:spLocks/>
          </p:cNvSpPr>
          <p:nvPr/>
        </p:nvSpPr>
        <p:spPr>
          <a:xfrm>
            <a:off x="304800" y="264669"/>
            <a:ext cx="11582400" cy="713539"/>
          </a:xfrm>
          <a:prstGeom prst="rect">
            <a:avLst/>
          </a:prstGeom>
        </p:spPr>
        <p:txBody>
          <a:bodyPr anchor="ctr"/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rgbClr val="CD113B"/>
                </a:solidFill>
                <a:latin typeface="Arial"/>
                <a:ea typeface="Geneva" pitchFamily="37" charset="-128"/>
                <a:cs typeface="Arial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  <a:cs typeface="Times New Roman" pitchFamily="18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3200">
                <a:solidFill>
                  <a:srgbClr val="800000"/>
                </a:solidFill>
                <a:latin typeface="Times New Roman" pitchFamily="37" charset="0"/>
                <a:ea typeface="Geneva" pitchFamily="37" charset="-128"/>
              </a:defRPr>
            </a:lvl9pPr>
          </a:lstStyle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rPr>
              <a:t>Sonrotoclax + Zanubrutinib Demonstrates Substantial Antitumor Activity in TN CLL</a:t>
            </a:r>
            <a:endParaRPr kumimoji="0" lang="en-US" sz="3200" b="1" i="0" u="none" strike="noStrike" kern="1200" cap="none" spc="0" normalizeH="0" baseline="30000" noProof="0" dirty="0">
              <a:ln>
                <a:noFill/>
              </a:ln>
              <a:solidFill>
                <a:srgbClr val="CD113B"/>
              </a:solidFill>
              <a:effectLst/>
              <a:uLnTx/>
              <a:uFillTx/>
              <a:latin typeface="Arial"/>
              <a:ea typeface="Geneva" pitchFamily="37" charset="-128"/>
              <a:cs typeface="Arial"/>
            </a:endParaRPr>
          </a:p>
        </p:txBody>
      </p:sp>
      <p:sp>
        <p:nvSpPr>
          <p:cNvPr id="56" name="AutoShape 41">
            <a:extLst>
              <a:ext uri="{FF2B5EF4-FFF2-40B4-BE49-F238E27FC236}">
                <a16:creationId xmlns:a16="http://schemas.microsoft.com/office/drawing/2014/main" id="{E64CF179-69E1-364F-DB24-D1F949B72FF5}"/>
              </a:ext>
            </a:extLst>
          </p:cNvPr>
          <p:cNvSpPr>
            <a:spLocks noChangeAspect="1" noChangeArrowheads="1" noTextEdit="1"/>
          </p:cNvSpPr>
          <p:nvPr/>
        </p:nvSpPr>
        <p:spPr bwMode="auto">
          <a:xfrm>
            <a:off x="2885521" y="1805686"/>
            <a:ext cx="6390619" cy="3893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Geneva" charset="0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BA88048-A93D-EF64-E18F-0FA9A5305A5E}"/>
              </a:ext>
            </a:extLst>
          </p:cNvPr>
          <p:cNvGrpSpPr/>
          <p:nvPr/>
        </p:nvGrpSpPr>
        <p:grpSpPr>
          <a:xfrm>
            <a:off x="441296" y="1194242"/>
            <a:ext cx="5096916" cy="4525402"/>
            <a:chOff x="455254" y="939974"/>
            <a:chExt cx="5604171" cy="3394051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F2C77AAC-A442-AF61-D5E6-A5CE75AA822B}"/>
                </a:ext>
              </a:extLst>
            </p:cNvPr>
            <p:cNvGrpSpPr/>
            <p:nvPr/>
          </p:nvGrpSpPr>
          <p:grpSpPr>
            <a:xfrm>
              <a:off x="1160799" y="939974"/>
              <a:ext cx="4013753" cy="539394"/>
              <a:chOff x="1841319" y="795714"/>
              <a:chExt cx="3398738" cy="889072"/>
            </a:xfrm>
          </p:grpSpPr>
          <p:sp>
            <p:nvSpPr>
              <p:cNvPr id="21" name="TextBox 20">
                <a:extLst>
                  <a:ext uri="{FF2B5EF4-FFF2-40B4-BE49-F238E27FC236}">
                    <a16:creationId xmlns:a16="http://schemas.microsoft.com/office/drawing/2014/main" id="{DDC82206-B51F-5E8B-8B2C-6632E2D09E8C}"/>
                  </a:ext>
                </a:extLst>
              </p:cNvPr>
              <p:cNvSpPr txBox="1"/>
              <p:nvPr/>
            </p:nvSpPr>
            <p:spPr>
              <a:xfrm>
                <a:off x="1963253" y="795714"/>
                <a:ext cx="3276804" cy="469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Best </a:t>
                </a:r>
                <a:r>
                  <a:rPr kumimoji="0" lang="en-US" sz="1867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Response</a:t>
                </a:r>
                <a:r>
                  <a:rPr kumimoji="0" lang="en-US" sz="1867" b="1" i="0" u="none" strike="noStrike" kern="1200" cap="none" spc="0" normalizeH="0" baseline="3000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a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84C158F5-D048-56C0-C45D-218C524F9473}"/>
                  </a:ext>
                </a:extLst>
              </p:cNvPr>
              <p:cNvSpPr txBox="1"/>
              <p:nvPr/>
            </p:nvSpPr>
            <p:spPr>
              <a:xfrm>
                <a:off x="3701964" y="1215451"/>
                <a:ext cx="1402979" cy="469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By Week 48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61612D3F-CDE2-860F-DFC8-58A43CB1DF4A}"/>
                  </a:ext>
                </a:extLst>
              </p:cNvPr>
              <p:cNvSpPr txBox="1"/>
              <p:nvPr/>
            </p:nvSpPr>
            <p:spPr>
              <a:xfrm>
                <a:off x="1841319" y="1215451"/>
                <a:ext cx="1505345" cy="46933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By Week 24</a:t>
                </a:r>
                <a:endParaRPr kumimoji="0" lang="en-US" sz="1867" b="1" i="0" u="none" strike="noStrike" kern="1200" cap="none" spc="0" normalizeH="0" baseline="3000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cxnSp>
            <p:nvCxnSpPr>
              <p:cNvPr id="5" name="Straight Connector 4">
                <a:extLst>
                  <a:ext uri="{FF2B5EF4-FFF2-40B4-BE49-F238E27FC236}">
                    <a16:creationId xmlns:a16="http://schemas.microsoft.com/office/drawing/2014/main" id="{04CA2544-7D02-139C-88CD-9CE5B7838D0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3253" y="1247531"/>
                <a:ext cx="3276804" cy="0"/>
              </a:xfrm>
              <a:prstGeom prst="line">
                <a:avLst/>
              </a:prstGeom>
              <a:ln w="12700"/>
              <a:effectLst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F6E8194-F3A2-A171-4FEC-329A61FC10D6}"/>
                </a:ext>
              </a:extLst>
            </p:cNvPr>
            <p:cNvGrpSpPr/>
            <p:nvPr/>
          </p:nvGrpSpPr>
          <p:grpSpPr>
            <a:xfrm>
              <a:off x="455254" y="1447230"/>
              <a:ext cx="5604171" cy="2886795"/>
              <a:chOff x="455254" y="1447230"/>
              <a:chExt cx="5604171" cy="2886795"/>
            </a:xfrm>
          </p:grpSpPr>
          <p:sp>
            <p:nvSpPr>
              <p:cNvPr id="57" name="Rectangle 43">
                <a:extLst>
                  <a:ext uri="{FF2B5EF4-FFF2-40B4-BE49-F238E27FC236}">
                    <a16:creationId xmlns:a16="http://schemas.microsoft.com/office/drawing/2014/main" id="{B277C6FA-17FB-DADF-5D7E-638C7CA685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8135" y="1551085"/>
                <a:ext cx="664413" cy="1325098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58" name="Rectangle 44">
                <a:extLst>
                  <a:ext uri="{FF2B5EF4-FFF2-40B4-BE49-F238E27FC236}">
                    <a16:creationId xmlns:a16="http://schemas.microsoft.com/office/drawing/2014/main" id="{082F993B-AAC5-DD2A-6989-0F127E6D905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4754" y="1551085"/>
                <a:ext cx="662323" cy="1282075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59" name="Rectangle 45">
                <a:extLst>
                  <a:ext uri="{FF2B5EF4-FFF2-40B4-BE49-F238E27FC236}">
                    <a16:creationId xmlns:a16="http://schemas.microsoft.com/office/drawing/2014/main" id="{E2A709E1-629F-C647-3D5B-598D0B4B46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8135" y="2876183"/>
                <a:ext cx="664413" cy="884833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60" name="Rectangle 46">
                <a:extLst>
                  <a:ext uri="{FF2B5EF4-FFF2-40B4-BE49-F238E27FC236}">
                    <a16:creationId xmlns:a16="http://schemas.microsoft.com/office/drawing/2014/main" id="{DF97CA31-DF6E-6965-AD6C-85ECAB51EA4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54754" y="2833160"/>
                <a:ext cx="662323" cy="927856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67" name="Line 53">
                <a:extLst>
                  <a:ext uri="{FF2B5EF4-FFF2-40B4-BE49-F238E27FC236}">
                    <a16:creationId xmlns:a16="http://schemas.microsoft.com/office/drawing/2014/main" id="{A378409D-8620-FBE3-B6F2-0FFEE8760CED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72430" y="3761016"/>
                <a:ext cx="2335891" cy="0"/>
              </a:xfrm>
              <a:prstGeom prst="line">
                <a:avLst/>
              </a:prstGeom>
              <a:noFill/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68" name="Rectangle 54">
                <a:extLst>
                  <a:ext uri="{FF2B5EF4-FFF2-40B4-BE49-F238E27FC236}">
                    <a16:creationId xmlns:a16="http://schemas.microsoft.com/office/drawing/2014/main" id="{DABEAE83-BF8D-B260-05AD-F9DAEDE9EF3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614" y="1732143"/>
                <a:ext cx="17077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SD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69" name="Rectangle 55">
                <a:extLst>
                  <a:ext uri="{FF2B5EF4-FFF2-40B4-BE49-F238E27FC236}">
                    <a16:creationId xmlns:a16="http://schemas.microsoft.com/office/drawing/2014/main" id="{62C22EDD-ECAF-EAF2-8073-BD8ACF0CB5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434" y="1775165"/>
                <a:ext cx="344742" cy="80309"/>
              </a:xfrm>
              <a:prstGeom prst="rect">
                <a:avLst/>
              </a:prstGeom>
              <a:solidFill>
                <a:srgbClr val="EDDA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70" name="Rectangle 56">
                <a:extLst>
                  <a:ext uri="{FF2B5EF4-FFF2-40B4-BE49-F238E27FC236}">
                    <a16:creationId xmlns:a16="http://schemas.microsoft.com/office/drawing/2014/main" id="{D49E5883-B05E-9A90-6907-15C2D809BB6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614" y="1898497"/>
                <a:ext cx="17077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PR</a:t>
                </a:r>
                <a:endParaRPr kumimoji="0" lang="en-US" alt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71" name="Rectangle 57">
                <a:extLst>
                  <a:ext uri="{FF2B5EF4-FFF2-40B4-BE49-F238E27FC236}">
                    <a16:creationId xmlns:a16="http://schemas.microsoft.com/office/drawing/2014/main" id="{C53944A6-48CB-E60D-064E-BDC19092843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434" y="1944388"/>
                <a:ext cx="344742" cy="80309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72" name="Rectangle 58">
                <a:extLst>
                  <a:ext uri="{FF2B5EF4-FFF2-40B4-BE49-F238E27FC236}">
                    <a16:creationId xmlns:a16="http://schemas.microsoft.com/office/drawing/2014/main" id="{2B16633C-D05A-07A7-FAA4-80FA5F8397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2614" y="2082060"/>
                <a:ext cx="416811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CR/</a:t>
                </a:r>
                <a:r>
                  <a:rPr kumimoji="0" lang="en-US" altLang="en-US" sz="16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CRi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73" name="Rectangle 59">
                <a:extLst>
                  <a:ext uri="{FF2B5EF4-FFF2-40B4-BE49-F238E27FC236}">
                    <a16:creationId xmlns:a16="http://schemas.microsoft.com/office/drawing/2014/main" id="{A447F74B-1A03-5A3D-69D5-676BDABA809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52434" y="2125083"/>
                <a:ext cx="344742" cy="80309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74" name="Rectangle 60">
                <a:extLst>
                  <a:ext uri="{FF2B5EF4-FFF2-40B4-BE49-F238E27FC236}">
                    <a16:creationId xmlns:a16="http://schemas.microsoft.com/office/drawing/2014/main" id="{504F1A97-BC0D-2631-0438-53FFA83964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58135" y="2094604"/>
                <a:ext cx="664413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60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75" name="Rectangle 61">
                <a:extLst>
                  <a:ext uri="{FF2B5EF4-FFF2-40B4-BE49-F238E27FC236}">
                    <a16:creationId xmlns:a16="http://schemas.microsoft.com/office/drawing/2014/main" id="{D5F11D69-A839-F679-9A68-B886212D3B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364277" y="3290635"/>
                <a:ext cx="652003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40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76" name="Rectangle 62">
                <a:extLst>
                  <a:ext uri="{FF2B5EF4-FFF2-40B4-BE49-F238E27FC236}">
                    <a16:creationId xmlns:a16="http://schemas.microsoft.com/office/drawing/2014/main" id="{B4C0F1E4-8E6C-0CB4-2FB1-F9AC06D5323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1469" y="2094605"/>
                <a:ext cx="642890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58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77" name="Rectangle 63">
                <a:extLst>
                  <a:ext uri="{FF2B5EF4-FFF2-40B4-BE49-F238E27FC236}">
                    <a16:creationId xmlns:a16="http://schemas.microsoft.com/office/drawing/2014/main" id="{E8DEC716-2A70-4076-EF65-2EA8714167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371469" y="3253348"/>
                <a:ext cx="643519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42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12" name="Rectangle 5">
                <a:extLst>
                  <a:ext uri="{FF2B5EF4-FFF2-40B4-BE49-F238E27FC236}">
                    <a16:creationId xmlns:a16="http://schemas.microsoft.com/office/drawing/2014/main" id="{9B3E1503-E0A0-5710-30EB-953EF5BF75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49" y="1545657"/>
                <a:ext cx="634652" cy="22036"/>
              </a:xfrm>
              <a:prstGeom prst="rect">
                <a:avLst/>
              </a:prstGeom>
              <a:solidFill>
                <a:srgbClr val="EDDA5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13" name="Rectangle 6">
                <a:extLst>
                  <a:ext uri="{FF2B5EF4-FFF2-40B4-BE49-F238E27FC236}">
                    <a16:creationId xmlns:a16="http://schemas.microsoft.com/office/drawing/2014/main" id="{A7432918-2184-AD4D-EA6D-CAF4AA43994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49" y="1567692"/>
                <a:ext cx="634652" cy="1617418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14" name="Rectangle 7">
                <a:extLst>
                  <a:ext uri="{FF2B5EF4-FFF2-40B4-BE49-F238E27FC236}">
                    <a16:creationId xmlns:a16="http://schemas.microsoft.com/office/drawing/2014/main" id="{C3F20099-9CE3-B6EB-90A9-F7A1C39E7D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8775" y="1545657"/>
                <a:ext cx="634652" cy="1485204"/>
              </a:xfrm>
              <a:prstGeom prst="rect">
                <a:avLst/>
              </a:prstGeom>
              <a:solidFill>
                <a:srgbClr val="4D81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15" name="Rectangle 8">
                <a:extLst>
                  <a:ext uri="{FF2B5EF4-FFF2-40B4-BE49-F238E27FC236}">
                    <a16:creationId xmlns:a16="http://schemas.microsoft.com/office/drawing/2014/main" id="{FE3C223F-FBA6-F3BC-F0D3-AC0035E7392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49" y="3185109"/>
                <a:ext cx="634652" cy="575865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16" name="Rectangle 9">
                <a:extLst>
                  <a:ext uri="{FF2B5EF4-FFF2-40B4-BE49-F238E27FC236}">
                    <a16:creationId xmlns:a16="http://schemas.microsoft.com/office/drawing/2014/main" id="{F0680653-223B-4522-01D4-4BE991CE89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78775" y="3030859"/>
                <a:ext cx="634652" cy="730115"/>
              </a:xfrm>
              <a:prstGeom prst="rect">
                <a:avLst/>
              </a:prstGeom>
              <a:solidFill>
                <a:srgbClr val="AEC97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17" name="Rectangle 10">
                <a:extLst>
                  <a:ext uri="{FF2B5EF4-FFF2-40B4-BE49-F238E27FC236}">
                    <a16:creationId xmlns:a16="http://schemas.microsoft.com/office/drawing/2014/main" id="{4DBA2997-27A5-0385-0997-0E521C84EF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431130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16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(n=51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27" name="Line 16">
                <a:extLst>
                  <a:ext uri="{FF2B5EF4-FFF2-40B4-BE49-F238E27FC236}">
                    <a16:creationId xmlns:a16="http://schemas.microsoft.com/office/drawing/2014/main" id="{D1B11EF3-4ED3-2662-0D4F-3D951E216F4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99233" y="3760975"/>
                <a:ext cx="2237660" cy="0"/>
              </a:xfrm>
              <a:prstGeom prst="line">
                <a:avLst/>
              </a:prstGeom>
              <a:noFill/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28" name="Rectangle 17">
                <a:extLst>
                  <a:ext uri="{FF2B5EF4-FFF2-40B4-BE49-F238E27FC236}">
                    <a16:creationId xmlns:a16="http://schemas.microsoft.com/office/drawing/2014/main" id="{04B69300-CABE-6ED9-4F04-10BF8505597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29369" y="3656348"/>
                <a:ext cx="68504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0</a:t>
                </a:r>
                <a:endPara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30" name="Rectangle 18">
                <a:extLst>
                  <a:ext uri="{FF2B5EF4-FFF2-40B4-BE49-F238E27FC236}">
                    <a16:creationId xmlns:a16="http://schemas.microsoft.com/office/drawing/2014/main" id="{344D3129-3643-8313-CB51-6A6B338117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3220366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20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31" name="Rectangle 19">
                <a:extLst>
                  <a:ext uri="{FF2B5EF4-FFF2-40B4-BE49-F238E27FC236}">
                    <a16:creationId xmlns:a16="http://schemas.microsoft.com/office/drawing/2014/main" id="{A745E319-58AD-2F10-A42F-35C2ED356A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2776715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40</a:t>
                </a:r>
                <a:endParaRPr kumimoji="0" lang="en-US" alt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32" name="Rectangle 20">
                <a:extLst>
                  <a:ext uri="{FF2B5EF4-FFF2-40B4-BE49-F238E27FC236}">
                    <a16:creationId xmlns:a16="http://schemas.microsoft.com/office/drawing/2014/main" id="{694B2B0A-D629-5FC1-34B4-32A6BB3B907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2334533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60</a:t>
                </a:r>
                <a:endParaRPr kumimoji="0" lang="en-US" alt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33" name="Rectangle 21">
                <a:extLst>
                  <a:ext uri="{FF2B5EF4-FFF2-40B4-BE49-F238E27FC236}">
                    <a16:creationId xmlns:a16="http://schemas.microsoft.com/office/drawing/2014/main" id="{128B7048-D20A-A6BB-2A0F-BC037A82E94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41238" y="1890881"/>
                <a:ext cx="137007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80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34" name="Rectangle 22">
                <a:extLst>
                  <a:ext uri="{FF2B5EF4-FFF2-40B4-BE49-F238E27FC236}">
                    <a16:creationId xmlns:a16="http://schemas.microsoft.com/office/drawing/2014/main" id="{04687C5B-9B21-AE5E-0117-0767B4727E4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672" y="1447230"/>
                <a:ext cx="205511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100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37" name="Freeform 23">
                <a:extLst>
                  <a:ext uri="{FF2B5EF4-FFF2-40B4-BE49-F238E27FC236}">
                    <a16:creationId xmlns:a16="http://schemas.microsoft.com/office/drawing/2014/main" id="{7E9CF2AE-89C5-C140-32A9-47C065B3BE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3485" y="1539780"/>
                <a:ext cx="83937" cy="2227070"/>
              </a:xfrm>
              <a:custGeom>
                <a:avLst/>
                <a:gdLst>
                  <a:gd name="T0" fmla="*/ 41 w 41"/>
                  <a:gd name="T1" fmla="*/ 1516 h 1516"/>
                  <a:gd name="T2" fmla="*/ 41 w 41"/>
                  <a:gd name="T3" fmla="*/ 0 h 1516"/>
                  <a:gd name="T4" fmla="*/ 41 w 41"/>
                  <a:gd name="T5" fmla="*/ 1512 h 1516"/>
                  <a:gd name="T6" fmla="*/ 0 w 41"/>
                  <a:gd name="T7" fmla="*/ 1512 h 1516"/>
                  <a:gd name="T8" fmla="*/ 41 w 41"/>
                  <a:gd name="T9" fmla="*/ 1211 h 1516"/>
                  <a:gd name="T10" fmla="*/ 0 w 41"/>
                  <a:gd name="T11" fmla="*/ 1211 h 1516"/>
                  <a:gd name="T12" fmla="*/ 41 w 41"/>
                  <a:gd name="T13" fmla="*/ 909 h 1516"/>
                  <a:gd name="T14" fmla="*/ 0 w 41"/>
                  <a:gd name="T15" fmla="*/ 909 h 1516"/>
                  <a:gd name="T16" fmla="*/ 41 w 41"/>
                  <a:gd name="T17" fmla="*/ 608 h 1516"/>
                  <a:gd name="T18" fmla="*/ 0 w 41"/>
                  <a:gd name="T19" fmla="*/ 608 h 1516"/>
                  <a:gd name="T20" fmla="*/ 41 w 41"/>
                  <a:gd name="T21" fmla="*/ 306 h 1516"/>
                  <a:gd name="T22" fmla="*/ 0 w 41"/>
                  <a:gd name="T23" fmla="*/ 306 h 1516"/>
                  <a:gd name="T24" fmla="*/ 41 w 41"/>
                  <a:gd name="T25" fmla="*/ 4 h 1516"/>
                  <a:gd name="T26" fmla="*/ 0 w 41"/>
                  <a:gd name="T27" fmla="*/ 4 h 15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1" h="1516">
                    <a:moveTo>
                      <a:pt x="41" y="1516"/>
                    </a:moveTo>
                    <a:lnTo>
                      <a:pt x="41" y="0"/>
                    </a:lnTo>
                    <a:moveTo>
                      <a:pt x="41" y="1512"/>
                    </a:moveTo>
                    <a:lnTo>
                      <a:pt x="0" y="1512"/>
                    </a:lnTo>
                    <a:moveTo>
                      <a:pt x="41" y="1211"/>
                    </a:moveTo>
                    <a:lnTo>
                      <a:pt x="0" y="1211"/>
                    </a:lnTo>
                    <a:moveTo>
                      <a:pt x="41" y="909"/>
                    </a:moveTo>
                    <a:lnTo>
                      <a:pt x="0" y="909"/>
                    </a:lnTo>
                    <a:moveTo>
                      <a:pt x="41" y="608"/>
                    </a:moveTo>
                    <a:lnTo>
                      <a:pt x="0" y="608"/>
                    </a:lnTo>
                    <a:moveTo>
                      <a:pt x="41" y="306"/>
                    </a:moveTo>
                    <a:lnTo>
                      <a:pt x="0" y="306"/>
                    </a:lnTo>
                    <a:moveTo>
                      <a:pt x="41" y="4"/>
                    </a:moveTo>
                    <a:lnTo>
                      <a:pt x="0" y="4"/>
                    </a:lnTo>
                  </a:path>
                </a:pathLst>
              </a:custGeom>
              <a:noFill/>
              <a:ln w="12700" cap="flat">
                <a:solidFill>
                  <a:srgbClr val="000000"/>
                </a:solidFill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49" name="Rectangle 35">
                <a:extLst>
                  <a:ext uri="{FF2B5EF4-FFF2-40B4-BE49-F238E27FC236}">
                    <a16:creationId xmlns:a16="http://schemas.microsoft.com/office/drawing/2014/main" id="{02DE6C47-C226-33E6-2F3C-33FE91E7A41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39629" y="1448700"/>
                <a:ext cx="597220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1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50" name="Rectangle 36">
                <a:extLst>
                  <a:ext uri="{FF2B5EF4-FFF2-40B4-BE49-F238E27FC236}">
                    <a16:creationId xmlns:a16="http://schemas.microsoft.com/office/drawing/2014/main" id="{B3596A62-1E5E-54D7-C9E0-91FEED4866E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24750" y="2334533"/>
                <a:ext cx="612098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73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51" name="Rectangle 37">
                <a:extLst>
                  <a:ext uri="{FF2B5EF4-FFF2-40B4-BE49-F238E27FC236}">
                    <a16:creationId xmlns:a16="http://schemas.microsoft.com/office/drawing/2014/main" id="{F58E3692-0631-DAD0-B0C3-6AFB4E253B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49349" y="3423095"/>
                <a:ext cx="590949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26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52" name="Rectangle 38">
                <a:extLst>
                  <a:ext uri="{FF2B5EF4-FFF2-40B4-BE49-F238E27FC236}">
                    <a16:creationId xmlns:a16="http://schemas.microsoft.com/office/drawing/2014/main" id="{488656F4-BF8E-2304-15A6-771680E112B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312071" y="2222884"/>
                <a:ext cx="570646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67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53" name="Rectangle 39">
                <a:extLst>
                  <a:ext uri="{FF2B5EF4-FFF2-40B4-BE49-F238E27FC236}">
                    <a16:creationId xmlns:a16="http://schemas.microsoft.com/office/drawing/2014/main" id="{90AFE8B5-6426-B78A-73C2-0B7A343190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91607" y="3340828"/>
                <a:ext cx="591109" cy="1846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33%</a:t>
                </a:r>
                <a:endParaRPr kumimoji="0" lang="en-US" altLang="en-US" sz="2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79" name="Rectangle 10">
                <a:extLst>
                  <a:ext uri="{FF2B5EF4-FFF2-40B4-BE49-F238E27FC236}">
                    <a16:creationId xmlns:a16="http://schemas.microsoft.com/office/drawing/2014/main" id="{718AF872-27DF-2E98-F03A-43B668F2BA2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29061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32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(n=58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80" name="Rectangle 10">
                <a:extLst>
                  <a:ext uri="{FF2B5EF4-FFF2-40B4-BE49-F238E27FC236}">
                    <a16:creationId xmlns:a16="http://schemas.microsoft.com/office/drawing/2014/main" id="{1AEE21E4-541A-1C01-61B3-F9B0A42206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523227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16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(n=45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81" name="Rectangle 10">
                <a:extLst>
                  <a:ext uri="{FF2B5EF4-FFF2-40B4-BE49-F238E27FC236}">
                    <a16:creationId xmlns:a16="http://schemas.microsoft.com/office/drawing/2014/main" id="{B63E7A12-C8D2-B9F4-8007-A50E76818C3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502249" y="3780027"/>
                <a:ext cx="425495" cy="55399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Sonro</a:t>
                </a:r>
                <a:b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</a:b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320 mg</a:t>
                </a:r>
              </a:p>
              <a:p>
                <a:pPr marL="0" marR="0" lvl="0" indent="0" algn="ctr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(n=53) 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3" name="TextBox 2">
                <a:extLst>
                  <a:ext uri="{FF2B5EF4-FFF2-40B4-BE49-F238E27FC236}">
                    <a16:creationId xmlns:a16="http://schemas.microsoft.com/office/drawing/2014/main" id="{0FB56911-3D5F-6B03-0771-77A2E56B1B0C}"/>
                  </a:ext>
                </a:extLst>
              </p:cNvPr>
              <p:cNvSpPr txBox="1"/>
              <p:nvPr/>
            </p:nvSpPr>
            <p:spPr>
              <a:xfrm rot="16200000">
                <a:off x="-548025" y="2517316"/>
                <a:ext cx="2210332" cy="20377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Patients, %</a:t>
                </a:r>
              </a:p>
            </p:txBody>
          </p:sp>
        </p:grp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91D87F5A-9A89-19C5-180C-8445276626D4}"/>
              </a:ext>
            </a:extLst>
          </p:cNvPr>
          <p:cNvGrpSpPr/>
          <p:nvPr/>
        </p:nvGrpSpPr>
        <p:grpSpPr>
          <a:xfrm>
            <a:off x="5809656" y="1330688"/>
            <a:ext cx="6070817" cy="4464089"/>
            <a:chOff x="476250" y="847524"/>
            <a:chExt cx="5843364" cy="3541407"/>
          </a:xfrm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8293CB62-1C6C-73D1-50EB-A873DEFEE5D4}"/>
                </a:ext>
              </a:extLst>
            </p:cNvPr>
            <p:cNvGrpSpPr/>
            <p:nvPr/>
          </p:nvGrpSpPr>
          <p:grpSpPr>
            <a:xfrm>
              <a:off x="476250" y="847524"/>
              <a:ext cx="5156200" cy="3541407"/>
              <a:chOff x="476250" y="787564"/>
              <a:chExt cx="5156200" cy="3541407"/>
            </a:xfrm>
          </p:grpSpPr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id="{5D32CBE7-DE72-4C03-F432-3515D5629A61}"/>
                  </a:ext>
                </a:extLst>
              </p:cNvPr>
              <p:cNvGrpSpPr/>
              <p:nvPr/>
            </p:nvGrpSpPr>
            <p:grpSpPr>
              <a:xfrm>
                <a:off x="476250" y="1116767"/>
                <a:ext cx="5156200" cy="3212204"/>
                <a:chOff x="378814" y="901791"/>
                <a:chExt cx="5156200" cy="3339917"/>
              </a:xfrm>
            </p:grpSpPr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5FD72098-6D4A-6C71-E828-B55953497DEC}"/>
                    </a:ext>
                  </a:extLst>
                </p:cNvPr>
                <p:cNvGrpSpPr/>
                <p:nvPr/>
              </p:nvGrpSpPr>
              <p:grpSpPr>
                <a:xfrm>
                  <a:off x="378814" y="901791"/>
                  <a:ext cx="5156200" cy="3339917"/>
                  <a:chOff x="933450" y="811212"/>
                  <a:chExt cx="5156200" cy="3413125"/>
                </a:xfrm>
              </p:grpSpPr>
              <p:sp>
                <p:nvSpPr>
                  <p:cNvPr id="41" name="AutoShape 64">
                    <a:extLst>
                      <a:ext uri="{FF2B5EF4-FFF2-40B4-BE49-F238E27FC236}">
                        <a16:creationId xmlns:a16="http://schemas.microsoft.com/office/drawing/2014/main" id="{1FFCB91C-8F64-3518-0A53-A6EFB3A6D28C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933450" y="811212"/>
                    <a:ext cx="3463925" cy="341312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42" name="Rectangle 66">
                    <a:extLst>
                      <a:ext uri="{FF2B5EF4-FFF2-40B4-BE49-F238E27FC236}">
                        <a16:creationId xmlns:a16="http://schemas.microsoft.com/office/drawing/2014/main" id="{20513545-06DF-0F6F-4B67-DF7522D54D2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047875" y="1112837"/>
                    <a:ext cx="615950" cy="425450"/>
                  </a:xfrm>
                  <a:prstGeom prst="rect">
                    <a:avLst/>
                  </a:prstGeom>
                  <a:solidFill>
                    <a:srgbClr val="EDDA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43" name="Rectangle 67">
                    <a:extLst>
                      <a:ext uri="{FF2B5EF4-FFF2-40B4-BE49-F238E27FC236}">
                        <a16:creationId xmlns:a16="http://schemas.microsoft.com/office/drawing/2014/main" id="{8E54FBB3-C2BB-4797-B249-54B88921DB5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1800" y="1117600"/>
                    <a:ext cx="615950" cy="203200"/>
                  </a:xfrm>
                  <a:prstGeom prst="rect">
                    <a:avLst/>
                  </a:prstGeom>
                  <a:solidFill>
                    <a:srgbClr val="EDDA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44" name="Rectangle 68">
                    <a:extLst>
                      <a:ext uri="{FF2B5EF4-FFF2-40B4-BE49-F238E27FC236}">
                        <a16:creationId xmlns:a16="http://schemas.microsoft.com/office/drawing/2014/main" id="{80404511-550D-DB05-CD58-B15669774C5C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047875" y="1538287"/>
                    <a:ext cx="615950" cy="581025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45" name="Rectangle 69">
                    <a:extLst>
                      <a:ext uri="{FF2B5EF4-FFF2-40B4-BE49-F238E27FC236}">
                        <a16:creationId xmlns:a16="http://schemas.microsoft.com/office/drawing/2014/main" id="{811D317C-C649-E15F-4F71-CD949E2F594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1800" y="1320800"/>
                    <a:ext cx="615950" cy="338138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46" name="Rectangle 70">
                    <a:extLst>
                      <a:ext uri="{FF2B5EF4-FFF2-40B4-BE49-F238E27FC236}">
                        <a16:creationId xmlns:a16="http://schemas.microsoft.com/office/drawing/2014/main" id="{03644B30-CB19-6A1E-C8F3-52AA716F1A7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047875" y="2119312"/>
                    <a:ext cx="615950" cy="1428750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47" name="Rectangle 71">
                    <a:extLst>
                      <a:ext uri="{FF2B5EF4-FFF2-40B4-BE49-F238E27FC236}">
                        <a16:creationId xmlns:a16="http://schemas.microsoft.com/office/drawing/2014/main" id="{DE44F5E8-3BEE-77D4-F460-511F16CA84F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971800" y="1658937"/>
                    <a:ext cx="615950" cy="1889125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48" name="Rectangle 73">
                    <a:extLst>
                      <a:ext uri="{FF2B5EF4-FFF2-40B4-BE49-F238E27FC236}">
                        <a16:creationId xmlns:a16="http://schemas.microsoft.com/office/drawing/2014/main" id="{E9AB5C1A-300F-C7DC-9495-61153AE54CF8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27382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16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(n=51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54" name="Rectangle 75">
                    <a:extLst>
                      <a:ext uri="{FF2B5EF4-FFF2-40B4-BE49-F238E27FC236}">
                        <a16:creationId xmlns:a16="http://schemas.microsoft.com/office/drawing/2014/main" id="{59D2DB7D-6081-7ECF-2D22-CFA5979339E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092581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32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(n=58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55" name="Line 78">
                    <a:extLst>
                      <a:ext uri="{FF2B5EF4-FFF2-40B4-BE49-F238E27FC236}">
                        <a16:creationId xmlns:a16="http://schemas.microsoft.com/office/drawing/2014/main" id="{ADB64E23-FE88-C2B9-5EAC-2443467A4DEA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1735138" y="3548062"/>
                    <a:ext cx="2165350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61" name="Rectangle 79">
                    <a:extLst>
                      <a:ext uri="{FF2B5EF4-FFF2-40B4-BE49-F238E27FC236}">
                        <a16:creationId xmlns:a16="http://schemas.microsoft.com/office/drawing/2014/main" id="{CF8875E8-F0DA-4D80-74FC-4C792F5A11D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583349" y="3444875"/>
                    <a:ext cx="71266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62" name="Rectangle 80">
                    <a:extLst>
                      <a:ext uri="{FF2B5EF4-FFF2-40B4-BE49-F238E27FC236}">
                        <a16:creationId xmlns:a16="http://schemas.microsoft.com/office/drawing/2014/main" id="{F38A6418-1FD7-A258-892D-58C6D46673C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2960687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2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63" name="Rectangle 81">
                    <a:extLst>
                      <a:ext uri="{FF2B5EF4-FFF2-40B4-BE49-F238E27FC236}">
                        <a16:creationId xmlns:a16="http://schemas.microsoft.com/office/drawing/2014/main" id="{66B21CDD-95F1-B78A-3502-6DD397F7D3A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2476500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4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64" name="Rectangle 82">
                    <a:extLst>
                      <a:ext uri="{FF2B5EF4-FFF2-40B4-BE49-F238E27FC236}">
                        <a16:creationId xmlns:a16="http://schemas.microsoft.com/office/drawing/2014/main" id="{7AADCCC5-EAD9-FA7D-A68F-5D5AFC91653E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1992312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6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65" name="Rectangle 83">
                    <a:extLst>
                      <a:ext uri="{FF2B5EF4-FFF2-40B4-BE49-F238E27FC236}">
                        <a16:creationId xmlns:a16="http://schemas.microsoft.com/office/drawing/2014/main" id="{E68DB2DD-9594-5FDF-36E5-E685102F9A5D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488893" y="1506537"/>
                    <a:ext cx="142531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8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66" name="Rectangle 84">
                    <a:extLst>
                      <a:ext uri="{FF2B5EF4-FFF2-40B4-BE49-F238E27FC236}">
                        <a16:creationId xmlns:a16="http://schemas.microsoft.com/office/drawing/2014/main" id="{388BC237-3735-5CAB-036A-B35AF4C7590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1398405" y="1022350"/>
                    <a:ext cx="213797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100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78" name="Freeform 85">
                    <a:extLst>
                      <a:ext uri="{FF2B5EF4-FFF2-40B4-BE49-F238E27FC236}">
                        <a16:creationId xmlns:a16="http://schemas.microsoft.com/office/drawing/2014/main" id="{48B115CE-C025-0FEB-6917-416FD2C03012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1673225" y="1120775"/>
                    <a:ext cx="66675" cy="2433638"/>
                  </a:xfrm>
                  <a:custGeom>
                    <a:avLst/>
                    <a:gdLst>
                      <a:gd name="T0" fmla="*/ 42 w 42"/>
                      <a:gd name="T1" fmla="*/ 1533 h 1533"/>
                      <a:gd name="T2" fmla="*/ 42 w 42"/>
                      <a:gd name="T3" fmla="*/ 0 h 1533"/>
                      <a:gd name="T4" fmla="*/ 42 w 42"/>
                      <a:gd name="T5" fmla="*/ 1529 h 1533"/>
                      <a:gd name="T6" fmla="*/ 0 w 42"/>
                      <a:gd name="T7" fmla="*/ 1529 h 1533"/>
                      <a:gd name="T8" fmla="*/ 42 w 42"/>
                      <a:gd name="T9" fmla="*/ 1224 h 1533"/>
                      <a:gd name="T10" fmla="*/ 0 w 42"/>
                      <a:gd name="T11" fmla="*/ 1224 h 1533"/>
                      <a:gd name="T12" fmla="*/ 42 w 42"/>
                      <a:gd name="T13" fmla="*/ 919 h 1533"/>
                      <a:gd name="T14" fmla="*/ 0 w 42"/>
                      <a:gd name="T15" fmla="*/ 919 h 1533"/>
                      <a:gd name="T16" fmla="*/ 42 w 42"/>
                      <a:gd name="T17" fmla="*/ 614 h 1533"/>
                      <a:gd name="T18" fmla="*/ 0 w 42"/>
                      <a:gd name="T19" fmla="*/ 614 h 1533"/>
                      <a:gd name="T20" fmla="*/ 42 w 42"/>
                      <a:gd name="T21" fmla="*/ 309 h 1533"/>
                      <a:gd name="T22" fmla="*/ 0 w 42"/>
                      <a:gd name="T23" fmla="*/ 309 h 1533"/>
                      <a:gd name="T24" fmla="*/ 42 w 42"/>
                      <a:gd name="T25" fmla="*/ 4 h 1533"/>
                      <a:gd name="T26" fmla="*/ 0 w 42"/>
                      <a:gd name="T27" fmla="*/ 4 h 153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42" h="1533">
                        <a:moveTo>
                          <a:pt x="42" y="1533"/>
                        </a:moveTo>
                        <a:lnTo>
                          <a:pt x="42" y="0"/>
                        </a:lnTo>
                        <a:moveTo>
                          <a:pt x="42" y="1529"/>
                        </a:moveTo>
                        <a:lnTo>
                          <a:pt x="0" y="1529"/>
                        </a:lnTo>
                        <a:moveTo>
                          <a:pt x="42" y="1224"/>
                        </a:moveTo>
                        <a:lnTo>
                          <a:pt x="0" y="1224"/>
                        </a:lnTo>
                        <a:moveTo>
                          <a:pt x="42" y="919"/>
                        </a:moveTo>
                        <a:lnTo>
                          <a:pt x="0" y="919"/>
                        </a:lnTo>
                        <a:moveTo>
                          <a:pt x="42" y="614"/>
                        </a:moveTo>
                        <a:lnTo>
                          <a:pt x="0" y="614"/>
                        </a:lnTo>
                        <a:moveTo>
                          <a:pt x="42" y="309"/>
                        </a:moveTo>
                        <a:lnTo>
                          <a:pt x="0" y="309"/>
                        </a:lnTo>
                        <a:moveTo>
                          <a:pt x="42" y="4"/>
                        </a:moveTo>
                        <a:lnTo>
                          <a:pt x="0" y="4"/>
                        </a:lnTo>
                      </a:path>
                    </a:pathLst>
                  </a:custGeom>
                  <a:noFill/>
                  <a:ln w="12700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2" name="Rectangle 95">
                    <a:extLst>
                      <a:ext uri="{FF2B5EF4-FFF2-40B4-BE49-F238E27FC236}">
                        <a16:creationId xmlns:a16="http://schemas.microsoft.com/office/drawing/2014/main" id="{C6A47220-8C96-2867-7BC4-797D3ADDD81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 rot="16200000">
                    <a:off x="1193881" y="1909501"/>
                    <a:ext cx="55401" cy="179911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867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 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3" name="Rectangle 97">
                    <a:extLst>
                      <a:ext uri="{FF2B5EF4-FFF2-40B4-BE49-F238E27FC236}">
                        <a16:creationId xmlns:a16="http://schemas.microsoft.com/office/drawing/2014/main" id="{562AE1EA-9ADC-DC65-9F9B-DFAC7E637A59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97100" y="1244600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18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4" name="Rectangle 98">
                    <a:extLst>
                      <a:ext uri="{FF2B5EF4-FFF2-40B4-BE49-F238E27FC236}">
                        <a16:creationId xmlns:a16="http://schemas.microsoft.com/office/drawing/2014/main" id="{78A69F1D-FB43-15BB-E58D-E5DA5D9D238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197100" y="1739901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24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5" name="Rectangle 99">
                    <a:extLst>
                      <a:ext uri="{FF2B5EF4-FFF2-40B4-BE49-F238E27FC236}">
                        <a16:creationId xmlns:a16="http://schemas.microsoft.com/office/drawing/2014/main" id="{2F3D7853-47DF-DD12-40BA-8601E6475C95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2206625" y="2738437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59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6" name="Rectangle 100">
                    <a:extLst>
                      <a:ext uri="{FF2B5EF4-FFF2-40B4-BE49-F238E27FC236}">
                        <a16:creationId xmlns:a16="http://schemas.microsoft.com/office/drawing/2014/main" id="{5E842C11-B4EB-624D-E32D-471EF04588A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76588" y="1122256"/>
                    <a:ext cx="185692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9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7" name="Rectangle 101">
                    <a:extLst>
                      <a:ext uri="{FF2B5EF4-FFF2-40B4-BE49-F238E27FC236}">
                        <a16:creationId xmlns:a16="http://schemas.microsoft.com/office/drawing/2014/main" id="{CF47046B-401F-8325-BFAC-EB14318BEFA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36900" y="1406525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14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8" name="Rectangle 102">
                    <a:extLst>
                      <a:ext uri="{FF2B5EF4-FFF2-40B4-BE49-F238E27FC236}">
                        <a16:creationId xmlns:a16="http://schemas.microsoft.com/office/drawing/2014/main" id="{AE0934C9-1CDB-B700-BB2A-0B2C464E0FC1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3146425" y="2486025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78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89" name="Rectangle 106">
                    <a:extLst>
                      <a:ext uri="{FF2B5EF4-FFF2-40B4-BE49-F238E27FC236}">
                        <a16:creationId xmlns:a16="http://schemas.microsoft.com/office/drawing/2014/main" id="{A64A6F78-0042-3CCB-433D-EE663BBBB136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13225" y="1112838"/>
                    <a:ext cx="623887" cy="98425"/>
                  </a:xfrm>
                  <a:prstGeom prst="rect">
                    <a:avLst/>
                  </a:prstGeom>
                  <a:solidFill>
                    <a:srgbClr val="EDDA55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0" name="Rectangle 107">
                    <a:extLst>
                      <a:ext uri="{FF2B5EF4-FFF2-40B4-BE49-F238E27FC236}">
                        <a16:creationId xmlns:a16="http://schemas.microsoft.com/office/drawing/2014/main" id="{5F67571B-5374-9E6F-CCA2-ABC586B19FCA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13225" y="1211263"/>
                    <a:ext cx="623887" cy="320675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1" name="Rectangle 108">
                    <a:extLst>
                      <a:ext uri="{FF2B5EF4-FFF2-40B4-BE49-F238E27FC236}">
                        <a16:creationId xmlns:a16="http://schemas.microsoft.com/office/drawing/2014/main" id="{78AD98A1-5E22-58F7-007C-169F473A54E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48263" y="1089025"/>
                    <a:ext cx="623887" cy="220663"/>
                  </a:xfrm>
                  <a:prstGeom prst="rect">
                    <a:avLst/>
                  </a:prstGeom>
                  <a:solidFill>
                    <a:srgbClr val="C00000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2" name="Rectangle 109">
                    <a:extLst>
                      <a:ext uri="{FF2B5EF4-FFF2-40B4-BE49-F238E27FC236}">
                        <a16:creationId xmlns:a16="http://schemas.microsoft.com/office/drawing/2014/main" id="{DAAD11CD-6209-977B-4C8B-61E7A9015A07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213225" y="1531938"/>
                    <a:ext cx="623887" cy="2016125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3" name="Rectangle 110">
                    <a:extLst>
                      <a:ext uri="{FF2B5EF4-FFF2-40B4-BE49-F238E27FC236}">
                        <a16:creationId xmlns:a16="http://schemas.microsoft.com/office/drawing/2014/main" id="{209A61B5-A563-F358-DD30-2C45C388EAE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148263" y="1309688"/>
                    <a:ext cx="623887" cy="2238375"/>
                  </a:xfrm>
                  <a:prstGeom prst="rect">
                    <a:avLst/>
                  </a:prstGeom>
                  <a:solidFill>
                    <a:srgbClr val="127F44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4" name="Line 117">
                    <a:extLst>
                      <a:ext uri="{FF2B5EF4-FFF2-40B4-BE49-F238E27FC236}">
                        <a16:creationId xmlns:a16="http://schemas.microsoft.com/office/drawing/2014/main" id="{2525955D-3935-9FE6-4A3D-A936DF5F89F7}"/>
                      </a:ext>
                    </a:extLst>
                  </p:cNvPr>
                  <p:cNvSpPr>
                    <a:spLocks noChangeShapeType="1"/>
                  </p:cNvSpPr>
                  <p:nvPr/>
                </p:nvSpPr>
                <p:spPr bwMode="auto">
                  <a:xfrm>
                    <a:off x="3895725" y="3548063"/>
                    <a:ext cx="2193925" cy="0"/>
                  </a:xfrm>
                  <a:prstGeom prst="line">
                    <a:avLst/>
                  </a:prstGeom>
                  <a:noFill/>
                  <a:ln w="12700" cap="flat">
                    <a:solidFill>
                      <a:srgbClr val="000000"/>
                    </a:solidFill>
                    <a:prstDash val="solid"/>
                    <a:miter lim="800000"/>
                    <a:headEnd/>
                    <a:tailEnd/>
                  </a:ln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</a:extLst>
                </p:spPr>
                <p:txBody>
                  <a:bodyPr vert="horz" wrap="square" lIns="121920" tIns="60960" rIns="121920" bIns="6096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609585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5" name="Rectangle 118">
                    <a:extLst>
                      <a:ext uri="{FF2B5EF4-FFF2-40B4-BE49-F238E27FC236}">
                        <a16:creationId xmlns:a16="http://schemas.microsoft.com/office/drawing/2014/main" id="{12694989-3AAF-3777-3302-7AEDB64C941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408488" y="1054100"/>
                    <a:ext cx="185692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4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6" name="Rectangle 119">
                    <a:extLst>
                      <a:ext uri="{FF2B5EF4-FFF2-40B4-BE49-F238E27FC236}">
                        <a16:creationId xmlns:a16="http://schemas.microsoft.com/office/drawing/2014/main" id="{E16696B1-0914-307E-F371-59F889BB8FE0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68800" y="1311275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13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7" name="Rectangle 120">
                    <a:extLst>
                      <a:ext uri="{FF2B5EF4-FFF2-40B4-BE49-F238E27FC236}">
                        <a16:creationId xmlns:a16="http://schemas.microsoft.com/office/drawing/2014/main" id="{08B0CDF8-899D-4EAD-4923-CAF395596164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78325" y="2365374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82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8" name="Rectangle 121">
                    <a:extLst>
                      <a:ext uri="{FF2B5EF4-FFF2-40B4-BE49-F238E27FC236}">
                        <a16:creationId xmlns:a16="http://schemas.microsoft.com/office/drawing/2014/main" id="{19ADD032-D9F0-103B-DF15-BBF4EAD92E92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360988" y="1116012"/>
                    <a:ext cx="185692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9%</a:t>
                    </a:r>
                    <a:endParaRPr kumimoji="0" lang="en-US" altLang="en-US" sz="2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99" name="Rectangle 122">
                    <a:extLst>
                      <a:ext uri="{FF2B5EF4-FFF2-40B4-BE49-F238E27FC236}">
                        <a16:creationId xmlns:a16="http://schemas.microsoft.com/office/drawing/2014/main" id="{EE6416B6-F5BE-4E15-B3BD-DB62A94C10C3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329238" y="2160588"/>
                    <a:ext cx="256958" cy="207547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l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91%</a:t>
                    </a:r>
                    <a:endParaRPr kumimoji="0" lang="en-US" altLang="en-US" sz="2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100" name="Rectangle 73">
                    <a:extLst>
                      <a:ext uri="{FF2B5EF4-FFF2-40B4-BE49-F238E27FC236}">
                        <a16:creationId xmlns:a16="http://schemas.microsoft.com/office/drawing/2014/main" id="{81F8C6BB-C9BD-8321-9654-4AFD7BE17ECF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4343388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16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(n=45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  <p:sp>
                <p:nvSpPr>
                  <p:cNvPr id="101" name="Rectangle 75">
                    <a:extLst>
                      <a:ext uri="{FF2B5EF4-FFF2-40B4-BE49-F238E27FC236}">
                        <a16:creationId xmlns:a16="http://schemas.microsoft.com/office/drawing/2014/main" id="{CC1C5C77-12A6-F5AC-7138-D4AC84F74B1B}"/>
                      </a:ext>
                    </a:extLst>
                  </p:cNvPr>
                  <p:cNvSpPr>
                    <a:spLocks noChangeArrowheads="1"/>
                  </p:cNvSpPr>
                  <p:nvPr/>
                </p:nvSpPr>
                <p:spPr bwMode="auto">
                  <a:xfrm>
                    <a:off x="5253169" y="3555454"/>
                    <a:ext cx="442650" cy="6226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none" lIns="0" tIns="0" rIns="0" bIns="0" numCol="1" anchor="t" anchorCtr="0" compatLnSpc="1">
                    <a:prstTxWarp prst="textNoShape">
                      <a:avLst/>
                    </a:prstTxWarp>
                    <a:spAutoFit/>
                  </a:bodyPr>
                  <a:lstStyle>
                    <a:lvl1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1pPr>
                    <a:lvl2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2pPr>
                    <a:lvl3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3pPr>
                    <a:lvl4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4pPr>
                    <a:lvl5pPr eaLnBrk="0" hangingPunct="0"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5pPr>
                    <a:lvl6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6pPr>
                    <a:lvl7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7pPr>
                    <a:lvl8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8pPr>
                    <a:lvl9pPr eaLnBrk="0" fontAlgn="base" hangingPunct="0">
                      <a:spcBef>
                        <a:spcPct val="0"/>
                      </a:spcBef>
                      <a:spcAft>
                        <a:spcPct val="0"/>
                      </a:spcAft>
                      <a:defRPr>
                        <a:solidFill>
                          <a:schemeClr val="tx1"/>
                        </a:solidFill>
                        <a:latin typeface="Arial" panose="020B0604020202020204" pitchFamily="34" charset="0"/>
                      </a:defRPr>
                    </a:lvl9pPr>
                  </a:lstStyle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Sonro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320 mg</a:t>
                    </a:r>
                  </a:p>
                  <a:p>
                    <a:pPr marL="0" marR="0" lvl="0" indent="0" algn="ctr" defTabSz="121917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altLang="en-US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Geneva" charset="0"/>
                        <a:cs typeface="+mn-cs"/>
                      </a:rPr>
                      <a:t>(n=53)</a:t>
                    </a:r>
                    <a:endParaRPr kumimoji="0" lang="en-US" altLang="en-US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Geneva" charset="0"/>
                      <a:cs typeface="+mn-cs"/>
                    </a:endParaRPr>
                  </a:p>
                </p:txBody>
              </p:sp>
            </p:grpSp>
            <p:sp>
              <p:nvSpPr>
                <p:cNvPr id="40" name="TextBox 39">
                  <a:extLst>
                    <a:ext uri="{FF2B5EF4-FFF2-40B4-BE49-F238E27FC236}">
                      <a16:creationId xmlns:a16="http://schemas.microsoft.com/office/drawing/2014/main" id="{E4211CB2-E42A-EC9E-CB44-47FE387E8207}"/>
                    </a:ext>
                  </a:extLst>
                </p:cNvPr>
                <p:cNvSpPr txBox="1"/>
                <p:nvPr/>
              </p:nvSpPr>
              <p:spPr>
                <a:xfrm rot="16200000">
                  <a:off x="-469572" y="2265712"/>
                  <a:ext cx="2430926" cy="21199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609585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charset="0"/>
                      <a:ea typeface="Geneva" charset="0"/>
                      <a:cs typeface="+mn-cs"/>
                    </a:rPr>
                    <a:t>Patients, %</a:t>
                  </a: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id="{D05A9916-273C-C33E-67D5-D7644CC91FE3}"/>
                  </a:ext>
                </a:extLst>
              </p:cNvPr>
              <p:cNvSpPr txBox="1"/>
              <p:nvPr/>
            </p:nvSpPr>
            <p:spPr>
              <a:xfrm>
                <a:off x="1486986" y="1054811"/>
                <a:ext cx="1693534" cy="3011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By Week 24</a:t>
                </a:r>
                <a:r>
                  <a:rPr kumimoji="0" lang="en-US" sz="1867" b="1" i="0" u="none" strike="noStrike" kern="1200" cap="none" spc="0" normalizeH="0" baseline="3000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c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7B4F51D3-4142-5C7F-26D7-B1D834FD3F44}"/>
                  </a:ext>
                </a:extLst>
              </p:cNvPr>
              <p:cNvSpPr txBox="1"/>
              <p:nvPr/>
            </p:nvSpPr>
            <p:spPr>
              <a:xfrm>
                <a:off x="3688720" y="1049377"/>
                <a:ext cx="1693534" cy="3011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By Week 48</a:t>
                </a:r>
                <a:r>
                  <a:rPr kumimoji="0" lang="en-US" sz="1867" b="1" i="0" u="none" strike="noStrike" kern="1200" cap="none" spc="0" normalizeH="0" baseline="3000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c</a:t>
                </a:r>
              </a:p>
            </p:txBody>
          </p: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11BD7DC8-32A6-81EE-CFDA-5166E81EC562}"/>
                  </a:ext>
                </a:extLst>
              </p:cNvPr>
              <p:cNvSpPr txBox="1"/>
              <p:nvPr/>
            </p:nvSpPr>
            <p:spPr>
              <a:xfrm>
                <a:off x="1590675" y="787564"/>
                <a:ext cx="3724275" cy="3011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Best Blood MRD</a:t>
                </a:r>
                <a:r>
                  <a:rPr kumimoji="0" lang="en-US" sz="1867" b="1" i="0" u="none" strike="noStrike" kern="1200" cap="none" spc="0" normalizeH="0" baseline="3000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charset="0"/>
                    <a:ea typeface="Geneva" charset="0"/>
                    <a:cs typeface="+mn-cs"/>
                  </a:rPr>
                  <a:t>b</a:t>
                </a:r>
              </a:p>
            </p:txBody>
          </p:sp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E8C233D-D4C0-33DD-B581-624844AC892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90675" y="1080142"/>
                <a:ext cx="3724275" cy="0"/>
              </a:xfrm>
              <a:prstGeom prst="line">
                <a:avLst/>
              </a:prstGeom>
              <a:ln w="12700"/>
              <a:effectLst/>
            </p:spPr>
            <p:style>
              <a:lnRef idx="2">
                <a:schemeClr val="dk1"/>
              </a:lnRef>
              <a:fillRef idx="0">
                <a:schemeClr val="dk1"/>
              </a:fillRef>
              <a:effectRef idx="1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7B976C74-6BA2-F900-6F75-AAEA1B56EB65}"/>
                </a:ext>
              </a:extLst>
            </p:cNvPr>
            <p:cNvGrpSpPr/>
            <p:nvPr/>
          </p:nvGrpSpPr>
          <p:grpSpPr>
            <a:xfrm>
              <a:off x="5556696" y="1639071"/>
              <a:ext cx="762918" cy="571974"/>
              <a:chOff x="5556696" y="1639071"/>
              <a:chExt cx="762918" cy="571974"/>
            </a:xfrm>
          </p:grpSpPr>
          <p:sp>
            <p:nvSpPr>
              <p:cNvPr id="11" name="Rectangle 55">
                <a:extLst>
                  <a:ext uri="{FF2B5EF4-FFF2-40B4-BE49-F238E27FC236}">
                    <a16:creationId xmlns:a16="http://schemas.microsoft.com/office/drawing/2014/main" id="{D5046732-ED2C-2BAD-F994-E7DD8C016A7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6696" y="1697529"/>
                <a:ext cx="262673" cy="80272"/>
              </a:xfrm>
              <a:prstGeom prst="rect">
                <a:avLst/>
              </a:prstGeom>
              <a:solidFill>
                <a:srgbClr val="EDDA55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18" name="Rectangle 57">
                <a:extLst>
                  <a:ext uri="{FF2B5EF4-FFF2-40B4-BE49-F238E27FC236}">
                    <a16:creationId xmlns:a16="http://schemas.microsoft.com/office/drawing/2014/main" id="{E3A3C112-E6EA-2D1E-822E-6FD9F94140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6696" y="1891263"/>
                <a:ext cx="262673" cy="80272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19" name="Rectangle 59">
                <a:extLst>
                  <a:ext uri="{FF2B5EF4-FFF2-40B4-BE49-F238E27FC236}">
                    <a16:creationId xmlns:a16="http://schemas.microsoft.com/office/drawing/2014/main" id="{2D2D9E9B-C46B-A8CC-C064-1D1C1A19C5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56696" y="2079371"/>
                <a:ext cx="262673" cy="80272"/>
              </a:xfrm>
              <a:prstGeom prst="rect">
                <a:avLst/>
              </a:prstGeom>
              <a:solidFill>
                <a:srgbClr val="127F44"/>
              </a:solidFill>
              <a:ln>
                <a:noFill/>
              </a:ln>
            </p:spPr>
            <p:txBody>
              <a:bodyPr vert="horz" wrap="square" lIns="121920" tIns="60960" rIns="121920" bIns="6096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609585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133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charset="0"/>
                  <a:ea typeface="Geneva" charset="0"/>
                  <a:cs typeface="+mn-cs"/>
                </a:endParaRPr>
              </a:p>
            </p:txBody>
          </p:sp>
          <p:sp>
            <p:nvSpPr>
              <p:cNvPr id="20" name="Rectangle 54">
                <a:extLst>
                  <a:ext uri="{FF2B5EF4-FFF2-40B4-BE49-F238E27FC236}">
                    <a16:creationId xmlns:a16="http://schemas.microsoft.com/office/drawing/2014/main" id="{0DF79D37-6ED7-95DC-29CF-F7167D8BA1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0979" y="1639071"/>
                <a:ext cx="213797" cy="195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N/A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23" name="Rectangle 54">
                <a:extLst>
                  <a:ext uri="{FF2B5EF4-FFF2-40B4-BE49-F238E27FC236}">
                    <a16:creationId xmlns:a16="http://schemas.microsoft.com/office/drawing/2014/main" id="{F4E8DB2D-09D8-3D9C-5819-B4E79BCE5F5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0979" y="1831049"/>
                <a:ext cx="438635" cy="195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MRD4+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  <p:sp>
            <p:nvSpPr>
              <p:cNvPr id="24" name="Rectangle 54">
                <a:extLst>
                  <a:ext uri="{FF2B5EF4-FFF2-40B4-BE49-F238E27FC236}">
                    <a16:creationId xmlns:a16="http://schemas.microsoft.com/office/drawing/2014/main" id="{D648E513-52E8-67E4-EB29-6323C110F2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80979" y="2015715"/>
                <a:ext cx="434620" cy="1953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eaLnBrk="0" hangingPunct="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marL="0" marR="0" lvl="0" indent="0" algn="l" defTabSz="1219170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en-US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Geneva" charset="0"/>
                    <a:cs typeface="+mn-cs"/>
                  </a:rPr>
                  <a:t>uMRD4</a:t>
                </a:r>
                <a:endParaRPr kumimoji="0" lang="en-US" altLang="en-US" sz="213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Geneva" charset="0"/>
                  <a:cs typeface="+mn-cs"/>
                </a:endParaRPr>
              </a:p>
            </p:txBody>
          </p:sp>
        </p:grpSp>
      </p:grpSp>
      <p:sp>
        <p:nvSpPr>
          <p:cNvPr id="102" name="TextBox 101">
            <a:extLst>
              <a:ext uri="{FF2B5EF4-FFF2-40B4-BE49-F238E27FC236}">
                <a16:creationId xmlns:a16="http://schemas.microsoft.com/office/drawing/2014/main" id="{1FBA3051-B75C-DC5F-127B-C1D654933C45}"/>
              </a:ext>
            </a:extLst>
          </p:cNvPr>
          <p:cNvSpPr txBox="1"/>
          <p:nvPr/>
        </p:nvSpPr>
        <p:spPr>
          <a:xfrm>
            <a:off x="8059918" y="6456202"/>
            <a:ext cx="398434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merai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JD et al. ASH 2024;Abstract 1012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8F6F9FFA-1B57-19D5-9B41-3E1298996FB4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410701259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D0BC28-67BC-9D95-9714-BFEC66B114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D7CE1A-3901-05F0-6AA6-43E8FDCEA7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rPr>
              <a:t>Sonrotoclax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rPr>
              <a:t> + Zanubrutinib Demonstrates Substantial Antitumor Activity in TN CLL</a:t>
            </a:r>
            <a:endParaRPr kumimoji="0" lang="en-US" sz="4400" b="1" i="0" u="none" strike="noStrike" kern="1200" cap="none" spc="0" normalizeH="0" baseline="30000" noProof="0" dirty="0">
              <a:ln>
                <a:noFill/>
              </a:ln>
              <a:solidFill>
                <a:srgbClr val="CD113B"/>
              </a:solidFill>
              <a:effectLst/>
              <a:uLnTx/>
              <a:uFillTx/>
              <a:latin typeface="Arial"/>
              <a:ea typeface="Geneva" pitchFamily="37" charset="-128"/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2EAD48-F70E-561B-237A-2DC9F24053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6812" y="2088666"/>
            <a:ext cx="9753600" cy="5674769"/>
          </a:xfrm>
        </p:spPr>
        <p:txBody>
          <a:bodyPr>
            <a:normAutofit/>
          </a:bodyPr>
          <a:lstStyle/>
          <a:p>
            <a:r>
              <a:rPr lang="en-US" sz="2400" b="1" dirty="0" err="1"/>
              <a:t>Sonrotoclax</a:t>
            </a:r>
            <a:r>
              <a:rPr lang="en-US" sz="2400" b="1" dirty="0"/>
              <a:t> more potent in vitro and so far very limited TLS, although ramp-up schedule has been as complicated as </a:t>
            </a:r>
            <a:r>
              <a:rPr lang="en-US" sz="2400" b="1" dirty="0" err="1"/>
              <a:t>venetoclax</a:t>
            </a:r>
            <a:endParaRPr lang="en-US" sz="2400" b="1" dirty="0"/>
          </a:p>
          <a:p>
            <a:endParaRPr lang="en-US" sz="2400" b="1" dirty="0"/>
          </a:p>
          <a:p>
            <a:r>
              <a:rPr lang="en-US" sz="2400" b="1" dirty="0"/>
              <a:t>Highest </a:t>
            </a:r>
            <a:r>
              <a:rPr lang="en-US" sz="2400" b="1" dirty="0" err="1"/>
              <a:t>uMRD</a:t>
            </a:r>
            <a:r>
              <a:rPr lang="en-US" sz="2400" b="1" dirty="0"/>
              <a:t> rates of any BTKi-BCL2i combination (without an antibody)</a:t>
            </a:r>
          </a:p>
          <a:p>
            <a:endParaRPr lang="en-US" sz="2400" b="1" dirty="0"/>
          </a:p>
          <a:p>
            <a:r>
              <a:rPr lang="en-US" sz="2400" b="1" dirty="0"/>
              <a:t>Selected phase 1 population, needs longer follow-up and broadly multicenter trials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94945B0-2593-DBC9-7764-0E55D3C280A9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184851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2286" y="3583"/>
            <a:ext cx="10358967" cy="1143000"/>
          </a:xfrm>
        </p:spPr>
        <p:txBody>
          <a:bodyPr/>
          <a:lstStyle/>
          <a:p>
            <a:r>
              <a:rPr lang="en-US" sz="3200" dirty="0"/>
              <a:t>Prof Ghia </a:t>
            </a:r>
            <a:r>
              <a:rPr lang="en-US" sz="3200" dirty="0">
                <a:solidFill>
                  <a:srgbClr val="0432FF"/>
                </a:solidFill>
              </a:rPr>
              <a:t>— Disclosures</a:t>
            </a:r>
          </a:p>
        </p:txBody>
      </p:sp>
      <p:graphicFrame>
        <p:nvGraphicFramePr>
          <p:cNvPr id="3" name="Content Placeholder 3">
            <a:extLst>
              <a:ext uri="{FF2B5EF4-FFF2-40B4-BE49-F238E27FC236}">
                <a16:creationId xmlns:a16="http://schemas.microsoft.com/office/drawing/2014/main" id="{D79BE8EF-A597-304A-BB26-509894B2D335}"/>
              </a:ext>
            </a:extLst>
          </p:cNvPr>
          <p:cNvGraphicFramePr>
            <a:graphicFrameLocks/>
          </p:cNvGraphicFramePr>
          <p:nvPr/>
        </p:nvGraphicFramePr>
        <p:xfrm>
          <a:off x="983432" y="1637928"/>
          <a:ext cx="10657184" cy="3024336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31236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44816">
                  <a:extLst>
                    <a:ext uri="{9D8B030D-6E8A-4147-A177-3AD203B41FA5}">
                      <a16:colId xmlns:a16="http://schemas.microsoft.com/office/drawing/2014/main" val="3833924404"/>
                    </a:ext>
                  </a:extLst>
                </a:gridCol>
              </a:tblGrid>
              <a:tr h="820005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Advisory Committees</a:t>
                      </a:r>
                      <a:endParaRPr 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straZeneca Pharmaceuticals LP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BeiGen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Ltd, Johnson &amp; Johnson Pharmaceuticals, Lilly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299297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Consulting Agreements</a:t>
                      </a:r>
                      <a:endParaRPr lang="en-US" sz="18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AbbVie Inc, AstraZeneca Pharmaceuticals LP, </a:t>
                      </a:r>
                      <a:r>
                        <a:rPr lang="en-US" b="0" dirty="0" err="1">
                          <a:solidFill>
                            <a:schemeClr val="tx1"/>
                          </a:solidFill>
                        </a:rPr>
                        <a:t>BeiGene</a:t>
                      </a:r>
                      <a:r>
                        <a:rPr lang="en-US" b="0" dirty="0">
                          <a:solidFill>
                            <a:schemeClr val="tx1"/>
                          </a:solidFill>
                        </a:rPr>
                        <a:t> Ltd, Bristol Myers Squibb, Galapagos NV, Johnson &amp; Johnson Pharmaceuticals, Lilly, MSD, Roche Laboratories Inc</a:t>
                      </a:r>
                      <a:endParaRPr lang="en-US" sz="1800" b="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7903436"/>
                  </a:ext>
                </a:extLst>
              </a:tr>
              <a:tr h="905034"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tracted Research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11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bbVie Inc, AstraZeneca Pharmaceuticals LP, </a:t>
                      </a:r>
                      <a:r>
                        <a:rPr lang="en-US" sz="1800" b="0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Gene</a:t>
                      </a:r>
                      <a:r>
                        <a:rPr lang="en-US" sz="18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Ltd, Bristol Myers Squibb, Johnson &amp; Johnson Pharmaceuticals, Lilly, MSD</a:t>
                      </a:r>
                    </a:p>
                  </a:txBody>
                  <a:tcPr marL="137160" marR="137160" marT="34290" marB="3429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8804472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453071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986EDA-D616-1A95-0485-CC3CE28FE8C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64D347B-3592-97C4-0B90-A66BA87379BB}"/>
              </a:ext>
            </a:extLst>
          </p:cNvPr>
          <p:cNvSpPr/>
          <p:nvPr/>
        </p:nvSpPr>
        <p:spPr bwMode="auto">
          <a:xfrm>
            <a:off x="767408" y="5013176"/>
            <a:ext cx="10225136" cy="648072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7BC6EE3-C02B-7EEB-2903-5FD35F7CDC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800" dirty="0"/>
            </a:br>
            <a:r>
              <a:rPr lang="en-US" dirty="0"/>
              <a:t>Year in Review: Management of </a:t>
            </a:r>
            <a:br>
              <a:rPr lang="en-US" dirty="0"/>
            </a:br>
            <a:r>
              <a:rPr lang="en-US" dirty="0"/>
              <a:t>Chronic Lymphocytic Leukemia (CLL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178CDA-3EFD-F2B8-8AD2-3D8D0EB760C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772816"/>
            <a:ext cx="10152698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LL Experience — 2000 to 2025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Therapy Options with Covalent Bruton Tyrosine Kinase (BTK) Inhibitor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of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Treatment of CLL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dirty="0">
                <a:solidFill>
                  <a:schemeClr val="tx1"/>
                </a:solidFill>
              </a:rPr>
              <a:t>AMPLIFY Trial and Other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BTK Inhibitor and Bcl-2 Inhibitor Combination Strateg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4: Noncovalent BTK Inhibitor </a:t>
            </a:r>
            <a:r>
              <a:rPr lang="en-US" sz="24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rtobrutinib</a:t>
            </a:r>
            <a:endParaRPr lang="en-US" sz="240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5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 T-Cell Therapy; Novel Agents</a:t>
            </a:r>
          </a:p>
        </p:txBody>
      </p:sp>
    </p:spTree>
    <p:extLst>
      <p:ext uri="{BB962C8B-B14F-4D97-AF65-F5344CB8AC3E}">
        <p14:creationId xmlns:p14="http://schemas.microsoft.com/office/powerpoint/2010/main" val="1483879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04EAA5-4FA0-EC96-6395-2DE2AD03190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AABFFF73-24DA-8EC9-323C-CD2685124F6F}"/>
              </a:ext>
            </a:extLst>
          </p:cNvPr>
          <p:cNvSpPr txBox="1"/>
          <p:nvPr/>
        </p:nvSpPr>
        <p:spPr>
          <a:xfrm>
            <a:off x="0" y="332656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Noncovalent BTK Inhibitor 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Pirtobrutinib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0432FF"/>
              </a:solidFill>
              <a:effectLst/>
              <a:uLnTx/>
              <a:uFillTx/>
              <a:latin typeface="Calibri" panose="020F0502020204030204" pitchFamily="34" charset="0"/>
              <a:ea typeface="MS PGothic" charset="0"/>
              <a:cs typeface="Calibri" panose="020F0502020204030204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A556031-AFF0-14BD-5B95-5AC4079DD1A6}"/>
              </a:ext>
            </a:extLst>
          </p:cNvPr>
          <p:cNvSpPr txBox="1"/>
          <p:nvPr/>
        </p:nvSpPr>
        <p:spPr>
          <a:xfrm>
            <a:off x="407368" y="1628800"/>
            <a:ext cx="11305256" cy="34009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harman JP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UIN CLL-321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Randomized phase III trial of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 versus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delalis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lus rituximab (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delaR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) or bendamustine plus rituximab (BR)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BTK inhibitor pretreated chronic lymphocytic leukemia/small lymphocytic lymphoma. ASH 2024;Abstract 886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oeker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LE et al.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xed-duration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lus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with or without rituximab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relapsed/refractory CLL: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hase 1b BRUI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rial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September 26;144(13):1374-86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erda WG et al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 highly selective, non-covalent (reversible) BTK inhibitor in patients with B-cell malignancies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nalysis of the Richter transformation subgroup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rom the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ulticentr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pen-label, phase 1/2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UIN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tudy. 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cet </a:t>
            </a:r>
            <a:r>
              <a:rPr kumimoji="0" lang="en-US" sz="2000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ematol</a:t>
            </a: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September;11(9):e682-9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ain N et al. Combine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irtobrutini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and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s first-line treatment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f patients with chronic lymphocytic leukemia (CLL). ASH 2024;Abstract 1011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18083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914DA48F-620A-8C88-6F2D-02F6A1EA71E1}"/>
              </a:ext>
            </a:extLst>
          </p:cNvPr>
          <p:cNvSpPr txBox="1">
            <a:spLocks/>
          </p:cNvSpPr>
          <p:nvPr/>
        </p:nvSpPr>
        <p:spPr bwMode="auto">
          <a:xfrm>
            <a:off x="0" y="239444"/>
            <a:ext cx="12192000" cy="5770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 i="0">
                <a:solidFill>
                  <a:srgbClr val="FFFFFF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  <a:ea typeface="ヒラギノ角ゴ Pro W3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bg1"/>
                </a:solidFill>
                <a:latin typeface="Arial" charset="0"/>
              </a:defRPr>
            </a:lvl9pPr>
          </a:lstStyle>
          <a:p>
            <a:pPr marL="0" marR="0" lvl="0" indent="0" algn="ctr" defTabSz="514325" rtl="0" eaLnBrk="1" fontAlgn="base" latinLnBrk="0" hangingPunct="1">
              <a:lnSpc>
                <a:spcPct val="100000"/>
              </a:lnSpc>
              <a:spcBef>
                <a:spcPts val="338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cs typeface="Times New Roman"/>
              </a:rPr>
              <a:t>BRUIN </a:t>
            </a: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cs typeface="Times New Roman"/>
              </a:rPr>
              <a:t>321: Time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CD113B"/>
                </a:solidFill>
                <a:effectLst/>
                <a:uLnTx/>
                <a:uFillTx/>
                <a:latin typeface="Arial"/>
                <a:cs typeface="Times New Roman"/>
              </a:rPr>
              <a:t>to Next Treatment or Death in Venetoclax Naïve and Treated Patients​</a:t>
            </a:r>
          </a:p>
        </p:txBody>
      </p:sp>
      <p:pic>
        <p:nvPicPr>
          <p:cNvPr id="7" name="Picture 6" descr="A graph of a graph&#10;&#10;Description automatically generated with medium confidence">
            <a:extLst>
              <a:ext uri="{FF2B5EF4-FFF2-40B4-BE49-F238E27FC236}">
                <a16:creationId xmlns:a16="http://schemas.microsoft.com/office/drawing/2014/main" id="{C77F68B9-54D5-1737-6800-EF6643FCD3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60988" y="1478016"/>
            <a:ext cx="5762521" cy="3204113"/>
          </a:xfrm>
          <a:prstGeom prst="rect">
            <a:avLst/>
          </a:prstGeom>
        </p:spPr>
      </p:pic>
      <p:pic>
        <p:nvPicPr>
          <p:cNvPr id="10" name="Picture 9" descr="A graph with red lines and numbers&#10;&#10;Description automatically generated">
            <a:extLst>
              <a:ext uri="{FF2B5EF4-FFF2-40B4-BE49-F238E27FC236}">
                <a16:creationId xmlns:a16="http://schemas.microsoft.com/office/drawing/2014/main" id="{42CEBE90-25DE-57CB-D61D-3DD4F7EC5A2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5142" y="1442514"/>
            <a:ext cx="5760302" cy="3239615"/>
          </a:xfrm>
          <a:prstGeom prst="rect">
            <a:avLst/>
          </a:prstGeom>
        </p:spPr>
      </p:pic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F0324882-5AEA-EF30-D67F-5C59FA2BF3E7}"/>
              </a:ext>
            </a:extLst>
          </p:cNvPr>
          <p:cNvGraphicFramePr>
            <a:graphicFrameLocks noGrp="1"/>
          </p:cNvGraphicFramePr>
          <p:nvPr/>
        </p:nvGraphicFramePr>
        <p:xfrm>
          <a:off x="673100" y="5330146"/>
          <a:ext cx="4925060" cy="822960"/>
        </p:xfrm>
        <a:graphic>
          <a:graphicData uri="http://schemas.openxmlformats.org/drawingml/2006/table">
            <a:tbl>
              <a:tblPr/>
              <a:tblGrid>
                <a:gridCol w="2730500">
                  <a:extLst>
                    <a:ext uri="{9D8B030D-6E8A-4147-A177-3AD203B41FA5}">
                      <a16:colId xmlns:a16="http://schemas.microsoft.com/office/drawing/2014/main" val="3560034462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347943789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214096379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it-IT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an TTNT, mo (95% CI)</a:t>
                      </a:r>
                      <a:r>
                        <a:rPr lang="it-IT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it-IT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5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D6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5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464859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zard ratio (95% CI)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6 (0.21- 0.61)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8555647"/>
                  </a:ext>
                </a:extLst>
              </a:tr>
              <a:tr h="169725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ratified log-rank 2-sided p-value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0001​*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7382769"/>
                  </a:ext>
                </a:extLst>
              </a:tr>
            </a:tbl>
          </a:graphicData>
        </a:graphic>
      </p:graphicFrame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56F63FD6-A99E-A719-3757-07F3A4130526}"/>
              </a:ext>
            </a:extLst>
          </p:cNvPr>
          <p:cNvGraphicFramePr>
            <a:graphicFrameLocks noGrp="1"/>
          </p:cNvGraphicFramePr>
          <p:nvPr/>
        </p:nvGraphicFramePr>
        <p:xfrm>
          <a:off x="6565900" y="5330146"/>
          <a:ext cx="4975860" cy="822960"/>
        </p:xfrm>
        <a:graphic>
          <a:graphicData uri="http://schemas.openxmlformats.org/drawingml/2006/table">
            <a:tbl>
              <a:tblPr/>
              <a:tblGrid>
                <a:gridCol w="2781300">
                  <a:extLst>
                    <a:ext uri="{9D8B030D-6E8A-4147-A177-3AD203B41FA5}">
                      <a16:colId xmlns:a16="http://schemas.microsoft.com/office/drawing/2014/main" val="2173134120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96141725"/>
                    </a:ext>
                  </a:extLst>
                </a:gridCol>
                <a:gridCol w="1097280">
                  <a:extLst>
                    <a:ext uri="{9D8B030D-6E8A-4147-A177-3AD203B41FA5}">
                      <a16:colId xmlns:a16="http://schemas.microsoft.com/office/drawing/2014/main" val="493063009"/>
                    </a:ext>
                  </a:extLst>
                </a:gridCol>
              </a:tblGrid>
              <a:tr h="171450">
                <a:tc>
                  <a:txBody>
                    <a:bodyPr/>
                    <a:lstStyle/>
                    <a:p>
                      <a:pPr algn="l" fontAlgn="base"/>
                      <a:r>
                        <a:rPr lang="it-IT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Median TTNT, mo (95% CI)</a:t>
                      </a:r>
                      <a:r>
                        <a:rPr lang="it-IT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it-IT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0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9D6D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.7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7E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6306245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Hazard ratio (95% CI)</a:t>
                      </a:r>
                      <a:r>
                        <a:rPr lang="en-US" sz="1200" b="0" i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1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.37 (0.23- 0.60)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4212474"/>
                  </a:ext>
                </a:extLst>
              </a:tr>
              <a:tr h="17145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ratified log-rank 2-sided p-value</a:t>
                      </a:r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​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base"/>
                      <a:r>
                        <a:rPr lang="en-US" sz="1200" b="0" i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&lt;0.0001​​*</a:t>
                      </a:r>
                      <a:endParaRPr lang="en-US" sz="1200" b="0" i="0" dirty="0">
                        <a:solidFill>
                          <a:srgbClr val="000000"/>
                        </a:solidFill>
                        <a:effectLst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2229793"/>
                  </a:ext>
                </a:extLst>
              </a:tr>
            </a:tbl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7BBB7ED3-55A8-8515-2CAD-DDED94602692}"/>
              </a:ext>
            </a:extLst>
          </p:cNvPr>
          <p:cNvGrpSpPr/>
          <p:nvPr/>
        </p:nvGrpSpPr>
        <p:grpSpPr>
          <a:xfrm>
            <a:off x="9245217" y="4830747"/>
            <a:ext cx="1302744" cy="480640"/>
            <a:chOff x="8194896" y="693955"/>
            <a:chExt cx="1457268" cy="665025"/>
          </a:xfrm>
        </p:grpSpPr>
        <p:sp>
          <p:nvSpPr>
            <p:cNvPr id="24" name="Rectangle: Top Corners Rounded 23">
              <a:extLst>
                <a:ext uri="{FF2B5EF4-FFF2-40B4-BE49-F238E27FC236}">
                  <a16:creationId xmlns:a16="http://schemas.microsoft.com/office/drawing/2014/main" id="{65D0B392-52A8-94FA-9CAA-F90DE2348518}"/>
                </a:ext>
              </a:extLst>
            </p:cNvPr>
            <p:cNvSpPr/>
            <p:nvPr/>
          </p:nvSpPr>
          <p:spPr>
            <a:xfrm>
              <a:off x="8322550" y="693955"/>
              <a:ext cx="1201960" cy="665025"/>
            </a:xfrm>
            <a:prstGeom prst="round2SameRect">
              <a:avLst/>
            </a:prstGeom>
            <a:solidFill>
              <a:srgbClr val="E2282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5" name="TextBox 8">
              <a:extLst>
                <a:ext uri="{FF2B5EF4-FFF2-40B4-BE49-F238E27FC236}">
                  <a16:creationId xmlns:a16="http://schemas.microsoft.com/office/drawing/2014/main" id="{B1672CC4-F157-EEC8-3283-11164956DA06}"/>
                </a:ext>
              </a:extLst>
            </p:cNvPr>
            <p:cNvSpPr txBox="1"/>
            <p:nvPr/>
          </p:nvSpPr>
          <p:spPr>
            <a:xfrm>
              <a:off x="8194896" y="764857"/>
              <a:ext cx="14572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Pirtobrutinib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4A378F2-8800-A6CD-34E6-C75FDA756DE5}"/>
              </a:ext>
            </a:extLst>
          </p:cNvPr>
          <p:cNvGrpSpPr/>
          <p:nvPr/>
        </p:nvGrpSpPr>
        <p:grpSpPr>
          <a:xfrm>
            <a:off x="10470588" y="4830747"/>
            <a:ext cx="1074507" cy="480640"/>
            <a:chOff x="9339528" y="740785"/>
            <a:chExt cx="1201959" cy="665025"/>
          </a:xfrm>
        </p:grpSpPr>
        <p:sp>
          <p:nvSpPr>
            <p:cNvPr id="22" name="Rectangle: Top Corners Rounded 21">
              <a:extLst>
                <a:ext uri="{FF2B5EF4-FFF2-40B4-BE49-F238E27FC236}">
                  <a16:creationId xmlns:a16="http://schemas.microsoft.com/office/drawing/2014/main" id="{F72B992A-D903-45C6-A4DC-EA611209873F}"/>
                </a:ext>
              </a:extLst>
            </p:cNvPr>
            <p:cNvSpPr/>
            <p:nvPr/>
          </p:nvSpPr>
          <p:spPr>
            <a:xfrm>
              <a:off x="9339528" y="740785"/>
              <a:ext cx="1201959" cy="665025"/>
            </a:xfrm>
            <a:prstGeom prst="round2Same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3" name="TextBox 11">
              <a:extLst>
                <a:ext uri="{FF2B5EF4-FFF2-40B4-BE49-F238E27FC236}">
                  <a16:creationId xmlns:a16="http://schemas.microsoft.com/office/drawing/2014/main" id="{3DDC9ECE-AA25-3CBA-38AD-E007B7110D6F}"/>
                </a:ext>
              </a:extLst>
            </p:cNvPr>
            <p:cNvSpPr txBox="1"/>
            <p:nvPr/>
          </p:nvSpPr>
          <p:spPr>
            <a:xfrm>
              <a:off x="9422321" y="811687"/>
              <a:ext cx="10363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IdelaR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/B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sp>
        <p:nvSpPr>
          <p:cNvPr id="20" name="TextBox 15">
            <a:extLst>
              <a:ext uri="{FF2B5EF4-FFF2-40B4-BE49-F238E27FC236}">
                <a16:creationId xmlns:a16="http://schemas.microsoft.com/office/drawing/2014/main" id="{166589EC-02B0-7F42-97C4-DE45E9E74B4F}"/>
              </a:ext>
            </a:extLst>
          </p:cNvPr>
          <p:cNvSpPr txBox="1"/>
          <p:nvPr/>
        </p:nvSpPr>
        <p:spPr>
          <a:xfrm>
            <a:off x="3401621" y="1796178"/>
            <a:ext cx="1414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EB271D"/>
                </a:solidFill>
                <a:effectLst/>
                <a:uLnTx/>
                <a:uFillTx/>
                <a:latin typeface="Arial"/>
                <a:cs typeface="+mn-cs"/>
              </a:rPr>
              <a:t> Pirtobrutinib</a:t>
            </a:r>
          </a:p>
        </p:txBody>
      </p:sp>
      <p:sp>
        <p:nvSpPr>
          <p:cNvPr id="21" name="TextBox 16">
            <a:extLst>
              <a:ext uri="{FF2B5EF4-FFF2-40B4-BE49-F238E27FC236}">
                <a16:creationId xmlns:a16="http://schemas.microsoft.com/office/drawing/2014/main" id="{B2896295-1897-930A-721D-31776BF0D245}"/>
              </a:ext>
            </a:extLst>
          </p:cNvPr>
          <p:cNvSpPr txBox="1"/>
          <p:nvPr/>
        </p:nvSpPr>
        <p:spPr>
          <a:xfrm>
            <a:off x="1522715" y="2802026"/>
            <a:ext cx="12470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cs typeface="+mn-cs"/>
              </a:rPr>
              <a:t> IdelaR/BR</a:t>
            </a:r>
          </a:p>
        </p:txBody>
      </p:sp>
      <p:sp>
        <p:nvSpPr>
          <p:cNvPr id="27" name="TextBox 15">
            <a:extLst>
              <a:ext uri="{FF2B5EF4-FFF2-40B4-BE49-F238E27FC236}">
                <a16:creationId xmlns:a16="http://schemas.microsoft.com/office/drawing/2014/main" id="{82E2A084-3A27-7F25-92E9-AD9B766F2FDE}"/>
              </a:ext>
            </a:extLst>
          </p:cNvPr>
          <p:cNvSpPr txBox="1"/>
          <p:nvPr/>
        </p:nvSpPr>
        <p:spPr>
          <a:xfrm>
            <a:off x="8955460" y="1935315"/>
            <a:ext cx="141491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srgbClr val="EB271D"/>
                </a:solidFill>
                <a:effectLst/>
                <a:uLnTx/>
                <a:uFillTx/>
                <a:latin typeface="Arial"/>
                <a:cs typeface="+mn-cs"/>
              </a:rPr>
              <a:t> Pirtobrutinib</a:t>
            </a:r>
          </a:p>
        </p:txBody>
      </p:sp>
      <p:sp>
        <p:nvSpPr>
          <p:cNvPr id="30" name="TextBox 16">
            <a:extLst>
              <a:ext uri="{FF2B5EF4-FFF2-40B4-BE49-F238E27FC236}">
                <a16:creationId xmlns:a16="http://schemas.microsoft.com/office/drawing/2014/main" id="{50B5BC3A-71AB-F6D4-43D7-A229695A4876}"/>
              </a:ext>
            </a:extLst>
          </p:cNvPr>
          <p:cNvSpPr txBox="1"/>
          <p:nvPr/>
        </p:nvSpPr>
        <p:spPr>
          <a:xfrm>
            <a:off x="7421501" y="2973168"/>
            <a:ext cx="124708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400" b="1" i="0" u="none" strike="noStrike" kern="1200" cap="none" spc="0" normalizeH="0" baseline="0" noProof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rial"/>
                <a:cs typeface="+mn-cs"/>
              </a:rPr>
              <a:t> IdelaR/BR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3E077C6D-D45E-9F96-B0DC-252987A3A2B4}"/>
              </a:ext>
            </a:extLst>
          </p:cNvPr>
          <p:cNvGrpSpPr/>
          <p:nvPr/>
        </p:nvGrpSpPr>
        <p:grpSpPr>
          <a:xfrm>
            <a:off x="3301871" y="4831090"/>
            <a:ext cx="1302744" cy="480640"/>
            <a:chOff x="8194896" y="693955"/>
            <a:chExt cx="1457268" cy="665025"/>
          </a:xfrm>
        </p:grpSpPr>
        <p:sp>
          <p:nvSpPr>
            <p:cNvPr id="35" name="Rectangle: Top Corners Rounded 34">
              <a:extLst>
                <a:ext uri="{FF2B5EF4-FFF2-40B4-BE49-F238E27FC236}">
                  <a16:creationId xmlns:a16="http://schemas.microsoft.com/office/drawing/2014/main" id="{25D4B123-40A8-049B-D482-65940650B971}"/>
                </a:ext>
              </a:extLst>
            </p:cNvPr>
            <p:cNvSpPr/>
            <p:nvPr/>
          </p:nvSpPr>
          <p:spPr>
            <a:xfrm>
              <a:off x="8322550" y="693955"/>
              <a:ext cx="1201960" cy="665025"/>
            </a:xfrm>
            <a:prstGeom prst="round2SameRect">
              <a:avLst/>
            </a:prstGeom>
            <a:solidFill>
              <a:srgbClr val="E22826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TextBox 8">
              <a:extLst>
                <a:ext uri="{FF2B5EF4-FFF2-40B4-BE49-F238E27FC236}">
                  <a16:creationId xmlns:a16="http://schemas.microsoft.com/office/drawing/2014/main" id="{938A5650-DF0B-FBEB-F0C0-05F9F90C2369}"/>
                </a:ext>
              </a:extLst>
            </p:cNvPr>
            <p:cNvSpPr txBox="1"/>
            <p:nvPr/>
          </p:nvSpPr>
          <p:spPr>
            <a:xfrm>
              <a:off x="8194896" y="764857"/>
              <a:ext cx="1457268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Pirtobrutinib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90DA4927-5AF9-EB5E-7877-3D8E743436D9}"/>
              </a:ext>
            </a:extLst>
          </p:cNvPr>
          <p:cNvGrpSpPr/>
          <p:nvPr/>
        </p:nvGrpSpPr>
        <p:grpSpPr>
          <a:xfrm>
            <a:off x="4527242" y="4831090"/>
            <a:ext cx="1074507" cy="480640"/>
            <a:chOff x="9339528" y="740785"/>
            <a:chExt cx="1201959" cy="665025"/>
          </a:xfrm>
        </p:grpSpPr>
        <p:sp>
          <p:nvSpPr>
            <p:cNvPr id="38" name="Rectangle: Top Corners Rounded 37">
              <a:extLst>
                <a:ext uri="{FF2B5EF4-FFF2-40B4-BE49-F238E27FC236}">
                  <a16:creationId xmlns:a16="http://schemas.microsoft.com/office/drawing/2014/main" id="{07196A22-34F0-1BE0-3631-1CC99C7A0B96}"/>
                </a:ext>
              </a:extLst>
            </p:cNvPr>
            <p:cNvSpPr/>
            <p:nvPr/>
          </p:nvSpPr>
          <p:spPr>
            <a:xfrm>
              <a:off x="9339528" y="740785"/>
              <a:ext cx="1201959" cy="665025"/>
            </a:xfrm>
            <a:prstGeom prst="round2Same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TextBox 11">
              <a:extLst>
                <a:ext uri="{FF2B5EF4-FFF2-40B4-BE49-F238E27FC236}">
                  <a16:creationId xmlns:a16="http://schemas.microsoft.com/office/drawing/2014/main" id="{D92FFC5D-7487-1B87-4570-A7860F0C51A2}"/>
                </a:ext>
              </a:extLst>
            </p:cNvPr>
            <p:cNvSpPr txBox="1"/>
            <p:nvPr/>
          </p:nvSpPr>
          <p:spPr>
            <a:xfrm>
              <a:off x="9422321" y="811687"/>
              <a:ext cx="103637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5pPr>
              <a:lvl6pPr marL="22860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6pPr>
              <a:lvl7pPr marL="27432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7pPr>
              <a:lvl8pPr marL="32004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8pPr>
              <a:lvl9pPr marL="3657600" algn="l" defTabSz="457200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ヒラギノ角ゴ Pro W3" charset="0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IdelaR</a:t>
              </a: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/BR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charset="0"/>
                  <a:cs typeface="+mn-cs"/>
                </a:rPr>
                <a:t>n=119</a:t>
              </a:r>
            </a:p>
          </p:txBody>
        </p:sp>
      </p:grpSp>
      <p:sp>
        <p:nvSpPr>
          <p:cNvPr id="40" name="TextBox 16">
            <a:extLst>
              <a:ext uri="{FF2B5EF4-FFF2-40B4-BE49-F238E27FC236}">
                <a16:creationId xmlns:a16="http://schemas.microsoft.com/office/drawing/2014/main" id="{F0E0E1C9-440C-3319-67DD-9C80219E0CCE}"/>
              </a:ext>
            </a:extLst>
          </p:cNvPr>
          <p:cNvSpPr txBox="1"/>
          <p:nvPr/>
        </p:nvSpPr>
        <p:spPr>
          <a:xfrm>
            <a:off x="1842063" y="928243"/>
            <a:ext cx="23664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Venetoclax Na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ï</a:t>
            </a: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ve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n=59/arm</a:t>
            </a:r>
          </a:p>
        </p:txBody>
      </p:sp>
      <p:sp>
        <p:nvSpPr>
          <p:cNvPr id="41" name="TextBox 16">
            <a:extLst>
              <a:ext uri="{FF2B5EF4-FFF2-40B4-BE49-F238E27FC236}">
                <a16:creationId xmlns:a16="http://schemas.microsoft.com/office/drawing/2014/main" id="{9BD8BD74-CD68-9A9D-92B9-F0ABBF275FD7}"/>
              </a:ext>
            </a:extLst>
          </p:cNvPr>
          <p:cNvSpPr txBox="1"/>
          <p:nvPr/>
        </p:nvSpPr>
        <p:spPr>
          <a:xfrm>
            <a:off x="8059018" y="928243"/>
            <a:ext cx="2366461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ヒラギノ角ゴ Pro W3" charset="0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Venetoclax </a:t>
            </a: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Treated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+mn-cs"/>
              </a:rPr>
              <a:t>n=60/arm</a:t>
            </a:r>
            <a:endParaRPr kumimoji="0" lang="pt-BR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23DE1EE-A61A-99A4-6B92-4CE35A0B62C9}"/>
              </a:ext>
            </a:extLst>
          </p:cNvPr>
          <p:cNvSpPr txBox="1"/>
          <p:nvPr/>
        </p:nvSpPr>
        <p:spPr>
          <a:xfrm>
            <a:off x="8059018" y="6413499"/>
            <a:ext cx="385358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Sharman J et al ASH 2024;Abstract 866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4E0A5F-0CC3-C018-544E-1ABCC2C72819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109948775"/>
      </p:ext>
    </p:extLst>
  </p:cSld>
  <p:clrMapOvr>
    <a:masterClrMapping/>
  </p:clrMapOvr>
  <p:transition spd="med"/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79334A-CBB3-3CDA-292E-B512F527FD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99CE-CD91-8735-D4F3-1AA87E614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BRUIN 32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1C39D46-BC8E-8AD6-5123-8698636D12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3718" y="1052426"/>
            <a:ext cx="10699376" cy="5674769"/>
          </a:xfrm>
        </p:spPr>
        <p:txBody>
          <a:bodyPr>
            <a:normAutofit/>
          </a:bodyPr>
          <a:lstStyle/>
          <a:p>
            <a:r>
              <a:rPr lang="en-US" b="1" dirty="0"/>
              <a:t>First phase 3 registration trial in patients with prior </a:t>
            </a:r>
            <a:r>
              <a:rPr lang="en-US" b="1" dirty="0" err="1"/>
              <a:t>cBTKi</a:t>
            </a:r>
            <a:r>
              <a:rPr lang="en-US" b="1" dirty="0"/>
              <a:t> treatment </a:t>
            </a:r>
          </a:p>
          <a:p>
            <a:r>
              <a:rPr lang="en-US" b="1" dirty="0" err="1"/>
              <a:t>Pirtobrutinib</a:t>
            </a:r>
            <a:r>
              <a:rPr lang="en-US" b="1" dirty="0"/>
              <a:t> improved PFS compared to </a:t>
            </a:r>
            <a:r>
              <a:rPr lang="en-US" b="1" dirty="0" err="1"/>
              <a:t>IdelaR</a:t>
            </a:r>
            <a:r>
              <a:rPr lang="en-US" b="1" dirty="0"/>
              <a:t>/BR </a:t>
            </a:r>
          </a:p>
          <a:p>
            <a:r>
              <a:rPr lang="en-US" b="1" dirty="0"/>
              <a:t>Outcomes are poor overall, underscoring the high risk nature of this group</a:t>
            </a:r>
          </a:p>
          <a:p>
            <a:r>
              <a:rPr lang="en-US" b="1" dirty="0"/>
              <a:t>Idela-R has activity, with about one year of clinical benefit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3D32705-8504-FC5E-EA51-3DE48384293F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635314534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C4879EFC-8E62-4E00-973C-C45EE9EC67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C8DB7A3-4FFC-B8D3-EA76-E853BCB013F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218" y="174010"/>
            <a:ext cx="10909640" cy="710731"/>
          </a:xfrm>
        </p:spPr>
        <p:txBody>
          <a:bodyPr anchor="ctr">
            <a:normAutofit fontScale="90000"/>
          </a:bodyPr>
          <a:lstStyle/>
          <a:p>
            <a:pPr>
              <a:lnSpc>
                <a:spcPct val="90000"/>
              </a:lnSpc>
            </a:pPr>
            <a:r>
              <a:rPr lang="en-US" sz="4600" b="1" dirty="0" err="1"/>
              <a:t>Pirtobrutinib</a:t>
            </a:r>
            <a:r>
              <a:rPr lang="en-US" sz="4600" b="1" dirty="0"/>
              <a:t> + </a:t>
            </a:r>
            <a:r>
              <a:rPr lang="en-US" sz="4600" b="1" dirty="0" err="1"/>
              <a:t>Venetoclax</a:t>
            </a:r>
            <a:r>
              <a:rPr lang="en-US" sz="4600" b="1" dirty="0"/>
              <a:t> +/- Rituximab</a:t>
            </a:r>
          </a:p>
        </p:txBody>
      </p:sp>
      <p:sp>
        <p:nvSpPr>
          <p:cNvPr id="13" name="sketch line">
            <a:extLst>
              <a:ext uri="{FF2B5EF4-FFF2-40B4-BE49-F238E27FC236}">
                <a16:creationId xmlns:a16="http://schemas.microsoft.com/office/drawing/2014/main" id="{D6A9C53F-5F90-40A5-8C85-5412D39C8C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50080" y="1850683"/>
            <a:ext cx="3291840" cy="18288"/>
          </a:xfrm>
          <a:custGeom>
            <a:avLst/>
            <a:gdLst>
              <a:gd name="connsiteX0" fmla="*/ 0 w 3291840"/>
              <a:gd name="connsiteY0" fmla="*/ 0 h 18288"/>
              <a:gd name="connsiteX1" fmla="*/ 658368 w 3291840"/>
              <a:gd name="connsiteY1" fmla="*/ 0 h 18288"/>
              <a:gd name="connsiteX2" fmla="*/ 1283818 w 3291840"/>
              <a:gd name="connsiteY2" fmla="*/ 0 h 18288"/>
              <a:gd name="connsiteX3" fmla="*/ 1909267 w 3291840"/>
              <a:gd name="connsiteY3" fmla="*/ 0 h 18288"/>
              <a:gd name="connsiteX4" fmla="*/ 2633472 w 3291840"/>
              <a:gd name="connsiteY4" fmla="*/ 0 h 18288"/>
              <a:gd name="connsiteX5" fmla="*/ 3291840 w 3291840"/>
              <a:gd name="connsiteY5" fmla="*/ 0 h 18288"/>
              <a:gd name="connsiteX6" fmla="*/ 3291840 w 3291840"/>
              <a:gd name="connsiteY6" fmla="*/ 18288 h 18288"/>
              <a:gd name="connsiteX7" fmla="*/ 2633472 w 3291840"/>
              <a:gd name="connsiteY7" fmla="*/ 18288 h 18288"/>
              <a:gd name="connsiteX8" fmla="*/ 2073859 w 3291840"/>
              <a:gd name="connsiteY8" fmla="*/ 18288 h 18288"/>
              <a:gd name="connsiteX9" fmla="*/ 1448410 w 3291840"/>
              <a:gd name="connsiteY9" fmla="*/ 18288 h 18288"/>
              <a:gd name="connsiteX10" fmla="*/ 822960 w 3291840"/>
              <a:gd name="connsiteY10" fmla="*/ 18288 h 18288"/>
              <a:gd name="connsiteX11" fmla="*/ 0 w 3291840"/>
              <a:gd name="connsiteY11" fmla="*/ 18288 h 18288"/>
              <a:gd name="connsiteX12" fmla="*/ 0 w 329184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291840" h="18288" fill="none" extrusionOk="0">
                <a:moveTo>
                  <a:pt x="0" y="0"/>
                </a:moveTo>
                <a:cubicBezTo>
                  <a:pt x="173077" y="-20031"/>
                  <a:pt x="443104" y="6424"/>
                  <a:pt x="658368" y="0"/>
                </a:cubicBezTo>
                <a:cubicBezTo>
                  <a:pt x="873632" y="-6424"/>
                  <a:pt x="1034028" y="11764"/>
                  <a:pt x="1283818" y="0"/>
                </a:cubicBezTo>
                <a:cubicBezTo>
                  <a:pt x="1533608" y="-11764"/>
                  <a:pt x="1691227" y="-30112"/>
                  <a:pt x="1909267" y="0"/>
                </a:cubicBezTo>
                <a:cubicBezTo>
                  <a:pt x="2127307" y="30112"/>
                  <a:pt x="2272465" y="-18735"/>
                  <a:pt x="2633472" y="0"/>
                </a:cubicBezTo>
                <a:cubicBezTo>
                  <a:pt x="2994479" y="18735"/>
                  <a:pt x="3023324" y="-32030"/>
                  <a:pt x="3291840" y="0"/>
                </a:cubicBezTo>
                <a:cubicBezTo>
                  <a:pt x="3291406" y="7551"/>
                  <a:pt x="3291373" y="9822"/>
                  <a:pt x="3291840" y="18288"/>
                </a:cubicBezTo>
                <a:cubicBezTo>
                  <a:pt x="3048445" y="38989"/>
                  <a:pt x="2846548" y="-14400"/>
                  <a:pt x="2633472" y="18288"/>
                </a:cubicBezTo>
                <a:cubicBezTo>
                  <a:pt x="2420396" y="50976"/>
                  <a:pt x="2304099" y="6336"/>
                  <a:pt x="2073859" y="18288"/>
                </a:cubicBezTo>
                <a:cubicBezTo>
                  <a:pt x="1843619" y="30240"/>
                  <a:pt x="1706926" y="10778"/>
                  <a:pt x="1448410" y="18288"/>
                </a:cubicBezTo>
                <a:cubicBezTo>
                  <a:pt x="1189894" y="25798"/>
                  <a:pt x="1002278" y="8992"/>
                  <a:pt x="822960" y="18288"/>
                </a:cubicBezTo>
                <a:cubicBezTo>
                  <a:pt x="643642" y="27585"/>
                  <a:pt x="307039" y="38051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291840" h="18288" stroke="0" extrusionOk="0">
                <a:moveTo>
                  <a:pt x="0" y="0"/>
                </a:moveTo>
                <a:cubicBezTo>
                  <a:pt x="195850" y="28018"/>
                  <a:pt x="434891" y="17390"/>
                  <a:pt x="592531" y="0"/>
                </a:cubicBezTo>
                <a:cubicBezTo>
                  <a:pt x="750171" y="-17390"/>
                  <a:pt x="1018709" y="32200"/>
                  <a:pt x="1316736" y="0"/>
                </a:cubicBezTo>
                <a:cubicBezTo>
                  <a:pt x="1614763" y="-32200"/>
                  <a:pt x="1696480" y="-11367"/>
                  <a:pt x="1876349" y="0"/>
                </a:cubicBezTo>
                <a:cubicBezTo>
                  <a:pt x="2056218" y="11367"/>
                  <a:pt x="2193364" y="13433"/>
                  <a:pt x="2435962" y="0"/>
                </a:cubicBezTo>
                <a:cubicBezTo>
                  <a:pt x="2678560" y="-13433"/>
                  <a:pt x="3010901" y="-42367"/>
                  <a:pt x="3291840" y="0"/>
                </a:cubicBezTo>
                <a:cubicBezTo>
                  <a:pt x="3291758" y="4406"/>
                  <a:pt x="3291751" y="9982"/>
                  <a:pt x="3291840" y="18288"/>
                </a:cubicBezTo>
                <a:cubicBezTo>
                  <a:pt x="3108993" y="14228"/>
                  <a:pt x="2952658" y="46900"/>
                  <a:pt x="2666390" y="18288"/>
                </a:cubicBezTo>
                <a:cubicBezTo>
                  <a:pt x="2380122" y="-10324"/>
                  <a:pt x="2263855" y="41055"/>
                  <a:pt x="2040941" y="18288"/>
                </a:cubicBezTo>
                <a:cubicBezTo>
                  <a:pt x="1818027" y="-4479"/>
                  <a:pt x="1675097" y="6509"/>
                  <a:pt x="1415491" y="18288"/>
                </a:cubicBezTo>
                <a:cubicBezTo>
                  <a:pt x="1155885" y="30068"/>
                  <a:pt x="852976" y="36210"/>
                  <a:pt x="691286" y="18288"/>
                </a:cubicBezTo>
                <a:cubicBezTo>
                  <a:pt x="529596" y="366"/>
                  <a:pt x="187183" y="13912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1275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New picture">
            <a:extLst>
              <a:ext uri="{FF2B5EF4-FFF2-40B4-BE49-F238E27FC236}">
                <a16:creationId xmlns:a16="http://schemas.microsoft.com/office/drawing/2014/main" id="{19613461-F333-F28B-A4BD-A79208EC53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5591" y="1192057"/>
            <a:ext cx="5107916" cy="518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pic>
        <p:nvPicPr>
          <p:cNvPr id="5" name="New picture">
            <a:extLst>
              <a:ext uri="{FF2B5EF4-FFF2-40B4-BE49-F238E27FC236}">
                <a16:creationId xmlns:a16="http://schemas.microsoft.com/office/drawing/2014/main" id="{C87A9A19-4532-C735-5ACB-5AB93C9E0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737606" y="1192056"/>
            <a:ext cx="6163659" cy="5185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86416E-E21C-6FB2-A052-BE23AFB7CB45}"/>
              </a:ext>
            </a:extLst>
          </p:cNvPr>
          <p:cNvSpPr txBox="1"/>
          <p:nvPr/>
        </p:nvSpPr>
        <p:spPr>
          <a:xfrm>
            <a:off x="8059018" y="6413499"/>
            <a:ext cx="385358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Roeker LE et al Blood 2024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8DCCD1C-9BD0-7A0C-9DC7-5F3D68819657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99589952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9C57205-F75C-ACE8-085B-9872B725519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48F1C-CED1-7F32-C337-36C39F3190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err="1"/>
              <a:t>Pirtobrutinib</a:t>
            </a:r>
            <a:r>
              <a:rPr lang="en-US" sz="4400" b="1" dirty="0"/>
              <a:t> Ven +/- R in R/R C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B2EA88-2145-0C6D-8D93-7F095BB8C90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30831"/>
            <a:ext cx="9753600" cy="5674769"/>
          </a:xfrm>
        </p:spPr>
        <p:txBody>
          <a:bodyPr>
            <a:normAutofit/>
          </a:bodyPr>
          <a:lstStyle/>
          <a:p>
            <a:r>
              <a:rPr lang="en-US" sz="3600" b="1" dirty="0"/>
              <a:t>Phase 1 study – well tolerated</a:t>
            </a:r>
          </a:p>
          <a:p>
            <a:r>
              <a:rPr lang="en-US" sz="3600" b="1" dirty="0"/>
              <a:t>High ORR and </a:t>
            </a:r>
            <a:r>
              <a:rPr lang="en-US" sz="3600" b="1" dirty="0" err="1"/>
              <a:t>uMRD</a:t>
            </a:r>
            <a:endParaRPr lang="en-US" sz="3600" b="1" dirty="0"/>
          </a:p>
          <a:p>
            <a:r>
              <a:rPr lang="en-US" sz="3600" b="1" dirty="0"/>
              <a:t>About 20% progression during the two years of therapy </a:t>
            </a:r>
          </a:p>
          <a:p>
            <a:r>
              <a:rPr lang="en-US" sz="3600" b="1" dirty="0"/>
              <a:t>Need longer follow-up after discontinuation of therapy at 2 yrs </a:t>
            </a:r>
          </a:p>
          <a:p>
            <a:endParaRPr lang="en-US" sz="3600" b="1" dirty="0"/>
          </a:p>
          <a:p>
            <a:r>
              <a:rPr lang="en-US" sz="3600" b="1" dirty="0"/>
              <a:t>Basis of fully accrued phase 3 registration trial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D9F8AEA-E759-9EE1-387B-DE111043FDC2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48299592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5B64A98-607A-2BC5-A814-5267B1320CB2}"/>
              </a:ext>
            </a:extLst>
          </p:cNvPr>
          <p:cNvSpPr txBox="1">
            <a:spLocks/>
          </p:cNvSpPr>
          <p:nvPr/>
        </p:nvSpPr>
        <p:spPr bwMode="auto">
          <a:xfrm>
            <a:off x="82704" y="33953"/>
            <a:ext cx="12159114" cy="961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0949" tIns="45474" rIns="90949" bIns="45474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5pPr>
            <a:lvl6pPr marL="454703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6pPr>
            <a:lvl7pPr marL="909214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7pPr>
            <a:lvl8pPr marL="1363805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8pPr>
            <a:lvl9pPr marL="1818403" algn="ctr" rtl="0" eaLnBrk="0" fontAlgn="base" hangingPunct="0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latin typeface="Arial" charset="0"/>
              </a:defRPr>
            </a:lvl9pPr>
          </a:lstStyle>
          <a:p>
            <a:pPr marL="109538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ＭＳ Ｐゴシック" charset="0"/>
              </a:rPr>
              <a:t>Pirtobrutinib, Venetoclax, Obinutuzumab Frontline</a:t>
            </a:r>
          </a:p>
          <a:p>
            <a:pPr marL="109538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j-ea"/>
                <a:cs typeface="ＭＳ Ｐゴシック" charset="0"/>
              </a:rPr>
              <a:t>MRD at Serial Time-Points in Blood and Bone Marrow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j-ea"/>
              <a:cs typeface="ＭＳ Ｐゴシック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85A0C72A-F7C8-497A-ABF2-5EAF638A3525}"/>
              </a:ext>
            </a:extLst>
          </p:cNvPr>
          <p:cNvGraphicFramePr/>
          <p:nvPr/>
        </p:nvGraphicFramePr>
        <p:xfrm>
          <a:off x="266700" y="1014935"/>
          <a:ext cx="11049000" cy="5776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A8F431F-A992-4A56-A1F4-25463749102F}"/>
              </a:ext>
            </a:extLst>
          </p:cNvPr>
          <p:cNvCxnSpPr>
            <a:cxnSpLocks/>
          </p:cNvCxnSpPr>
          <p:nvPr/>
        </p:nvCxnSpPr>
        <p:spPr>
          <a:xfrm flipV="1">
            <a:off x="1600200" y="1014935"/>
            <a:ext cx="0" cy="5068954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37641AA-7310-4DD9-907E-268D80D10DB2}"/>
              </a:ext>
            </a:extLst>
          </p:cNvPr>
          <p:cNvCxnSpPr/>
          <p:nvPr/>
        </p:nvCxnSpPr>
        <p:spPr>
          <a:xfrm>
            <a:off x="1600200" y="6079435"/>
            <a:ext cx="838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Left Brace 3">
            <a:extLst>
              <a:ext uri="{FF2B5EF4-FFF2-40B4-BE49-F238E27FC236}">
                <a16:creationId xmlns:a16="http://schemas.microsoft.com/office/drawing/2014/main" id="{C36BDCD1-620F-3870-7A7F-003D856F056E}"/>
              </a:ext>
            </a:extLst>
          </p:cNvPr>
          <p:cNvSpPr/>
          <p:nvPr/>
        </p:nvSpPr>
        <p:spPr>
          <a:xfrm flipH="1">
            <a:off x="4754000" y="1609376"/>
            <a:ext cx="95230" cy="4440553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1B24CAC-95CD-46C6-1CD3-069F4DDFA937}"/>
              </a:ext>
            </a:extLst>
          </p:cNvPr>
          <p:cNvSpPr txBox="1"/>
          <p:nvPr/>
        </p:nvSpPr>
        <p:spPr>
          <a:xfrm>
            <a:off x="4166538" y="3347662"/>
            <a:ext cx="989536" cy="63094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1%        U-MRD4</a:t>
            </a: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Left Brace 1">
            <a:extLst>
              <a:ext uri="{FF2B5EF4-FFF2-40B4-BE49-F238E27FC236}">
                <a16:creationId xmlns:a16="http://schemas.microsoft.com/office/drawing/2014/main" id="{ECEFBFAD-0E89-5CC9-01BD-BFB94E23C8E6}"/>
              </a:ext>
            </a:extLst>
          </p:cNvPr>
          <p:cNvSpPr/>
          <p:nvPr/>
        </p:nvSpPr>
        <p:spPr>
          <a:xfrm flipH="1">
            <a:off x="2901649" y="1524001"/>
            <a:ext cx="113736" cy="4525929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FE8450-B3DA-6AAE-262B-1684B5FE8D77}"/>
              </a:ext>
            </a:extLst>
          </p:cNvPr>
          <p:cNvSpPr txBox="1"/>
          <p:nvPr/>
        </p:nvSpPr>
        <p:spPr>
          <a:xfrm>
            <a:off x="2256869" y="3330462"/>
            <a:ext cx="1019767" cy="646331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3%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-MRD4</a:t>
            </a:r>
          </a:p>
        </p:txBody>
      </p:sp>
      <p:sp>
        <p:nvSpPr>
          <p:cNvPr id="8" name="Left Brace 7">
            <a:extLst>
              <a:ext uri="{FF2B5EF4-FFF2-40B4-BE49-F238E27FC236}">
                <a16:creationId xmlns:a16="http://schemas.microsoft.com/office/drawing/2014/main" id="{951D9409-6BAE-8E65-A7B9-1EDD057D5B8B}"/>
              </a:ext>
            </a:extLst>
          </p:cNvPr>
          <p:cNvSpPr/>
          <p:nvPr/>
        </p:nvSpPr>
        <p:spPr>
          <a:xfrm flipH="1">
            <a:off x="6638923" y="1193310"/>
            <a:ext cx="146321" cy="4856620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25F0D1-CED5-A6F1-AC48-5AB638EC7BF3}"/>
              </a:ext>
            </a:extLst>
          </p:cNvPr>
          <p:cNvSpPr txBox="1"/>
          <p:nvPr/>
        </p:nvSpPr>
        <p:spPr>
          <a:xfrm>
            <a:off x="6044346" y="3172810"/>
            <a:ext cx="987156" cy="63094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00%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-MRD4</a:t>
            </a:r>
          </a:p>
        </p:txBody>
      </p:sp>
      <p:sp>
        <p:nvSpPr>
          <p:cNvPr id="13" name="Left Brace 12">
            <a:extLst>
              <a:ext uri="{FF2B5EF4-FFF2-40B4-BE49-F238E27FC236}">
                <a16:creationId xmlns:a16="http://schemas.microsoft.com/office/drawing/2014/main" id="{81D9F284-6E4A-F116-563D-D789A195D104}"/>
              </a:ext>
            </a:extLst>
          </p:cNvPr>
          <p:cNvSpPr/>
          <p:nvPr/>
        </p:nvSpPr>
        <p:spPr>
          <a:xfrm flipH="1">
            <a:off x="8517212" y="1295408"/>
            <a:ext cx="146320" cy="4754522"/>
          </a:xfrm>
          <a:prstGeom prst="leftBrac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880877E-7427-0A6D-4EBC-E2B7C0BDB907}"/>
              </a:ext>
            </a:extLst>
          </p:cNvPr>
          <p:cNvSpPr txBox="1"/>
          <p:nvPr/>
        </p:nvSpPr>
        <p:spPr>
          <a:xfrm>
            <a:off x="7922634" y="3172810"/>
            <a:ext cx="1013868" cy="630942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98% 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75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-MRD4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9319D9-25CC-3CB6-1F6C-7D310CF4BABE}"/>
              </a:ext>
            </a:extLst>
          </p:cNvPr>
          <p:cNvSpPr txBox="1"/>
          <p:nvPr/>
        </p:nvSpPr>
        <p:spPr>
          <a:xfrm>
            <a:off x="8857946" y="6237312"/>
            <a:ext cx="32998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Jain, PVO in CLL, ASH 2024, Abs 1011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71DF88-5211-E351-05FB-E115B31BA4A0}"/>
              </a:ext>
            </a:extLst>
          </p:cNvPr>
          <p:cNvSpPr txBox="1"/>
          <p:nvPr/>
        </p:nvSpPr>
        <p:spPr>
          <a:xfrm>
            <a:off x="0" y="6496975"/>
            <a:ext cx="190499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3 pts off study for non progression are not included in this figur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B2A06417-309D-A6CF-EB61-B4A429C94151}"/>
              </a:ext>
            </a:extLst>
          </p:cNvPr>
          <p:cNvSpPr txBox="1"/>
          <p:nvPr/>
        </p:nvSpPr>
        <p:spPr>
          <a:xfrm>
            <a:off x="8758644" y="4181807"/>
            <a:ext cx="2911374" cy="175432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TOXICIT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G3-4 ANC 60% and </a:t>
            </a:r>
            <a:r>
              <a:rPr kumimoji="0" lang="en-US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plts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 14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58% pts required G-CSF</a:t>
            </a:r>
            <a:endParaRPr kumimoji="0" lang="en-US" alt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5CD462"/>
              </a:highlight>
              <a:uLnTx/>
              <a:uFillTx/>
              <a:latin typeface="Calibri" panose="020F0502020204030204"/>
              <a:ea typeface="ＭＳ Ｐゴシック" panose="020B0600070205080204" pitchFamily="34" charset="-128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4 pts neutropenic fev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Pirto</a:t>
            </a: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 dose-reduced in 21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ＭＳ Ｐゴシック" panose="020B0600070205080204" pitchFamily="34" charset="-128"/>
                <a:cs typeface="+mn-cs"/>
              </a:rPr>
              <a:t>Ven dose-reduced in 31%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BAEFA60-75D7-B65A-47FE-E1EA3ED04F14}"/>
              </a:ext>
            </a:extLst>
          </p:cNvPr>
          <p:cNvSpPr txBox="1"/>
          <p:nvPr/>
        </p:nvSpPr>
        <p:spPr>
          <a:xfrm>
            <a:off x="8758644" y="6505015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396533224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3823F4-FBB5-D169-B447-3996636BAA1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59ADBD-1C37-7686-5526-550566995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b="1" dirty="0" err="1"/>
              <a:t>Pirto</a:t>
            </a:r>
            <a:r>
              <a:rPr lang="en-US" b="1" dirty="0"/>
              <a:t> Ven Obin</a:t>
            </a:r>
            <a:endParaRPr lang="en-US" sz="4400" b="1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17686E8-E3F3-FE6A-FB7D-ED8ABFC973F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30831"/>
            <a:ext cx="9753600" cy="5674769"/>
          </a:xfrm>
        </p:spPr>
        <p:txBody>
          <a:bodyPr>
            <a:normAutofit/>
          </a:bodyPr>
          <a:lstStyle/>
          <a:p>
            <a:r>
              <a:rPr lang="en-US" sz="3600" b="1" dirty="0"/>
              <a:t>MDACC trial</a:t>
            </a:r>
          </a:p>
          <a:p>
            <a:r>
              <a:rPr lang="en-US" sz="3600" b="1" dirty="0"/>
              <a:t>Very high rates of </a:t>
            </a:r>
            <a:r>
              <a:rPr lang="en-US" sz="3600" b="1" dirty="0" err="1"/>
              <a:t>uMRD</a:t>
            </a:r>
            <a:endParaRPr lang="en-US" sz="3600" b="1" dirty="0"/>
          </a:p>
          <a:p>
            <a:r>
              <a:rPr lang="en-US" sz="3600" b="1" dirty="0"/>
              <a:t>BUT:  very high rates of heme tox and dose reductions</a:t>
            </a:r>
          </a:p>
          <a:p>
            <a:endParaRPr lang="en-US" sz="3600" b="1" dirty="0"/>
          </a:p>
          <a:p>
            <a:r>
              <a:rPr lang="en-US" sz="3600" b="1" dirty="0"/>
              <a:t>Needs confirmation in multicenter setting</a:t>
            </a:r>
          </a:p>
          <a:p>
            <a:r>
              <a:rPr lang="en-US" sz="3600" b="1" dirty="0"/>
              <a:t>Risk of using </a:t>
            </a:r>
            <a:r>
              <a:rPr lang="en-US" sz="3600" b="1" dirty="0" err="1"/>
              <a:t>pirto</a:t>
            </a:r>
            <a:r>
              <a:rPr lang="en-US" sz="3600" b="1" dirty="0"/>
              <a:t> before </a:t>
            </a:r>
            <a:r>
              <a:rPr lang="en-US" sz="3600" b="1" dirty="0" err="1"/>
              <a:t>cBTKi</a:t>
            </a:r>
            <a:r>
              <a:rPr lang="en-US" sz="3600" b="1" dirty="0"/>
              <a:t>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C38785E-F9F4-EE3A-E255-07BCFC26DECC}"/>
              </a:ext>
            </a:extLst>
          </p:cNvPr>
          <p:cNvSpPr txBox="1"/>
          <p:nvPr/>
        </p:nvSpPr>
        <p:spPr>
          <a:xfrm>
            <a:off x="9372600" y="6465585"/>
            <a:ext cx="274320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Author’s slid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1ACD2DB-9815-BA5B-1C13-50630EF7A534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87712919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628148B-4095-333D-F6EC-C32D8DF4B4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706" y="172384"/>
            <a:ext cx="10515600" cy="1325563"/>
          </a:xfrm>
        </p:spPr>
        <p:txBody>
          <a:bodyPr>
            <a:normAutofit/>
          </a:bodyPr>
          <a:lstStyle/>
          <a:p>
            <a:r>
              <a:rPr lang="en-US" sz="4800" b="1" dirty="0" err="1"/>
              <a:t>Pirtobrutinib</a:t>
            </a:r>
            <a:r>
              <a:rPr lang="en-US" sz="4800" b="1" dirty="0"/>
              <a:t> in R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648AC69-4D02-3BB5-C7A9-71C6080432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01639" y="172384"/>
            <a:ext cx="4170477" cy="6529814"/>
          </a:xfrm>
          <a:prstGeom prst="rect">
            <a:avLst/>
          </a:prstGeom>
        </p:spPr>
      </p:pic>
      <p:pic>
        <p:nvPicPr>
          <p:cNvPr id="1026" name="Picture 2" descr="Full size image for 'Pirtobrutinib, a highly selective, non-covalent (reversible) BTK inhibitor in patients with B-cell malignancies: analysis of the Richter transformation subgroup from the multicentre, open-label, phase 1/2 BRUIN study'">
            <a:extLst>
              <a:ext uri="{FF2B5EF4-FFF2-40B4-BE49-F238E27FC236}">
                <a16:creationId xmlns:a16="http://schemas.microsoft.com/office/drawing/2014/main" id="{F9F507EE-2AA7-2421-3597-BEC4BDBC765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411" y="1807899"/>
            <a:ext cx="7215752" cy="4295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E3B0804-613A-E5A1-8262-AB42A0F6AAFB}"/>
              </a:ext>
            </a:extLst>
          </p:cNvPr>
          <p:cNvSpPr txBox="1"/>
          <p:nvPr/>
        </p:nvSpPr>
        <p:spPr>
          <a:xfrm>
            <a:off x="0" y="6550223"/>
            <a:ext cx="3853581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Wierda WG et al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Lancet </a:t>
            </a:r>
            <a:r>
              <a:rPr kumimoji="0" lang="en-US" sz="1400" b="0" i="0" u="none" strike="noStrike" kern="0" cap="none" spc="0" normalizeH="0" baseline="0" noProof="0" dirty="0" err="1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Aptos" panose="020B00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Haematol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t> 2024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61BEB7E-99E6-F213-35E6-3A9E24364CA6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57218619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9A4F67-0B7D-4797-8F4A-16E1B04B4D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</a:t>
            </a:r>
            <a:r>
              <a:rPr lang="en-US" sz="4400" b="1" dirty="0" err="1"/>
              <a:t>Pirtobrutinib</a:t>
            </a:r>
            <a:r>
              <a:rPr lang="en-US" sz="4400" b="1" dirty="0"/>
              <a:t> in RT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211C7C-C524-4898-BE0C-0A6033EEC2B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50706" y="1753625"/>
            <a:ext cx="9753600" cy="4063281"/>
          </a:xfrm>
        </p:spPr>
        <p:txBody>
          <a:bodyPr>
            <a:normAutofit/>
          </a:bodyPr>
          <a:lstStyle/>
          <a:p>
            <a:r>
              <a:rPr lang="en-US" sz="3600" b="1" dirty="0"/>
              <a:t>Largest prospective trial (82 patients)</a:t>
            </a:r>
          </a:p>
          <a:p>
            <a:r>
              <a:rPr lang="en-US" sz="3600" b="1" dirty="0"/>
              <a:t>ORR 50%, CR 13%</a:t>
            </a:r>
          </a:p>
          <a:p>
            <a:r>
              <a:rPr lang="en-US" sz="3600" b="1" dirty="0"/>
              <a:t>DOR 7.4 </a:t>
            </a:r>
            <a:r>
              <a:rPr lang="en-US" sz="3600" b="1" dirty="0" err="1"/>
              <a:t>mos</a:t>
            </a:r>
            <a:r>
              <a:rPr lang="en-US" sz="3600" b="1" dirty="0"/>
              <a:t>, PFS 3.7 </a:t>
            </a:r>
            <a:r>
              <a:rPr lang="en-US" sz="3600" b="1" dirty="0" err="1"/>
              <a:t>mos</a:t>
            </a:r>
            <a:endParaRPr lang="en-US" sz="3600" b="1" dirty="0"/>
          </a:p>
          <a:p>
            <a:endParaRPr lang="en-US" sz="3600" b="1" dirty="0"/>
          </a:p>
          <a:p>
            <a:r>
              <a:rPr lang="en-US" sz="3600" b="1" dirty="0"/>
              <a:t>High response but short durability</a:t>
            </a:r>
          </a:p>
          <a:p>
            <a:r>
              <a:rPr lang="en-US" sz="3600" b="1" dirty="0"/>
              <a:t>Basis for combination therapies?</a:t>
            </a:r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01592E-736C-1D3F-0F79-710F10616757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4140188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F225B5-DDBB-F04C-87FC-4A699DA2706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03512" y="2060848"/>
            <a:ext cx="9072146" cy="2444995"/>
          </a:xfrm>
          <a:solidFill>
            <a:srgbClr val="E9F8FD"/>
          </a:solidFill>
          <a:ln>
            <a:solidFill>
              <a:schemeClr val="tx2">
                <a:lumMod val="50000"/>
                <a:lumOff val="50000"/>
              </a:schemeClr>
            </a:solidFill>
          </a:ln>
        </p:spPr>
        <p:txBody>
          <a:bodyPr lIns="365760" rIns="365760" anchor="ctr"/>
          <a:lstStyle/>
          <a:p>
            <a:pPr marL="98425" indent="0">
              <a:lnSpc>
                <a:spcPct val="100000"/>
              </a:lnSpc>
              <a:buNone/>
            </a:pPr>
            <a:r>
              <a:rPr lang="en-US" sz="3200" dirty="0"/>
              <a:t>This educational activity contains discussion of </a:t>
            </a:r>
            <a:br>
              <a:rPr lang="en-US" sz="3200" dirty="0"/>
            </a:br>
            <a:r>
              <a:rPr lang="en-US" sz="3200" dirty="0"/>
              <a:t>non-FDA-approved uses of agents and regimens. Please refer to official prescribing information for each product for approved indications. </a:t>
            </a:r>
          </a:p>
        </p:txBody>
      </p:sp>
    </p:spTree>
    <p:extLst>
      <p:ext uri="{BB962C8B-B14F-4D97-AF65-F5344CB8AC3E}">
        <p14:creationId xmlns:p14="http://schemas.microsoft.com/office/powerpoint/2010/main" val="2285533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465CF3-0004-7250-9B99-4D02C759976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2D47E51-8F61-F137-3D76-9453717448BB}"/>
              </a:ext>
            </a:extLst>
          </p:cNvPr>
          <p:cNvSpPr/>
          <p:nvPr/>
        </p:nvSpPr>
        <p:spPr bwMode="auto">
          <a:xfrm>
            <a:off x="767408" y="5733256"/>
            <a:ext cx="8856984" cy="648072"/>
          </a:xfrm>
          <a:prstGeom prst="rect">
            <a:avLst/>
          </a:prstGeom>
          <a:solidFill>
            <a:srgbClr val="0432FF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457200" rtl="0" eaLnBrk="1" fontAlgn="base" latinLnBrk="0" hangingPunct="0">
              <a:lnSpc>
                <a:spcPct val="93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45000"/>
              <a:buFont typeface="Wingdings" pitchFamily="2" charset="2"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 pitchFamily="18" charset="0"/>
              <a:ea typeface="MS PGothic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07AF156-18CE-974A-B197-F1B04B16E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19651" y="332656"/>
            <a:ext cx="10152697" cy="1143000"/>
          </a:xfrm>
        </p:spPr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AGENDA</a:t>
            </a:r>
            <a:br>
              <a:rPr lang="en-US" dirty="0"/>
            </a:br>
            <a:br>
              <a:rPr lang="en-US" sz="800" dirty="0"/>
            </a:br>
            <a:r>
              <a:rPr lang="en-US" dirty="0"/>
              <a:t>Year in Review: Management of </a:t>
            </a:r>
            <a:br>
              <a:rPr lang="en-US" dirty="0"/>
            </a:br>
            <a:r>
              <a:rPr lang="en-US" dirty="0"/>
              <a:t>Chronic Lymphocytic Leukemia (CLL)</a:t>
            </a:r>
            <a:endParaRPr lang="en-US" sz="24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9CC7AD-3FD8-FFA3-BF3C-B55F107B113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29533" y="1772816"/>
            <a:ext cx="10152698" cy="2736304"/>
          </a:xfrm>
        </p:spPr>
        <p:txBody>
          <a:bodyPr/>
          <a:lstStyle/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TRODUCTION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CLL Experience — 2000 to 2025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1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urrent Therapy Options with Covalent Bruton Tyrosine Kinase (BTK) Inhibitor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2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le of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netoclax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in the Treatment of CLL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</a:rPr>
              <a:t>MODULE 3: </a:t>
            </a:r>
            <a:r>
              <a:rPr lang="en-US" sz="2400" dirty="0">
                <a:solidFill>
                  <a:schemeClr val="tx1"/>
                </a:solidFill>
              </a:rPr>
              <a:t>AMPLIFY Trial and Other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vel BTK Inhibitor and Bcl-2 Inhibitor Combination Strategies</a:t>
            </a: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rgbClr val="3233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DULE 4: </a:t>
            </a:r>
            <a:r>
              <a:rPr lang="en-US" sz="2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covalent BTK Inhibitor </a:t>
            </a:r>
            <a:r>
              <a:rPr lang="en-US" sz="2400" dirty="0" err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irtobrutinib</a:t>
            </a:r>
            <a:endParaRPr lang="en-US" sz="24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98425" indent="0"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buNone/>
            </a:pPr>
            <a:r>
              <a:rPr lang="en-US" sz="2400" dirty="0">
                <a:solidFill>
                  <a:schemeClr val="bg1"/>
                </a:solidFill>
              </a:rPr>
              <a:t>MODULE 5: </a:t>
            </a:r>
            <a:r>
              <a:rPr lang="en-US" sz="24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AR T-Cell Therapy; Novel Agents</a:t>
            </a:r>
          </a:p>
        </p:txBody>
      </p:sp>
    </p:spTree>
    <p:extLst>
      <p:ext uri="{BB962C8B-B14F-4D97-AF65-F5344CB8AC3E}">
        <p14:creationId xmlns:p14="http://schemas.microsoft.com/office/powerpoint/2010/main" val="3441586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D7E3F6-95B5-95A6-794A-514DBD3F18B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F23B1CB2-E0E8-4DF0-DAD2-48B77990C1A3}"/>
              </a:ext>
            </a:extLst>
          </p:cNvPr>
          <p:cNvSpPr txBox="1"/>
          <p:nvPr/>
        </p:nvSpPr>
        <p:spPr>
          <a:xfrm>
            <a:off x="311696" y="404664"/>
            <a:ext cx="11568608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algn="ctr"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CAR (Chimeric Antigen Receptor) T-Cell Therapy; Novel Ag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EF0FCE0-CC8C-158B-89ED-3B2F16CF8DBD}"/>
              </a:ext>
            </a:extLst>
          </p:cNvPr>
          <p:cNvSpPr txBox="1"/>
          <p:nvPr/>
        </p:nvSpPr>
        <p:spPr>
          <a:xfrm>
            <a:off x="407368" y="1700808"/>
            <a:ext cx="11305256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ddiqi T et al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cabtagen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raleuce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cel)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(pts) with relapsed or refractory (R/R) chronic lymphocytic leukemia (CLL)/small lymphocytic lymphoma (SLL)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dated follow-up of TRANSCEND CLL 004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4633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erda WG et al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cabtagene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raleucel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(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iso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cel) combined with ibrutinib (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br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)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or patients (pts) with relapsed or refractory (R/R) chronic lymphocytic leukemia (CLL)/small lymphocytic lymphoma (SLL):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imary results from the open-label, phase 1/2 transcend CLL 004 study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887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nilov A et al. </a:t>
            </a: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pcoritamab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onotherapy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(pts) with relapsed or refractory (R/R) chronic lymphocytic leukemia (CLL): Results from CLL expansion and optimization cohorts of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PCORE CLL-1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883.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7571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1DD775-B71A-99DE-5192-F770D5EB79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81508"/>
            <a:ext cx="12192000" cy="550040"/>
          </a:xfrm>
        </p:spPr>
        <p:txBody>
          <a:bodyPr lIns="45720" rIns="45720" anchor="t" anchorCtr="0">
            <a:normAutofit fontScale="90000"/>
          </a:bodyPr>
          <a:lstStyle/>
          <a:p>
            <a:pPr algn="ctr"/>
            <a:r>
              <a:rPr lang="en-US" sz="3600" b="1" dirty="0"/>
              <a:t>TRANSCEND CLL 004: </a:t>
            </a:r>
            <a:r>
              <a:rPr lang="en-US" sz="3600" b="1" dirty="0" err="1"/>
              <a:t>lisocabtagene</a:t>
            </a:r>
            <a:r>
              <a:rPr lang="en-US" sz="3600" b="1" dirty="0"/>
              <a:t> </a:t>
            </a:r>
            <a:r>
              <a:rPr lang="en-US" sz="3600" b="1" dirty="0" err="1"/>
              <a:t>maraleucel</a:t>
            </a:r>
            <a:r>
              <a:rPr lang="en-US" sz="3600" b="1" dirty="0"/>
              <a:t> (</a:t>
            </a:r>
            <a:r>
              <a:rPr lang="en-US" sz="3600" b="1" dirty="0" err="1"/>
              <a:t>liso</a:t>
            </a:r>
            <a:r>
              <a:rPr lang="en-US" sz="3600" b="1" dirty="0"/>
              <a:t>-cel)</a:t>
            </a:r>
            <a:br>
              <a:rPr lang="en-US" sz="3600" b="1" dirty="0"/>
            </a:br>
            <a:endParaRPr lang="en-US" b="1" i="1" dirty="0"/>
          </a:p>
        </p:txBody>
      </p:sp>
      <p:sp>
        <p:nvSpPr>
          <p:cNvPr id="406" name="TextBox 405">
            <a:extLst>
              <a:ext uri="{FF2B5EF4-FFF2-40B4-BE49-F238E27FC236}">
                <a16:creationId xmlns:a16="http://schemas.microsoft.com/office/drawing/2014/main" id="{56AA7957-5AF4-35D9-8D14-E8CF2EEA83D4}"/>
              </a:ext>
            </a:extLst>
          </p:cNvPr>
          <p:cNvSpPr txBox="1"/>
          <p:nvPr/>
        </p:nvSpPr>
        <p:spPr>
          <a:xfrm>
            <a:off x="8666480" y="6536364"/>
            <a:ext cx="3525520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Siddiqi et al </a:t>
            </a:r>
            <a:r>
              <a:rPr kumimoji="0" lang="en-US" sz="1000" b="0" i="1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Blood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1A1A1A"/>
                </a:solidFill>
                <a:effectLst/>
                <a:uLnTx/>
                <a:uFillTx/>
                <a:latin typeface="Trebuchet MS" panose="020B0603020202020204"/>
                <a:ea typeface="+mn-ea"/>
                <a:cs typeface="+mn-cs"/>
              </a:rPr>
              <a:t> (2024) 144 (Supplement 1): 4633.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Trebuchet MS" panose="020B0603020202020204"/>
              <a:ea typeface="+mn-ea"/>
              <a:cs typeface="+mn-cs"/>
            </a:endParaRPr>
          </a:p>
        </p:txBody>
      </p:sp>
      <p:sp>
        <p:nvSpPr>
          <p:cNvPr id="526" name="TextBox 525">
            <a:extLst>
              <a:ext uri="{FF2B5EF4-FFF2-40B4-BE49-F238E27FC236}">
                <a16:creationId xmlns:a16="http://schemas.microsoft.com/office/drawing/2014/main" id="{63BE8FB5-9847-5EA5-E8DD-131D2A84B1CB}"/>
              </a:ext>
            </a:extLst>
          </p:cNvPr>
          <p:cNvSpPr txBox="1"/>
          <p:nvPr/>
        </p:nvSpPr>
        <p:spPr>
          <a:xfrm>
            <a:off x="4333240" y="6512755"/>
            <a:ext cx="352552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edian (95% CI) follow-up: 31.4 </a:t>
            </a:r>
            <a:r>
              <a:rPr kumimoji="0" lang="en-US" sz="1100" b="1" i="0" u="none" strike="noStrike" kern="1200" cap="none" spc="0" normalizeH="0" baseline="0" noProof="0" dirty="0" err="1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</a:t>
            </a: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srgbClr val="59545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(24.3—36.2)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9545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49" name="Group 548">
            <a:extLst>
              <a:ext uri="{FF2B5EF4-FFF2-40B4-BE49-F238E27FC236}">
                <a16:creationId xmlns:a16="http://schemas.microsoft.com/office/drawing/2014/main" id="{BC161691-0C7A-D224-73E9-F1C9567D90CA}"/>
              </a:ext>
            </a:extLst>
          </p:cNvPr>
          <p:cNvGrpSpPr/>
          <p:nvPr/>
        </p:nvGrpSpPr>
        <p:grpSpPr>
          <a:xfrm>
            <a:off x="154275" y="980160"/>
            <a:ext cx="11883451" cy="5598606"/>
            <a:chOff x="183741" y="936618"/>
            <a:chExt cx="11883451" cy="5598606"/>
          </a:xfrm>
        </p:grpSpPr>
        <p:grpSp>
          <p:nvGrpSpPr>
            <p:cNvPr id="548" name="Group 547">
              <a:extLst>
                <a:ext uri="{FF2B5EF4-FFF2-40B4-BE49-F238E27FC236}">
                  <a16:creationId xmlns:a16="http://schemas.microsoft.com/office/drawing/2014/main" id="{1118AA40-E893-9A1B-01B7-6BD0777C0212}"/>
                </a:ext>
              </a:extLst>
            </p:cNvPr>
            <p:cNvGrpSpPr/>
            <p:nvPr/>
          </p:nvGrpSpPr>
          <p:grpSpPr>
            <a:xfrm>
              <a:off x="183741" y="945048"/>
              <a:ext cx="5594754" cy="2835511"/>
              <a:chOff x="183741" y="1065698"/>
              <a:chExt cx="5594754" cy="2835511"/>
            </a:xfrm>
          </p:grpSpPr>
          <p:grpSp>
            <p:nvGrpSpPr>
              <p:cNvPr id="537" name="Group 536">
                <a:extLst>
                  <a:ext uri="{FF2B5EF4-FFF2-40B4-BE49-F238E27FC236}">
                    <a16:creationId xmlns:a16="http://schemas.microsoft.com/office/drawing/2014/main" id="{12D62689-E213-F775-2CA7-62845870580D}"/>
                  </a:ext>
                </a:extLst>
              </p:cNvPr>
              <p:cNvGrpSpPr/>
              <p:nvPr/>
            </p:nvGrpSpPr>
            <p:grpSpPr>
              <a:xfrm>
                <a:off x="183741" y="1065698"/>
                <a:ext cx="5594754" cy="2615776"/>
                <a:chOff x="3216071" y="2469382"/>
                <a:chExt cx="2620111" cy="1526019"/>
              </a:xfrm>
            </p:grpSpPr>
            <p:sp>
              <p:nvSpPr>
                <p:cNvPr id="59" name="object 402">
                  <a:extLst>
                    <a:ext uri="{FF2B5EF4-FFF2-40B4-BE49-F238E27FC236}">
                      <a16:creationId xmlns:a16="http://schemas.microsoft.com/office/drawing/2014/main" id="{994DFADA-5D92-933A-6296-A44A76222A48}"/>
                    </a:ext>
                  </a:extLst>
                </p:cNvPr>
                <p:cNvSpPr txBox="1"/>
                <p:nvPr/>
              </p:nvSpPr>
              <p:spPr>
                <a:xfrm>
                  <a:off x="3659844" y="2469382"/>
                  <a:ext cx="1595891" cy="250697"/>
                </a:xfrm>
                <a:prstGeom prst="rect">
                  <a:avLst/>
                </a:prstGeom>
              </p:spPr>
              <p:txBody>
                <a:bodyPr vert="horz" wrap="square" lIns="0" tIns="12700" rIns="0" bIns="0" rtlCol="0" anchor="b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Full Population at Dose-Level 2 (DL2)</a:t>
                  </a:r>
                  <a:endParaRPr kumimoji="0" lang="en-US" sz="1400" b="1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0" marR="5080" lvl="0" indent="0" algn="ctr" defTabSz="914400" rtl="0" eaLnBrk="1" fontAlgn="auto" latinLnBrk="0" hangingPunct="1">
                    <a:lnSpc>
                      <a:spcPct val="102699"/>
                    </a:lnSpc>
                    <a:spcBef>
                      <a:spcPts val="9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1" u="none" strike="noStrike" kern="1200" cap="none" spc="-2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rogression-Free Survival (PFS)</a:t>
                  </a:r>
                  <a:endParaRPr kumimoji="0" 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32" name="Group 531">
                  <a:extLst>
                    <a:ext uri="{FF2B5EF4-FFF2-40B4-BE49-F238E27FC236}">
                      <a16:creationId xmlns:a16="http://schemas.microsoft.com/office/drawing/2014/main" id="{E933B899-7AFA-27EC-8F16-79CACB1B2B54}"/>
                    </a:ext>
                  </a:extLst>
                </p:cNvPr>
                <p:cNvGrpSpPr/>
                <p:nvPr/>
              </p:nvGrpSpPr>
              <p:grpSpPr>
                <a:xfrm>
                  <a:off x="3216071" y="2778284"/>
                  <a:ext cx="2620111" cy="1217117"/>
                  <a:chOff x="3216071" y="2627852"/>
                  <a:chExt cx="2620111" cy="1217117"/>
                </a:xfrm>
              </p:grpSpPr>
              <p:sp>
                <p:nvSpPr>
                  <p:cNvPr id="47" name="object 390">
                    <a:extLst>
                      <a:ext uri="{FF2B5EF4-FFF2-40B4-BE49-F238E27FC236}">
                        <a16:creationId xmlns:a16="http://schemas.microsoft.com/office/drawing/2014/main" id="{E8D1985D-2F2A-82AF-AB6C-AAD94C11489C}"/>
                      </a:ext>
                    </a:extLst>
                  </p:cNvPr>
                  <p:cNvSpPr txBox="1"/>
                  <p:nvPr/>
                </p:nvSpPr>
                <p:spPr>
                  <a:xfrm>
                    <a:off x="3216071" y="2871221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1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PFS,</a:t>
                    </a:r>
                    <a:r>
                      <a:rPr kumimoji="0" sz="1200" b="1" i="0" u="none" strike="noStrike" kern="1200" cap="none" spc="85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</a:t>
                    </a:r>
                    <a:r>
                      <a:rPr kumimoji="0" sz="1200" b="1" i="0" u="none" strike="noStrike" kern="1200" cap="none" spc="-5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%</a:t>
                    </a:r>
                    <a:endParaRPr kumimoji="0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27" name="Group 526">
                    <a:extLst>
                      <a:ext uri="{FF2B5EF4-FFF2-40B4-BE49-F238E27FC236}">
                        <a16:creationId xmlns:a16="http://schemas.microsoft.com/office/drawing/2014/main" id="{B0C0E9B7-970F-F82F-2C13-26465569407D}"/>
                      </a:ext>
                    </a:extLst>
                  </p:cNvPr>
                  <p:cNvGrpSpPr/>
                  <p:nvPr/>
                </p:nvGrpSpPr>
                <p:grpSpPr>
                  <a:xfrm>
                    <a:off x="3309690" y="2627852"/>
                    <a:ext cx="2526492" cy="1217117"/>
                    <a:chOff x="3309690" y="2627852"/>
                    <a:chExt cx="2526492" cy="1217117"/>
                  </a:xfrm>
                </p:grpSpPr>
                <p:sp>
                  <p:nvSpPr>
                    <p:cNvPr id="58" name="object 401">
                      <a:extLst>
                        <a:ext uri="{FF2B5EF4-FFF2-40B4-BE49-F238E27FC236}">
                          <a16:creationId xmlns:a16="http://schemas.microsoft.com/office/drawing/2014/main" id="{41112889-49C4-FD7A-5481-FD25A8202C37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427921" y="2670659"/>
                      <a:ext cx="2340610" cy="109410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340609" h="1094104">
                          <a:moveTo>
                            <a:pt x="120911" y="1094068"/>
                          </a:moveTo>
                          <a:lnTo>
                            <a:pt x="120911" y="1062373"/>
                          </a:lnTo>
                        </a:path>
                        <a:path w="2340609" h="1094104">
                          <a:moveTo>
                            <a:pt x="0" y="0"/>
                          </a:moveTo>
                          <a:lnTo>
                            <a:pt x="23673" y="0"/>
                          </a:lnTo>
                        </a:path>
                        <a:path w="2340609" h="1094104">
                          <a:moveTo>
                            <a:pt x="0" y="207779"/>
                          </a:moveTo>
                          <a:lnTo>
                            <a:pt x="23673" y="207779"/>
                          </a:lnTo>
                        </a:path>
                        <a:path w="2340609" h="1094104">
                          <a:moveTo>
                            <a:pt x="0" y="415558"/>
                          </a:moveTo>
                          <a:lnTo>
                            <a:pt x="23673" y="415558"/>
                          </a:lnTo>
                        </a:path>
                        <a:path w="2340609" h="1094104">
                          <a:moveTo>
                            <a:pt x="0" y="622750"/>
                          </a:moveTo>
                          <a:lnTo>
                            <a:pt x="23673" y="622750"/>
                          </a:lnTo>
                        </a:path>
                        <a:path w="2340609" h="1094104">
                          <a:moveTo>
                            <a:pt x="0" y="103889"/>
                          </a:moveTo>
                          <a:lnTo>
                            <a:pt x="23673" y="103889"/>
                          </a:lnTo>
                        </a:path>
                        <a:path w="2340609" h="1094104">
                          <a:moveTo>
                            <a:pt x="0" y="311668"/>
                          </a:moveTo>
                          <a:lnTo>
                            <a:pt x="23673" y="311668"/>
                          </a:lnTo>
                        </a:path>
                        <a:path w="2340609" h="1094104">
                          <a:moveTo>
                            <a:pt x="0" y="519447"/>
                          </a:moveTo>
                          <a:lnTo>
                            <a:pt x="23673" y="519447"/>
                          </a:lnTo>
                        </a:path>
                        <a:path w="2340609" h="1094104">
                          <a:moveTo>
                            <a:pt x="0" y="726640"/>
                          </a:moveTo>
                          <a:lnTo>
                            <a:pt x="23673" y="726640"/>
                          </a:lnTo>
                        </a:path>
                        <a:path w="2340609" h="1094104">
                          <a:moveTo>
                            <a:pt x="0" y="830529"/>
                          </a:moveTo>
                          <a:lnTo>
                            <a:pt x="23673" y="830529"/>
                          </a:lnTo>
                        </a:path>
                        <a:path w="2340609" h="1094104">
                          <a:moveTo>
                            <a:pt x="0" y="934419"/>
                          </a:moveTo>
                          <a:lnTo>
                            <a:pt x="23673" y="934419"/>
                          </a:lnTo>
                        </a:path>
                        <a:path w="2340609" h="1094104">
                          <a:moveTo>
                            <a:pt x="0" y="1038308"/>
                          </a:moveTo>
                          <a:lnTo>
                            <a:pt x="23673" y="1038308"/>
                          </a:lnTo>
                        </a:path>
                        <a:path w="2340609" h="1094104">
                          <a:moveTo>
                            <a:pt x="2340205" y="1062373"/>
                          </a:moveTo>
                          <a:lnTo>
                            <a:pt x="28173" y="1062373"/>
                          </a:lnTo>
                        </a:path>
                        <a:path w="2340609" h="1094104">
                          <a:moveTo>
                            <a:pt x="28173" y="1062031"/>
                          </a:moveTo>
                          <a:lnTo>
                            <a:pt x="28173" y="0"/>
                          </a:lnTo>
                        </a:path>
                        <a:path w="2340609" h="1094104">
                          <a:moveTo>
                            <a:pt x="367428" y="1094068"/>
                          </a:moveTo>
                          <a:lnTo>
                            <a:pt x="367428" y="1062373"/>
                          </a:lnTo>
                        </a:path>
                        <a:path w="2340609" h="1094104">
                          <a:moveTo>
                            <a:pt x="614533" y="1094068"/>
                          </a:moveTo>
                          <a:lnTo>
                            <a:pt x="614533" y="1062373"/>
                          </a:lnTo>
                        </a:path>
                        <a:path w="2340609" h="1094104">
                          <a:moveTo>
                            <a:pt x="861050" y="1094068"/>
                          </a:moveTo>
                          <a:lnTo>
                            <a:pt x="861050" y="1062373"/>
                          </a:lnTo>
                        </a:path>
                        <a:path w="2340609" h="1094104">
                          <a:moveTo>
                            <a:pt x="1107568" y="1094068"/>
                          </a:moveTo>
                          <a:lnTo>
                            <a:pt x="1107568" y="1062373"/>
                          </a:lnTo>
                        </a:path>
                        <a:path w="2340609" h="1094104">
                          <a:moveTo>
                            <a:pt x="1354086" y="1094068"/>
                          </a:moveTo>
                          <a:lnTo>
                            <a:pt x="1354086" y="1062373"/>
                          </a:lnTo>
                        </a:path>
                        <a:path w="2340609" h="1094104">
                          <a:moveTo>
                            <a:pt x="1600603" y="1094068"/>
                          </a:moveTo>
                          <a:lnTo>
                            <a:pt x="1600603" y="1062373"/>
                          </a:lnTo>
                        </a:path>
                        <a:path w="2340609" h="1094104">
                          <a:moveTo>
                            <a:pt x="1847121" y="1094068"/>
                          </a:moveTo>
                          <a:lnTo>
                            <a:pt x="1847121" y="1062373"/>
                          </a:lnTo>
                        </a:path>
                        <a:path w="2340609" h="1094104">
                          <a:moveTo>
                            <a:pt x="2093638" y="1094068"/>
                          </a:moveTo>
                          <a:lnTo>
                            <a:pt x="2093638" y="1062373"/>
                          </a:lnTo>
                        </a:path>
                        <a:path w="2340609" h="1094104">
                          <a:moveTo>
                            <a:pt x="2340156" y="1094068"/>
                          </a:moveTo>
                          <a:lnTo>
                            <a:pt x="2340156" y="1062373"/>
                          </a:lnTo>
                        </a:path>
                      </a:pathLst>
                    </a:custGeom>
                    <a:ln w="7336">
                      <a:solidFill>
                        <a:schemeClr val="tx1"/>
                      </a:solidFill>
                    </a:ln>
                  </p:spPr>
                  <p:txBody>
                    <a:bodyPr wrap="square" lIns="0" tIns="0" rIns="0" bIns="0" rtlCol="0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Trebuchet MS" panose="020B0603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0" name="object 403">
                      <a:extLst>
                        <a:ext uri="{FF2B5EF4-FFF2-40B4-BE49-F238E27FC236}">
                          <a16:creationId xmlns:a16="http://schemas.microsoft.com/office/drawing/2014/main" id="{1EAA361A-68AA-30F9-9BBA-B168FF650BB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344505" y="2766496"/>
                      <a:ext cx="12684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rgbClr val="DF5F3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R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1" name="object 404">
                      <a:extLst>
                        <a:ext uri="{FF2B5EF4-FFF2-40B4-BE49-F238E27FC236}">
                          <a16:creationId xmlns:a16="http://schemas.microsoft.com/office/drawing/2014/main" id="{A2C5D46D-BB2D-5970-02A6-F1CF38AEDEB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697566" y="3100878"/>
                      <a:ext cx="432815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.9</a:t>
                      </a:r>
                      <a:r>
                        <a:rPr kumimoji="0" sz="1000" b="1" i="0" u="none" strike="noStrike" kern="1200" cap="none" spc="25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7.9—</a:t>
                      </a:r>
                      <a:r>
                        <a:rPr kumimoji="0" sz="1000" b="1" i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R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2" name="object 405">
                      <a:extLst>
                        <a:ext uri="{FF2B5EF4-FFF2-40B4-BE49-F238E27FC236}">
                          <a16:creationId xmlns:a16="http://schemas.microsoft.com/office/drawing/2014/main" id="{EDC0CA6C-6D4C-C82F-131B-7137311A465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071078" y="3269265"/>
                      <a:ext cx="435121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.0</a:t>
                      </a:r>
                      <a:r>
                        <a:rPr kumimoji="0" sz="1000" b="1" i="0" u="none" strike="noStrike" kern="1200" cap="none" spc="15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9.4—30.1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3" name="object 406">
                      <a:extLst>
                        <a:ext uri="{FF2B5EF4-FFF2-40B4-BE49-F238E27FC236}">
                          <a16:creationId xmlns:a16="http://schemas.microsoft.com/office/drawing/2014/main" id="{BE27C0DF-FA85-98A3-F1BC-F57A458E98A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556884" y="2707556"/>
                      <a:ext cx="21557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DF5F3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/CRi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4" name="object 407">
                      <a:extLst>
                        <a:ext uri="{FF2B5EF4-FFF2-40B4-BE49-F238E27FC236}">
                          <a16:creationId xmlns:a16="http://schemas.microsoft.com/office/drawing/2014/main" id="{6386BC24-5128-9E02-0239-4BCC379E5F32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4135912" y="3469368"/>
                      <a:ext cx="453653" cy="99722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254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205865" algn="l"/>
                        </a:tabLst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7</a:t>
                      </a:r>
                      <a:r>
                        <a:rPr kumimoji="0" sz="1000" b="1" i="0" u="none" strike="noStrike" kern="1200" cap="none" spc="2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.4—</a:t>
                      </a:r>
                      <a:r>
                        <a:rPr kumimoji="0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3)</a:t>
                      </a:r>
                      <a:endParaRPr kumimoji="0" sz="1000" b="0" i="0" u="none" strike="noStrike" kern="1200" cap="none" spc="0" normalizeH="0" baseline="15873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65" name="object 408">
                      <a:extLst>
                        <a:ext uri="{FF2B5EF4-FFF2-40B4-BE49-F238E27FC236}">
                          <a16:creationId xmlns:a16="http://schemas.microsoft.com/office/drawing/2014/main" id="{9961166C-C372-FABA-C391-864A3E09046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89774" y="2936840"/>
                      <a:ext cx="8890" cy="74930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890" h="74929">
                          <a:moveTo>
                            <a:pt x="8804" y="0"/>
                          </a:moveTo>
                          <a:lnTo>
                            <a:pt x="0" y="0"/>
                          </a:lnTo>
                          <a:lnTo>
                            <a:pt x="0" y="74542"/>
                          </a:lnTo>
                          <a:lnTo>
                            <a:pt x="8804" y="74542"/>
                          </a:lnTo>
                          <a:lnTo>
                            <a:pt x="8804" y="0"/>
                          </a:lnTo>
                          <a:close/>
                        </a:path>
                      </a:pathLst>
                    </a:custGeom>
                    <a:solidFill>
                      <a:srgbClr val="00A2C3"/>
                    </a:solidFill>
                  </p:spPr>
                  <p:txBody>
                    <a:bodyPr wrap="square" lIns="0" tIns="0" rIns="0" bIns="0" rtlCol="0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Trebuchet MS" panose="020B0603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66" name="object 409">
                      <a:extLst>
                        <a:ext uri="{FF2B5EF4-FFF2-40B4-BE49-F238E27FC236}">
                          <a16:creationId xmlns:a16="http://schemas.microsoft.com/office/drawing/2014/main" id="{94E4B5F2-5501-510A-75BB-08FF935C1A8A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3790361" y="3279617"/>
                      <a:ext cx="8890" cy="7429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8890" h="74295">
                          <a:moveTo>
                            <a:pt x="8804" y="0"/>
                          </a:moveTo>
                          <a:lnTo>
                            <a:pt x="0" y="0"/>
                          </a:lnTo>
                          <a:lnTo>
                            <a:pt x="0" y="73955"/>
                          </a:lnTo>
                          <a:lnTo>
                            <a:pt x="8804" y="73955"/>
                          </a:lnTo>
                          <a:lnTo>
                            <a:pt x="8804" y="0"/>
                          </a:lnTo>
                          <a:close/>
                        </a:path>
                      </a:pathLst>
                    </a:custGeom>
                    <a:solidFill>
                      <a:srgbClr val="585353"/>
                    </a:solidFill>
                  </p:spPr>
                  <p:txBody>
                    <a:bodyPr wrap="square" lIns="0" tIns="0" rIns="0" bIns="0" rtlCol="0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Trebuchet MS" panose="020B0603020202020204"/>
                        <a:ea typeface="+mn-ea"/>
                        <a:cs typeface="+mn-cs"/>
                      </a:endParaRPr>
                    </a:p>
                  </p:txBody>
                </p:sp>
                <p:grpSp>
                  <p:nvGrpSpPr>
                    <p:cNvPr id="67" name="object 410">
                      <a:extLst>
                        <a:ext uri="{FF2B5EF4-FFF2-40B4-BE49-F238E27FC236}">
                          <a16:creationId xmlns:a16="http://schemas.microsoft.com/office/drawing/2014/main" id="{0957EAE0-DE43-AD26-CAE3-FFEAD0D33AB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525067" y="2629280"/>
                      <a:ext cx="2059305" cy="1068705"/>
                      <a:chOff x="7286362" y="3336291"/>
                      <a:chExt cx="2059305" cy="1068705"/>
                    </a:xfrm>
                  </p:grpSpPr>
                  <p:sp>
                    <p:nvSpPr>
                      <p:cNvPr id="111" name="object 411">
                        <a:extLst>
                          <a:ext uri="{FF2B5EF4-FFF2-40B4-BE49-F238E27FC236}">
                            <a16:creationId xmlns:a16="http://schemas.microsoft.com/office/drawing/2014/main" id="{3324E04A-CF8A-1FBA-336A-658C6CFB474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90172" y="3384127"/>
                        <a:ext cx="2049145" cy="6985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49145" h="698500">
                            <a:moveTo>
                              <a:pt x="2049031" y="698466"/>
                            </a:moveTo>
                            <a:lnTo>
                              <a:pt x="1586419" y="698466"/>
                            </a:lnTo>
                            <a:lnTo>
                              <a:pt x="1586419" y="657184"/>
                            </a:lnTo>
                            <a:lnTo>
                              <a:pt x="1300967" y="657184"/>
                            </a:lnTo>
                            <a:lnTo>
                              <a:pt x="1300967" y="634587"/>
                            </a:lnTo>
                            <a:lnTo>
                              <a:pt x="1255821" y="634587"/>
                            </a:lnTo>
                            <a:lnTo>
                              <a:pt x="1255821" y="617321"/>
                            </a:lnTo>
                            <a:lnTo>
                              <a:pt x="1123318" y="617321"/>
                            </a:lnTo>
                            <a:lnTo>
                              <a:pt x="1123318" y="600006"/>
                            </a:lnTo>
                            <a:lnTo>
                              <a:pt x="1098030" y="600006"/>
                            </a:lnTo>
                            <a:lnTo>
                              <a:pt x="1098030" y="574718"/>
                            </a:lnTo>
                            <a:lnTo>
                              <a:pt x="925174" y="574718"/>
                            </a:lnTo>
                            <a:lnTo>
                              <a:pt x="925174" y="561414"/>
                            </a:lnTo>
                            <a:lnTo>
                              <a:pt x="886485" y="561414"/>
                            </a:lnTo>
                            <a:lnTo>
                              <a:pt x="886485" y="541556"/>
                            </a:lnTo>
                            <a:lnTo>
                              <a:pt x="760389" y="541556"/>
                            </a:lnTo>
                            <a:lnTo>
                              <a:pt x="760389" y="496214"/>
                            </a:lnTo>
                            <a:lnTo>
                              <a:pt x="574425" y="496214"/>
                            </a:lnTo>
                            <a:lnTo>
                              <a:pt x="574425" y="480953"/>
                            </a:lnTo>
                            <a:lnTo>
                              <a:pt x="560729" y="481785"/>
                            </a:lnTo>
                            <a:lnTo>
                              <a:pt x="561561" y="480953"/>
                            </a:lnTo>
                            <a:lnTo>
                              <a:pt x="562392" y="480122"/>
                            </a:lnTo>
                            <a:lnTo>
                              <a:pt x="561561" y="467649"/>
                            </a:lnTo>
                            <a:lnTo>
                              <a:pt x="512600" y="467649"/>
                            </a:lnTo>
                            <a:lnTo>
                              <a:pt x="512600" y="410129"/>
                            </a:lnTo>
                            <a:lnTo>
                              <a:pt x="442264" y="410129"/>
                            </a:lnTo>
                            <a:lnTo>
                              <a:pt x="442264" y="396824"/>
                            </a:lnTo>
                            <a:lnTo>
                              <a:pt x="401618" y="396824"/>
                            </a:lnTo>
                            <a:lnTo>
                              <a:pt x="401618" y="383227"/>
                            </a:lnTo>
                            <a:lnTo>
                              <a:pt x="393303" y="383227"/>
                            </a:lnTo>
                            <a:lnTo>
                              <a:pt x="393303" y="359602"/>
                            </a:lnTo>
                            <a:lnTo>
                              <a:pt x="359260" y="359602"/>
                            </a:lnTo>
                            <a:lnTo>
                              <a:pt x="359260" y="341945"/>
                            </a:lnTo>
                            <a:lnTo>
                              <a:pt x="281978" y="341945"/>
                            </a:lnTo>
                            <a:lnTo>
                              <a:pt x="281978" y="330646"/>
                            </a:lnTo>
                            <a:lnTo>
                              <a:pt x="275326" y="330646"/>
                            </a:lnTo>
                            <a:lnTo>
                              <a:pt x="275326" y="312304"/>
                            </a:lnTo>
                            <a:lnTo>
                              <a:pt x="263930" y="312304"/>
                            </a:lnTo>
                            <a:lnTo>
                              <a:pt x="263930" y="301005"/>
                            </a:lnTo>
                            <a:lnTo>
                              <a:pt x="252925" y="301005"/>
                            </a:lnTo>
                            <a:lnTo>
                              <a:pt x="252925" y="275669"/>
                            </a:lnTo>
                            <a:lnTo>
                              <a:pt x="244267" y="275669"/>
                            </a:lnTo>
                            <a:lnTo>
                              <a:pt x="244267" y="264077"/>
                            </a:lnTo>
                            <a:lnTo>
                              <a:pt x="208953" y="264077"/>
                            </a:lnTo>
                            <a:lnTo>
                              <a:pt x="208953" y="248082"/>
                            </a:lnTo>
                            <a:lnTo>
                              <a:pt x="169285" y="248082"/>
                            </a:lnTo>
                            <a:lnTo>
                              <a:pt x="169285" y="236148"/>
                            </a:lnTo>
                            <a:lnTo>
                              <a:pt x="148937" y="236148"/>
                            </a:lnTo>
                            <a:lnTo>
                              <a:pt x="148937" y="217512"/>
                            </a:lnTo>
                            <a:lnTo>
                              <a:pt x="136611" y="217512"/>
                            </a:lnTo>
                            <a:lnTo>
                              <a:pt x="136611" y="194915"/>
                            </a:lnTo>
                            <a:lnTo>
                              <a:pt x="118269" y="194915"/>
                            </a:lnTo>
                            <a:lnTo>
                              <a:pt x="118269" y="158671"/>
                            </a:lnTo>
                            <a:lnTo>
                              <a:pt x="103302" y="158671"/>
                            </a:lnTo>
                            <a:lnTo>
                              <a:pt x="103302" y="142383"/>
                            </a:lnTo>
                            <a:lnTo>
                              <a:pt x="94645" y="142383"/>
                            </a:lnTo>
                            <a:lnTo>
                              <a:pt x="94645" y="115383"/>
                            </a:lnTo>
                            <a:lnTo>
                              <a:pt x="59330" y="115383"/>
                            </a:lnTo>
                            <a:lnTo>
                              <a:pt x="59330" y="101981"/>
                            </a:lnTo>
                            <a:lnTo>
                              <a:pt x="50624" y="101981"/>
                            </a:lnTo>
                            <a:lnTo>
                              <a:pt x="50624" y="62069"/>
                            </a:lnTo>
                            <a:lnTo>
                              <a:pt x="39961" y="62069"/>
                            </a:lnTo>
                            <a:lnTo>
                              <a:pt x="39961" y="46124"/>
                            </a:lnTo>
                            <a:lnTo>
                              <a:pt x="32869" y="46124"/>
                            </a:lnTo>
                            <a:lnTo>
                              <a:pt x="33371" y="40163"/>
                            </a:lnTo>
                            <a:lnTo>
                              <a:pt x="34207" y="27048"/>
                            </a:lnTo>
                            <a:lnTo>
                              <a:pt x="34375" y="13933"/>
                            </a:lnTo>
                            <a:lnTo>
                              <a:pt x="32869" y="7972"/>
                            </a:lnTo>
                            <a:lnTo>
                              <a:pt x="15113" y="7972"/>
                            </a:lnTo>
                            <a:lnTo>
                              <a:pt x="15113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2" name="object 412">
                        <a:extLst>
                          <a:ext uri="{FF2B5EF4-FFF2-40B4-BE49-F238E27FC236}">
                            <a16:creationId xmlns:a16="http://schemas.microsoft.com/office/drawing/2014/main" id="{BE72B934-D26E-ACAB-C772-E2CCE07A56E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1617" y="3336291"/>
                        <a:ext cx="8890" cy="7493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929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4542"/>
                            </a:lnTo>
                            <a:lnTo>
                              <a:pt x="8804" y="74542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DF5F39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3" name="object 413">
                        <a:extLst>
                          <a:ext uri="{FF2B5EF4-FFF2-40B4-BE49-F238E27FC236}">
                            <a16:creationId xmlns:a16="http://schemas.microsoft.com/office/drawing/2014/main" id="{4F6D836C-64D4-804E-73BC-C03394C2B82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40930" y="3440184"/>
                        <a:ext cx="2002789" cy="6794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02790" h="679450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4549"/>
                            </a:lnTo>
                            <a:lnTo>
                              <a:pt x="8813" y="74549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2002790" h="679450">
                            <a:moveTo>
                              <a:pt x="19380" y="23482"/>
                            </a:moveTo>
                            <a:lnTo>
                              <a:pt x="10566" y="23482"/>
                            </a:lnTo>
                            <a:lnTo>
                              <a:pt x="10566" y="97434"/>
                            </a:lnTo>
                            <a:lnTo>
                              <a:pt x="19380" y="97434"/>
                            </a:lnTo>
                            <a:lnTo>
                              <a:pt x="19380" y="23482"/>
                            </a:lnTo>
                            <a:close/>
                          </a:path>
                          <a:path w="2002790" h="679450">
                            <a:moveTo>
                              <a:pt x="78066" y="86868"/>
                            </a:moveTo>
                            <a:lnTo>
                              <a:pt x="69265" y="86868"/>
                            </a:lnTo>
                            <a:lnTo>
                              <a:pt x="69265" y="160820"/>
                            </a:lnTo>
                            <a:lnTo>
                              <a:pt x="78066" y="160820"/>
                            </a:lnTo>
                            <a:lnTo>
                              <a:pt x="78066" y="86868"/>
                            </a:lnTo>
                            <a:close/>
                          </a:path>
                          <a:path w="2002790" h="679450">
                            <a:moveTo>
                              <a:pt x="95681" y="113868"/>
                            </a:moveTo>
                            <a:lnTo>
                              <a:pt x="86868" y="113868"/>
                            </a:lnTo>
                            <a:lnTo>
                              <a:pt x="86868" y="187820"/>
                            </a:lnTo>
                            <a:lnTo>
                              <a:pt x="95681" y="187820"/>
                            </a:lnTo>
                            <a:lnTo>
                              <a:pt x="95681" y="113868"/>
                            </a:lnTo>
                            <a:close/>
                          </a:path>
                          <a:path w="2002790" h="679450">
                            <a:moveTo>
                              <a:pt x="342785" y="262369"/>
                            </a:moveTo>
                            <a:lnTo>
                              <a:pt x="333984" y="262369"/>
                            </a:lnTo>
                            <a:lnTo>
                              <a:pt x="333984" y="336321"/>
                            </a:lnTo>
                            <a:lnTo>
                              <a:pt x="342785" y="336321"/>
                            </a:lnTo>
                            <a:lnTo>
                              <a:pt x="342785" y="262369"/>
                            </a:lnTo>
                            <a:close/>
                          </a:path>
                          <a:path w="2002790" h="679450">
                            <a:moveTo>
                              <a:pt x="492455" y="370370"/>
                            </a:moveTo>
                            <a:lnTo>
                              <a:pt x="483654" y="370370"/>
                            </a:lnTo>
                            <a:lnTo>
                              <a:pt x="483654" y="444322"/>
                            </a:lnTo>
                            <a:lnTo>
                              <a:pt x="492455" y="444322"/>
                            </a:lnTo>
                            <a:lnTo>
                              <a:pt x="492455" y="370370"/>
                            </a:lnTo>
                            <a:close/>
                          </a:path>
                          <a:path w="2002790" h="679450">
                            <a:moveTo>
                              <a:pt x="698474" y="395020"/>
                            </a:moveTo>
                            <a:lnTo>
                              <a:pt x="689673" y="395020"/>
                            </a:lnTo>
                            <a:lnTo>
                              <a:pt x="689673" y="469557"/>
                            </a:lnTo>
                            <a:lnTo>
                              <a:pt x="698474" y="469557"/>
                            </a:lnTo>
                            <a:lnTo>
                              <a:pt x="698474" y="395020"/>
                            </a:lnTo>
                            <a:close/>
                          </a:path>
                          <a:path w="2002790" h="679450">
                            <a:moveTo>
                              <a:pt x="718426" y="445490"/>
                            </a:moveTo>
                            <a:lnTo>
                              <a:pt x="709625" y="445490"/>
                            </a:lnTo>
                            <a:lnTo>
                              <a:pt x="709625" y="520039"/>
                            </a:lnTo>
                            <a:lnTo>
                              <a:pt x="718426" y="520039"/>
                            </a:lnTo>
                            <a:lnTo>
                              <a:pt x="718426" y="445490"/>
                            </a:lnTo>
                            <a:close/>
                          </a:path>
                          <a:path w="2002790" h="679450">
                            <a:moveTo>
                              <a:pt x="953795" y="474840"/>
                            </a:moveTo>
                            <a:lnTo>
                              <a:pt x="944994" y="474840"/>
                            </a:lnTo>
                            <a:lnTo>
                              <a:pt x="944994" y="549389"/>
                            </a:lnTo>
                            <a:lnTo>
                              <a:pt x="953795" y="549389"/>
                            </a:lnTo>
                            <a:lnTo>
                              <a:pt x="953795" y="474840"/>
                            </a:lnTo>
                            <a:close/>
                          </a:path>
                          <a:path w="2002790" h="679450">
                            <a:moveTo>
                              <a:pt x="973162" y="474840"/>
                            </a:moveTo>
                            <a:lnTo>
                              <a:pt x="964361" y="474840"/>
                            </a:lnTo>
                            <a:lnTo>
                              <a:pt x="964361" y="549389"/>
                            </a:lnTo>
                            <a:lnTo>
                              <a:pt x="973162" y="549389"/>
                            </a:lnTo>
                            <a:lnTo>
                              <a:pt x="973162" y="474840"/>
                            </a:lnTo>
                            <a:close/>
                          </a:path>
                          <a:path w="2002790" h="679450">
                            <a:moveTo>
                              <a:pt x="1014247" y="474840"/>
                            </a:moveTo>
                            <a:lnTo>
                              <a:pt x="1005446" y="474840"/>
                            </a:lnTo>
                            <a:lnTo>
                              <a:pt x="1005446" y="549389"/>
                            </a:lnTo>
                            <a:lnTo>
                              <a:pt x="1014247" y="549389"/>
                            </a:lnTo>
                            <a:lnTo>
                              <a:pt x="1014247" y="474840"/>
                            </a:lnTo>
                            <a:close/>
                          </a:path>
                          <a:path w="2002790" h="679450">
                            <a:moveTo>
                              <a:pt x="1061212" y="494207"/>
                            </a:moveTo>
                            <a:lnTo>
                              <a:pt x="1052398" y="494207"/>
                            </a:lnTo>
                            <a:lnTo>
                              <a:pt x="1052398" y="568756"/>
                            </a:lnTo>
                            <a:lnTo>
                              <a:pt x="1061212" y="568756"/>
                            </a:lnTo>
                            <a:lnTo>
                              <a:pt x="1061212" y="494207"/>
                            </a:lnTo>
                            <a:close/>
                          </a:path>
                          <a:path w="2002790" h="679450">
                            <a:moveTo>
                              <a:pt x="1178598" y="519455"/>
                            </a:moveTo>
                            <a:lnTo>
                              <a:pt x="1169797" y="519455"/>
                            </a:lnTo>
                            <a:lnTo>
                              <a:pt x="1169797" y="593407"/>
                            </a:lnTo>
                            <a:lnTo>
                              <a:pt x="1178598" y="593407"/>
                            </a:lnTo>
                            <a:lnTo>
                              <a:pt x="1178598" y="519455"/>
                            </a:lnTo>
                            <a:close/>
                          </a:path>
                          <a:path w="2002790" h="679450">
                            <a:moveTo>
                              <a:pt x="1193266" y="519455"/>
                            </a:moveTo>
                            <a:lnTo>
                              <a:pt x="1184465" y="519455"/>
                            </a:lnTo>
                            <a:lnTo>
                              <a:pt x="1184465" y="593407"/>
                            </a:lnTo>
                            <a:lnTo>
                              <a:pt x="1193266" y="593407"/>
                            </a:lnTo>
                            <a:lnTo>
                              <a:pt x="1193266" y="519455"/>
                            </a:lnTo>
                            <a:close/>
                          </a:path>
                          <a:path w="2002790" h="679450">
                            <a:moveTo>
                              <a:pt x="1242568" y="538822"/>
                            </a:moveTo>
                            <a:lnTo>
                              <a:pt x="1233766" y="538822"/>
                            </a:lnTo>
                            <a:lnTo>
                              <a:pt x="1233766" y="612775"/>
                            </a:lnTo>
                            <a:lnTo>
                              <a:pt x="1242568" y="612775"/>
                            </a:lnTo>
                            <a:lnTo>
                              <a:pt x="1242568" y="538822"/>
                            </a:lnTo>
                            <a:close/>
                          </a:path>
                          <a:path w="2002790" h="679450">
                            <a:moveTo>
                              <a:pt x="1267218" y="558190"/>
                            </a:moveTo>
                            <a:lnTo>
                              <a:pt x="1258417" y="558190"/>
                            </a:lnTo>
                            <a:lnTo>
                              <a:pt x="1258417" y="632726"/>
                            </a:lnTo>
                            <a:lnTo>
                              <a:pt x="1267218" y="632726"/>
                            </a:lnTo>
                            <a:lnTo>
                              <a:pt x="1267218" y="558190"/>
                            </a:lnTo>
                            <a:close/>
                          </a:path>
                          <a:path w="2002790" h="679450">
                            <a:moveTo>
                              <a:pt x="1320634" y="558190"/>
                            </a:moveTo>
                            <a:lnTo>
                              <a:pt x="1311833" y="558190"/>
                            </a:lnTo>
                            <a:lnTo>
                              <a:pt x="1311833" y="632726"/>
                            </a:lnTo>
                            <a:lnTo>
                              <a:pt x="1320634" y="632726"/>
                            </a:lnTo>
                            <a:lnTo>
                              <a:pt x="1320634" y="558190"/>
                            </a:lnTo>
                            <a:close/>
                          </a:path>
                          <a:path w="2002790" h="679450">
                            <a:moveTo>
                              <a:pt x="1452702" y="558190"/>
                            </a:moveTo>
                            <a:lnTo>
                              <a:pt x="1443901" y="558190"/>
                            </a:lnTo>
                            <a:lnTo>
                              <a:pt x="1443901" y="632726"/>
                            </a:lnTo>
                            <a:lnTo>
                              <a:pt x="1452702" y="632726"/>
                            </a:lnTo>
                            <a:lnTo>
                              <a:pt x="1452702" y="558190"/>
                            </a:lnTo>
                            <a:close/>
                          </a:path>
                          <a:path w="2002790" h="679450">
                            <a:moveTo>
                              <a:pt x="1481455" y="558190"/>
                            </a:moveTo>
                            <a:lnTo>
                              <a:pt x="1472653" y="558190"/>
                            </a:lnTo>
                            <a:lnTo>
                              <a:pt x="1472653" y="632726"/>
                            </a:lnTo>
                            <a:lnTo>
                              <a:pt x="1481455" y="632726"/>
                            </a:lnTo>
                            <a:lnTo>
                              <a:pt x="1481455" y="558190"/>
                            </a:lnTo>
                            <a:close/>
                          </a:path>
                          <a:path w="2002790" h="679450">
                            <a:moveTo>
                              <a:pt x="1678089" y="605142"/>
                            </a:moveTo>
                            <a:lnTo>
                              <a:pt x="1669288" y="605142"/>
                            </a:lnTo>
                            <a:lnTo>
                              <a:pt x="1669288" y="679094"/>
                            </a:lnTo>
                            <a:lnTo>
                              <a:pt x="1678089" y="679094"/>
                            </a:lnTo>
                            <a:lnTo>
                              <a:pt x="1678089" y="605142"/>
                            </a:lnTo>
                            <a:close/>
                          </a:path>
                          <a:path w="2002790" h="679450">
                            <a:moveTo>
                              <a:pt x="1707438" y="605142"/>
                            </a:moveTo>
                            <a:lnTo>
                              <a:pt x="1698625" y="605142"/>
                            </a:lnTo>
                            <a:lnTo>
                              <a:pt x="1698625" y="679094"/>
                            </a:lnTo>
                            <a:lnTo>
                              <a:pt x="1707438" y="679094"/>
                            </a:lnTo>
                            <a:lnTo>
                              <a:pt x="1707438" y="605142"/>
                            </a:lnTo>
                            <a:close/>
                          </a:path>
                          <a:path w="2002790" h="679450">
                            <a:moveTo>
                              <a:pt x="1733842" y="605142"/>
                            </a:moveTo>
                            <a:lnTo>
                              <a:pt x="1725041" y="605142"/>
                            </a:lnTo>
                            <a:lnTo>
                              <a:pt x="1725041" y="679094"/>
                            </a:lnTo>
                            <a:lnTo>
                              <a:pt x="1733842" y="679094"/>
                            </a:lnTo>
                            <a:lnTo>
                              <a:pt x="1733842" y="605142"/>
                            </a:lnTo>
                            <a:close/>
                          </a:path>
                          <a:path w="2002790" h="679450">
                            <a:moveTo>
                              <a:pt x="1927542" y="605142"/>
                            </a:moveTo>
                            <a:lnTo>
                              <a:pt x="1918741" y="605142"/>
                            </a:lnTo>
                            <a:lnTo>
                              <a:pt x="1918741" y="679094"/>
                            </a:lnTo>
                            <a:lnTo>
                              <a:pt x="1927542" y="679094"/>
                            </a:lnTo>
                            <a:lnTo>
                              <a:pt x="1927542" y="605142"/>
                            </a:lnTo>
                            <a:close/>
                          </a:path>
                          <a:path w="2002790" h="679450">
                            <a:moveTo>
                              <a:pt x="1953945" y="605142"/>
                            </a:moveTo>
                            <a:lnTo>
                              <a:pt x="1945144" y="605142"/>
                            </a:lnTo>
                            <a:lnTo>
                              <a:pt x="1945144" y="679094"/>
                            </a:lnTo>
                            <a:lnTo>
                              <a:pt x="1953945" y="679094"/>
                            </a:lnTo>
                            <a:lnTo>
                              <a:pt x="1953945" y="605142"/>
                            </a:lnTo>
                            <a:close/>
                          </a:path>
                          <a:path w="2002790" h="679450">
                            <a:moveTo>
                              <a:pt x="2002663" y="605142"/>
                            </a:moveTo>
                            <a:lnTo>
                              <a:pt x="1993861" y="605142"/>
                            </a:lnTo>
                            <a:lnTo>
                              <a:pt x="1993861" y="679094"/>
                            </a:lnTo>
                            <a:lnTo>
                              <a:pt x="2002663" y="679094"/>
                            </a:lnTo>
                            <a:lnTo>
                              <a:pt x="2002663" y="605142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4" name="object 414">
                        <a:extLst>
                          <a:ext uri="{FF2B5EF4-FFF2-40B4-BE49-F238E27FC236}">
                            <a16:creationId xmlns:a16="http://schemas.microsoft.com/office/drawing/2014/main" id="{57BDDAA9-3D28-A49A-F915-812F0369B6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45638" y="3582808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58535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5" name="object 415">
                        <a:extLst>
                          <a:ext uri="{FF2B5EF4-FFF2-40B4-BE49-F238E27FC236}">
                            <a16:creationId xmlns:a16="http://schemas.microsoft.com/office/drawing/2014/main" id="{E1D5AD88-EEC1-12F0-431A-86B23A7A3D9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35660" y="3532918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B94421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6" name="object 416">
                        <a:extLst>
                          <a:ext uri="{FF2B5EF4-FFF2-40B4-BE49-F238E27FC236}">
                            <a16:creationId xmlns:a16="http://schemas.microsoft.com/office/drawing/2014/main" id="{34F55D78-776F-CD57-3880-8B79E32C0A4A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410196" y="3719572"/>
                        <a:ext cx="1630045" cy="68516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30045" h="685164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630045" h="685164">
                            <a:moveTo>
                              <a:pt x="25234" y="55168"/>
                            </a:moveTo>
                            <a:lnTo>
                              <a:pt x="16433" y="55168"/>
                            </a:lnTo>
                            <a:lnTo>
                              <a:pt x="16433" y="129133"/>
                            </a:lnTo>
                            <a:lnTo>
                              <a:pt x="25234" y="129133"/>
                            </a:lnTo>
                            <a:lnTo>
                              <a:pt x="25234" y="55168"/>
                            </a:lnTo>
                            <a:close/>
                          </a:path>
                          <a:path w="1630045" h="685164">
                            <a:moveTo>
                              <a:pt x="644461" y="562889"/>
                            </a:moveTo>
                            <a:lnTo>
                              <a:pt x="635660" y="562889"/>
                            </a:lnTo>
                            <a:lnTo>
                              <a:pt x="635660" y="636841"/>
                            </a:lnTo>
                            <a:lnTo>
                              <a:pt x="644461" y="636841"/>
                            </a:lnTo>
                            <a:lnTo>
                              <a:pt x="644461" y="562889"/>
                            </a:lnTo>
                            <a:close/>
                          </a:path>
                          <a:path w="1630045" h="685164">
                            <a:moveTo>
                              <a:pt x="1629956" y="611593"/>
                            </a:moveTo>
                            <a:lnTo>
                              <a:pt x="1621142" y="611593"/>
                            </a:lnTo>
                            <a:lnTo>
                              <a:pt x="1621142" y="684974"/>
                            </a:lnTo>
                            <a:lnTo>
                              <a:pt x="1629956" y="684974"/>
                            </a:lnTo>
                            <a:lnTo>
                              <a:pt x="1629956" y="611593"/>
                            </a:lnTo>
                            <a:close/>
                          </a:path>
                        </a:pathLst>
                      </a:custGeom>
                      <a:solidFill>
                        <a:srgbClr val="58535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7" name="object 417">
                        <a:extLst>
                          <a:ext uri="{FF2B5EF4-FFF2-40B4-BE49-F238E27FC236}">
                            <a16:creationId xmlns:a16="http://schemas.microsoft.com/office/drawing/2014/main" id="{1B91685B-E298-BDC3-C53E-439A11665DD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298389" y="3378844"/>
                        <a:ext cx="1736089" cy="9874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736090" h="987425">
                            <a:moveTo>
                              <a:pt x="0" y="0"/>
                            </a:moveTo>
                            <a:lnTo>
                              <a:pt x="0" y="19515"/>
                            </a:lnTo>
                            <a:lnTo>
                              <a:pt x="23966" y="19515"/>
                            </a:lnTo>
                            <a:lnTo>
                              <a:pt x="23966" y="117095"/>
                            </a:lnTo>
                            <a:lnTo>
                              <a:pt x="41281" y="117095"/>
                            </a:lnTo>
                            <a:lnTo>
                              <a:pt x="41281" y="242164"/>
                            </a:lnTo>
                            <a:lnTo>
                              <a:pt x="86623" y="242164"/>
                            </a:lnTo>
                            <a:lnTo>
                              <a:pt x="86623" y="292788"/>
                            </a:lnTo>
                            <a:lnTo>
                              <a:pt x="97286" y="292788"/>
                            </a:lnTo>
                            <a:lnTo>
                              <a:pt x="97286" y="312549"/>
                            </a:lnTo>
                            <a:lnTo>
                              <a:pt x="107949" y="312549"/>
                            </a:lnTo>
                            <a:lnTo>
                              <a:pt x="107949" y="351287"/>
                            </a:lnTo>
                            <a:lnTo>
                              <a:pt x="116264" y="351287"/>
                            </a:lnTo>
                            <a:lnTo>
                              <a:pt x="116264" y="380586"/>
                            </a:lnTo>
                            <a:lnTo>
                              <a:pt x="125313" y="380586"/>
                            </a:lnTo>
                            <a:lnTo>
                              <a:pt x="125313" y="440454"/>
                            </a:lnTo>
                            <a:lnTo>
                              <a:pt x="138568" y="440454"/>
                            </a:lnTo>
                            <a:lnTo>
                              <a:pt x="138568" y="464372"/>
                            </a:lnTo>
                            <a:lnTo>
                              <a:pt x="138568" y="493622"/>
                            </a:lnTo>
                            <a:lnTo>
                              <a:pt x="162633" y="493622"/>
                            </a:lnTo>
                            <a:lnTo>
                              <a:pt x="162633" y="521159"/>
                            </a:lnTo>
                            <a:lnTo>
                              <a:pt x="200784" y="521159"/>
                            </a:lnTo>
                            <a:lnTo>
                              <a:pt x="200784" y="555887"/>
                            </a:lnTo>
                            <a:lnTo>
                              <a:pt x="237224" y="555887"/>
                            </a:lnTo>
                            <a:lnTo>
                              <a:pt x="237224" y="588120"/>
                            </a:lnTo>
                            <a:lnTo>
                              <a:pt x="246028" y="587924"/>
                            </a:lnTo>
                            <a:lnTo>
                              <a:pt x="246028" y="639723"/>
                            </a:lnTo>
                            <a:lnTo>
                              <a:pt x="261240" y="639723"/>
                            </a:lnTo>
                            <a:lnTo>
                              <a:pt x="261240" y="681200"/>
                            </a:lnTo>
                            <a:lnTo>
                              <a:pt x="272147" y="681200"/>
                            </a:lnTo>
                            <a:lnTo>
                              <a:pt x="272147" y="742291"/>
                            </a:lnTo>
                            <a:lnTo>
                              <a:pt x="354907" y="742291"/>
                            </a:lnTo>
                            <a:lnTo>
                              <a:pt x="354907" y="774378"/>
                            </a:lnTo>
                            <a:lnTo>
                              <a:pt x="381221" y="774378"/>
                            </a:lnTo>
                            <a:lnTo>
                              <a:pt x="381221" y="808959"/>
                            </a:lnTo>
                            <a:lnTo>
                              <a:pt x="389194" y="808959"/>
                            </a:lnTo>
                            <a:lnTo>
                              <a:pt x="389194" y="842219"/>
                            </a:lnTo>
                            <a:lnTo>
                              <a:pt x="503795" y="842219"/>
                            </a:lnTo>
                            <a:lnTo>
                              <a:pt x="503795" y="875479"/>
                            </a:lnTo>
                            <a:lnTo>
                              <a:pt x="511768" y="875479"/>
                            </a:lnTo>
                            <a:lnTo>
                              <a:pt x="511768" y="907419"/>
                            </a:lnTo>
                            <a:lnTo>
                              <a:pt x="741998" y="907419"/>
                            </a:lnTo>
                            <a:lnTo>
                              <a:pt x="741998" y="939359"/>
                            </a:lnTo>
                            <a:lnTo>
                              <a:pt x="920968" y="939359"/>
                            </a:lnTo>
                            <a:lnTo>
                              <a:pt x="920968" y="987244"/>
                            </a:lnTo>
                            <a:lnTo>
                              <a:pt x="1735601" y="987244"/>
                            </a:lnTo>
                          </a:path>
                        </a:pathLst>
                      </a:custGeom>
                      <a:ln w="12700">
                        <a:solidFill>
                          <a:srgbClr val="58585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8" name="object 418">
                        <a:extLst>
                          <a:ext uri="{FF2B5EF4-FFF2-40B4-BE49-F238E27FC236}">
                            <a16:creationId xmlns:a16="http://schemas.microsoft.com/office/drawing/2014/main" id="{8FCE4013-F505-8C95-2905-A9025B033EF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7193" y="3378844"/>
                        <a:ext cx="2034539" cy="74930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34540" h="749300">
                            <a:moveTo>
                              <a:pt x="0" y="0"/>
                            </a:moveTo>
                            <a:lnTo>
                              <a:pt x="372613" y="0"/>
                            </a:lnTo>
                            <a:lnTo>
                              <a:pt x="372613" y="19564"/>
                            </a:lnTo>
                            <a:lnTo>
                              <a:pt x="389928" y="19564"/>
                            </a:lnTo>
                            <a:lnTo>
                              <a:pt x="389928" y="45977"/>
                            </a:lnTo>
                            <a:lnTo>
                              <a:pt x="427248" y="45977"/>
                            </a:lnTo>
                            <a:lnTo>
                              <a:pt x="427110" y="52840"/>
                            </a:lnTo>
                            <a:lnTo>
                              <a:pt x="426881" y="67939"/>
                            </a:lnTo>
                            <a:lnTo>
                              <a:pt x="426835" y="83037"/>
                            </a:lnTo>
                            <a:lnTo>
                              <a:pt x="427248" y="89900"/>
                            </a:lnTo>
                            <a:lnTo>
                              <a:pt x="493279" y="89900"/>
                            </a:lnTo>
                            <a:lnTo>
                              <a:pt x="493609" y="97283"/>
                            </a:lnTo>
                            <a:lnTo>
                              <a:pt x="494160" y="113525"/>
                            </a:lnTo>
                            <a:lnTo>
                              <a:pt x="494270" y="129767"/>
                            </a:lnTo>
                            <a:lnTo>
                              <a:pt x="493279" y="137149"/>
                            </a:lnTo>
                            <a:lnTo>
                              <a:pt x="490932" y="137149"/>
                            </a:lnTo>
                            <a:lnTo>
                              <a:pt x="499296" y="137149"/>
                            </a:lnTo>
                            <a:lnTo>
                              <a:pt x="498924" y="143179"/>
                            </a:lnTo>
                            <a:lnTo>
                              <a:pt x="498305" y="156445"/>
                            </a:lnTo>
                            <a:lnTo>
                              <a:pt x="498181" y="169711"/>
                            </a:lnTo>
                            <a:lnTo>
                              <a:pt x="499296" y="175741"/>
                            </a:lnTo>
                            <a:lnTo>
                              <a:pt x="547621" y="175741"/>
                            </a:lnTo>
                            <a:lnTo>
                              <a:pt x="547339" y="182910"/>
                            </a:lnTo>
                            <a:lnTo>
                              <a:pt x="546869" y="198681"/>
                            </a:lnTo>
                            <a:lnTo>
                              <a:pt x="546775" y="214452"/>
                            </a:lnTo>
                            <a:lnTo>
                              <a:pt x="547621" y="221621"/>
                            </a:lnTo>
                            <a:lnTo>
                              <a:pt x="555936" y="221621"/>
                            </a:lnTo>
                            <a:lnTo>
                              <a:pt x="555936" y="263539"/>
                            </a:lnTo>
                            <a:lnTo>
                              <a:pt x="737889" y="263539"/>
                            </a:lnTo>
                            <a:lnTo>
                              <a:pt x="737889" y="315141"/>
                            </a:lnTo>
                            <a:lnTo>
                              <a:pt x="745226" y="315141"/>
                            </a:lnTo>
                            <a:lnTo>
                              <a:pt x="745226" y="358722"/>
                            </a:lnTo>
                            <a:lnTo>
                              <a:pt x="871860" y="358722"/>
                            </a:lnTo>
                            <a:lnTo>
                              <a:pt x="871860" y="411302"/>
                            </a:lnTo>
                            <a:lnTo>
                              <a:pt x="1080520" y="411302"/>
                            </a:lnTo>
                            <a:lnTo>
                              <a:pt x="1080520" y="480807"/>
                            </a:lnTo>
                            <a:lnTo>
                              <a:pt x="1108497" y="480807"/>
                            </a:lnTo>
                            <a:lnTo>
                              <a:pt x="1108497" y="555985"/>
                            </a:lnTo>
                            <a:lnTo>
                              <a:pt x="1287125" y="555985"/>
                            </a:lnTo>
                            <a:lnTo>
                              <a:pt x="1287125" y="655766"/>
                            </a:lnTo>
                            <a:lnTo>
                              <a:pt x="1568126" y="655766"/>
                            </a:lnTo>
                            <a:lnTo>
                              <a:pt x="1568126" y="748944"/>
                            </a:lnTo>
                            <a:lnTo>
                              <a:pt x="2034357" y="748944"/>
                            </a:lnTo>
                          </a:path>
                        </a:pathLst>
                      </a:custGeom>
                      <a:ln w="12700">
                        <a:solidFill>
                          <a:srgbClr val="C37900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19" name="object 419">
                        <a:extLst>
                          <a:ext uri="{FF2B5EF4-FFF2-40B4-BE49-F238E27FC236}">
                            <a16:creationId xmlns:a16="http://schemas.microsoft.com/office/drawing/2014/main" id="{293D73A1-B04C-7D89-E44E-3EAC93B2B7E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2195" y="3341581"/>
                        <a:ext cx="2039620" cy="82296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39620" h="822960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2039620" h="822960">
                            <a:moveTo>
                              <a:pt x="742492" y="260604"/>
                            </a:moveTo>
                            <a:lnTo>
                              <a:pt x="733691" y="260604"/>
                            </a:lnTo>
                            <a:lnTo>
                              <a:pt x="733691" y="334556"/>
                            </a:lnTo>
                            <a:lnTo>
                              <a:pt x="742492" y="334556"/>
                            </a:lnTo>
                            <a:lnTo>
                              <a:pt x="742492" y="260604"/>
                            </a:lnTo>
                            <a:close/>
                          </a:path>
                          <a:path w="2039620" h="822960">
                            <a:moveTo>
                              <a:pt x="997229" y="409105"/>
                            </a:moveTo>
                            <a:lnTo>
                              <a:pt x="988415" y="409105"/>
                            </a:lnTo>
                            <a:lnTo>
                              <a:pt x="988415" y="483057"/>
                            </a:lnTo>
                            <a:lnTo>
                              <a:pt x="997229" y="483057"/>
                            </a:lnTo>
                            <a:lnTo>
                              <a:pt x="997229" y="409105"/>
                            </a:lnTo>
                            <a:close/>
                          </a:path>
                          <a:path w="2039620" h="822960">
                            <a:moveTo>
                              <a:pt x="1047115" y="409105"/>
                            </a:moveTo>
                            <a:lnTo>
                              <a:pt x="1038313" y="409105"/>
                            </a:lnTo>
                            <a:lnTo>
                              <a:pt x="1038313" y="483057"/>
                            </a:lnTo>
                            <a:lnTo>
                              <a:pt x="1047115" y="483057"/>
                            </a:lnTo>
                            <a:lnTo>
                              <a:pt x="1047115" y="409105"/>
                            </a:lnTo>
                            <a:close/>
                          </a:path>
                          <a:path w="2039620" h="822960">
                            <a:moveTo>
                              <a:pt x="1095832" y="478358"/>
                            </a:moveTo>
                            <a:lnTo>
                              <a:pt x="1087031" y="478358"/>
                            </a:lnTo>
                            <a:lnTo>
                              <a:pt x="1087031" y="552310"/>
                            </a:lnTo>
                            <a:lnTo>
                              <a:pt x="1095832" y="552310"/>
                            </a:lnTo>
                            <a:lnTo>
                              <a:pt x="1095832" y="478358"/>
                            </a:lnTo>
                            <a:close/>
                          </a:path>
                          <a:path w="2039620" h="822960">
                            <a:moveTo>
                              <a:pt x="1224368" y="558774"/>
                            </a:moveTo>
                            <a:lnTo>
                              <a:pt x="1215567" y="558774"/>
                            </a:lnTo>
                            <a:lnTo>
                              <a:pt x="1215567" y="632726"/>
                            </a:lnTo>
                            <a:lnTo>
                              <a:pt x="1224368" y="632726"/>
                            </a:lnTo>
                            <a:lnTo>
                              <a:pt x="1224368" y="558774"/>
                            </a:lnTo>
                            <a:close/>
                          </a:path>
                          <a:path w="2039620" h="822960">
                            <a:moveTo>
                              <a:pt x="1718576" y="748944"/>
                            </a:moveTo>
                            <a:lnTo>
                              <a:pt x="1709775" y="748944"/>
                            </a:lnTo>
                            <a:lnTo>
                              <a:pt x="1709775" y="822896"/>
                            </a:lnTo>
                            <a:lnTo>
                              <a:pt x="1718576" y="822896"/>
                            </a:lnTo>
                            <a:lnTo>
                              <a:pt x="1718576" y="748944"/>
                            </a:lnTo>
                            <a:close/>
                          </a:path>
                          <a:path w="2039620" h="822960">
                            <a:moveTo>
                              <a:pt x="1985645" y="748944"/>
                            </a:moveTo>
                            <a:lnTo>
                              <a:pt x="1976843" y="748944"/>
                            </a:lnTo>
                            <a:lnTo>
                              <a:pt x="1976843" y="822896"/>
                            </a:lnTo>
                            <a:lnTo>
                              <a:pt x="1985645" y="822896"/>
                            </a:lnTo>
                            <a:lnTo>
                              <a:pt x="1985645" y="748944"/>
                            </a:lnTo>
                            <a:close/>
                          </a:path>
                          <a:path w="2039620" h="822960">
                            <a:moveTo>
                              <a:pt x="2039061" y="748944"/>
                            </a:moveTo>
                            <a:lnTo>
                              <a:pt x="2030247" y="748944"/>
                            </a:lnTo>
                            <a:lnTo>
                              <a:pt x="2030247" y="822896"/>
                            </a:lnTo>
                            <a:lnTo>
                              <a:pt x="2039061" y="822896"/>
                            </a:lnTo>
                            <a:lnTo>
                              <a:pt x="2039061" y="748944"/>
                            </a:lnTo>
                            <a:close/>
                          </a:path>
                        </a:pathLst>
                      </a:custGeom>
                      <a:solidFill>
                        <a:srgbClr val="C37900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0" name="object 420">
                        <a:extLst>
                          <a:ext uri="{FF2B5EF4-FFF2-40B4-BE49-F238E27FC236}">
                            <a16:creationId xmlns:a16="http://schemas.microsoft.com/office/drawing/2014/main" id="{60A3C083-FD0F-7BAD-EA9C-27CC75BBC418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306900" y="3378551"/>
                        <a:ext cx="1985645" cy="787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85645" h="78739">
                            <a:moveTo>
                              <a:pt x="0" y="0"/>
                            </a:moveTo>
                            <a:lnTo>
                              <a:pt x="1240805" y="0"/>
                            </a:lnTo>
                            <a:lnTo>
                              <a:pt x="1240805" y="78650"/>
                            </a:lnTo>
                            <a:lnTo>
                              <a:pt x="1985053" y="78650"/>
                            </a:lnTo>
                          </a:path>
                        </a:pathLst>
                      </a:custGeom>
                      <a:ln w="12700">
                        <a:solidFill>
                          <a:srgbClr val="DF5F39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1" name="object 421">
                        <a:extLst>
                          <a:ext uri="{FF2B5EF4-FFF2-40B4-BE49-F238E27FC236}">
                            <a16:creationId xmlns:a16="http://schemas.microsoft.com/office/drawing/2014/main" id="{22A05BB8-5EB6-53FD-ED3F-5CDC148084A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7667282" y="3341581"/>
                        <a:ext cx="1628775" cy="1549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28775" h="154939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628775" h="154939">
                            <a:moveTo>
                              <a:pt x="170205" y="0"/>
                            </a:moveTo>
                            <a:lnTo>
                              <a:pt x="161404" y="0"/>
                            </a:lnTo>
                            <a:lnTo>
                              <a:pt x="161404" y="73952"/>
                            </a:lnTo>
                            <a:lnTo>
                              <a:pt x="170205" y="73952"/>
                            </a:lnTo>
                            <a:lnTo>
                              <a:pt x="170205" y="0"/>
                            </a:lnTo>
                            <a:close/>
                          </a:path>
                          <a:path w="1628775" h="154939">
                            <a:moveTo>
                              <a:pt x="377405" y="0"/>
                            </a:moveTo>
                            <a:lnTo>
                              <a:pt x="368604" y="0"/>
                            </a:lnTo>
                            <a:lnTo>
                              <a:pt x="368604" y="73952"/>
                            </a:lnTo>
                            <a:lnTo>
                              <a:pt x="377405" y="73952"/>
                            </a:lnTo>
                            <a:lnTo>
                              <a:pt x="377405" y="0"/>
                            </a:lnTo>
                            <a:close/>
                          </a:path>
                          <a:path w="1628775" h="154939">
                            <a:moveTo>
                              <a:pt x="644461" y="0"/>
                            </a:moveTo>
                            <a:lnTo>
                              <a:pt x="635660" y="0"/>
                            </a:lnTo>
                            <a:lnTo>
                              <a:pt x="635660" y="73952"/>
                            </a:lnTo>
                            <a:lnTo>
                              <a:pt x="644461" y="73952"/>
                            </a:lnTo>
                            <a:lnTo>
                              <a:pt x="644461" y="0"/>
                            </a:lnTo>
                            <a:close/>
                          </a:path>
                          <a:path w="1628775" h="154939">
                            <a:moveTo>
                              <a:pt x="868095" y="0"/>
                            </a:moveTo>
                            <a:lnTo>
                              <a:pt x="859282" y="0"/>
                            </a:lnTo>
                            <a:lnTo>
                              <a:pt x="859282" y="73952"/>
                            </a:lnTo>
                            <a:lnTo>
                              <a:pt x="868095" y="73952"/>
                            </a:lnTo>
                            <a:lnTo>
                              <a:pt x="868095" y="0"/>
                            </a:lnTo>
                            <a:close/>
                          </a:path>
                          <a:path w="1628775" h="154939">
                            <a:moveTo>
                              <a:pt x="913866" y="80403"/>
                            </a:moveTo>
                            <a:lnTo>
                              <a:pt x="905065" y="80403"/>
                            </a:lnTo>
                            <a:lnTo>
                              <a:pt x="905065" y="154368"/>
                            </a:lnTo>
                            <a:lnTo>
                              <a:pt x="913866" y="154368"/>
                            </a:lnTo>
                            <a:lnTo>
                              <a:pt x="913866" y="80403"/>
                            </a:lnTo>
                            <a:close/>
                          </a:path>
                          <a:path w="1628775" h="154939">
                            <a:moveTo>
                              <a:pt x="940282" y="80403"/>
                            </a:moveTo>
                            <a:lnTo>
                              <a:pt x="931481" y="80403"/>
                            </a:lnTo>
                            <a:lnTo>
                              <a:pt x="931481" y="154368"/>
                            </a:lnTo>
                            <a:lnTo>
                              <a:pt x="940282" y="154368"/>
                            </a:lnTo>
                            <a:lnTo>
                              <a:pt x="940282" y="80403"/>
                            </a:lnTo>
                            <a:close/>
                          </a:path>
                          <a:path w="1628775" h="154939">
                            <a:moveTo>
                              <a:pt x="995464" y="80403"/>
                            </a:moveTo>
                            <a:lnTo>
                              <a:pt x="986650" y="80403"/>
                            </a:lnTo>
                            <a:lnTo>
                              <a:pt x="986650" y="154368"/>
                            </a:lnTo>
                            <a:lnTo>
                              <a:pt x="995464" y="154368"/>
                            </a:lnTo>
                            <a:lnTo>
                              <a:pt x="995464" y="80403"/>
                            </a:lnTo>
                            <a:close/>
                          </a:path>
                          <a:path w="1628775" h="154939">
                            <a:moveTo>
                              <a:pt x="1118717" y="80403"/>
                            </a:moveTo>
                            <a:lnTo>
                              <a:pt x="1109916" y="80403"/>
                            </a:lnTo>
                            <a:lnTo>
                              <a:pt x="1109916" y="154368"/>
                            </a:lnTo>
                            <a:lnTo>
                              <a:pt x="1118717" y="154368"/>
                            </a:lnTo>
                            <a:lnTo>
                              <a:pt x="1118717" y="80403"/>
                            </a:lnTo>
                            <a:close/>
                          </a:path>
                          <a:path w="1628775" h="154939">
                            <a:moveTo>
                              <a:pt x="1141018" y="80403"/>
                            </a:moveTo>
                            <a:lnTo>
                              <a:pt x="1132217" y="80403"/>
                            </a:lnTo>
                            <a:lnTo>
                              <a:pt x="1132217" y="154368"/>
                            </a:lnTo>
                            <a:lnTo>
                              <a:pt x="1141018" y="154368"/>
                            </a:lnTo>
                            <a:lnTo>
                              <a:pt x="1141018" y="80403"/>
                            </a:lnTo>
                            <a:close/>
                          </a:path>
                          <a:path w="1628775" h="154939">
                            <a:moveTo>
                              <a:pt x="1158036" y="80403"/>
                            </a:moveTo>
                            <a:lnTo>
                              <a:pt x="1149235" y="80403"/>
                            </a:lnTo>
                            <a:lnTo>
                              <a:pt x="1149235" y="154368"/>
                            </a:lnTo>
                            <a:lnTo>
                              <a:pt x="1158036" y="154368"/>
                            </a:lnTo>
                            <a:lnTo>
                              <a:pt x="1158036" y="80403"/>
                            </a:lnTo>
                            <a:close/>
                          </a:path>
                          <a:path w="1628775" h="154939">
                            <a:moveTo>
                              <a:pt x="1375803" y="80403"/>
                            </a:moveTo>
                            <a:lnTo>
                              <a:pt x="1366989" y="80403"/>
                            </a:lnTo>
                            <a:lnTo>
                              <a:pt x="1366989" y="154368"/>
                            </a:lnTo>
                            <a:lnTo>
                              <a:pt x="1375803" y="154368"/>
                            </a:lnTo>
                            <a:lnTo>
                              <a:pt x="1375803" y="80403"/>
                            </a:lnTo>
                            <a:close/>
                          </a:path>
                          <a:path w="1628775" h="154939">
                            <a:moveTo>
                              <a:pt x="1409839" y="80403"/>
                            </a:moveTo>
                            <a:lnTo>
                              <a:pt x="1401038" y="80403"/>
                            </a:lnTo>
                            <a:lnTo>
                              <a:pt x="1401038" y="154368"/>
                            </a:lnTo>
                            <a:lnTo>
                              <a:pt x="1409839" y="154368"/>
                            </a:lnTo>
                            <a:lnTo>
                              <a:pt x="1409839" y="80403"/>
                            </a:lnTo>
                            <a:close/>
                          </a:path>
                          <a:path w="1628775" h="154939">
                            <a:moveTo>
                              <a:pt x="1601774" y="80403"/>
                            </a:moveTo>
                            <a:lnTo>
                              <a:pt x="1592973" y="80403"/>
                            </a:lnTo>
                            <a:lnTo>
                              <a:pt x="1592973" y="154368"/>
                            </a:lnTo>
                            <a:lnTo>
                              <a:pt x="1601774" y="154368"/>
                            </a:lnTo>
                            <a:lnTo>
                              <a:pt x="1601774" y="80403"/>
                            </a:lnTo>
                            <a:close/>
                          </a:path>
                          <a:path w="1628775" h="154939">
                            <a:moveTo>
                              <a:pt x="1628775" y="80403"/>
                            </a:moveTo>
                            <a:lnTo>
                              <a:pt x="1619973" y="80403"/>
                            </a:lnTo>
                            <a:lnTo>
                              <a:pt x="1619973" y="154368"/>
                            </a:lnTo>
                            <a:lnTo>
                              <a:pt x="1628775" y="154368"/>
                            </a:lnTo>
                            <a:lnTo>
                              <a:pt x="1628775" y="80403"/>
                            </a:lnTo>
                            <a:close/>
                          </a:path>
                        </a:pathLst>
                      </a:custGeom>
                      <a:solidFill>
                        <a:srgbClr val="DF5F39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92" name="object 457">
                      <a:extLst>
                        <a:ext uri="{FF2B5EF4-FFF2-40B4-BE49-F238E27FC236}">
                          <a16:creationId xmlns:a16="http://schemas.microsoft.com/office/drawing/2014/main" id="{8DD2E206-03B3-41AD-9B31-BF5E96794FDF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586880" y="3373050"/>
                      <a:ext cx="235062" cy="122135"/>
                    </a:xfrm>
                    <a:prstGeom prst="rect">
                      <a:avLst/>
                    </a:prstGeom>
                  </p:spPr>
                  <p:txBody>
                    <a:bodyPr vert="horz" wrap="square" lIns="0" tIns="12700" rIns="0" bIns="0" rtlCol="0">
                      <a:spAutoFit/>
                    </a:bodyPr>
                    <a:lstStyle/>
                    <a:p>
                      <a:pPr marL="0" marR="5080" lvl="0" indent="20955" algn="ctr" defTabSz="914400" rtl="0" eaLnBrk="1" fontAlgn="auto" latinLnBrk="0" hangingPunct="1">
                        <a:lnSpc>
                          <a:spcPct val="1446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/nPR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430" name="Group 429">
                      <a:extLst>
                        <a:ext uri="{FF2B5EF4-FFF2-40B4-BE49-F238E27FC236}">
                          <a16:creationId xmlns:a16="http://schemas.microsoft.com/office/drawing/2014/main" id="{D577DC48-F100-FF91-9D86-F664CFBC9405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480816" y="3758930"/>
                      <a:ext cx="2355366" cy="86039"/>
                      <a:chOff x="3480816" y="3758930"/>
                      <a:chExt cx="2355366" cy="86039"/>
                    </a:xfrm>
                  </p:grpSpPr>
                  <p:sp>
                    <p:nvSpPr>
                      <p:cNvPr id="408" name="TextBox 407">
                        <a:extLst>
                          <a:ext uri="{FF2B5EF4-FFF2-40B4-BE49-F238E27FC236}">
                            <a16:creationId xmlns:a16="http://schemas.microsoft.com/office/drawing/2014/main" id="{28489E22-2ACD-910E-EF3B-DD2CECED697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80816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409" name="TextBox 408">
                        <a:extLst>
                          <a:ext uri="{FF2B5EF4-FFF2-40B4-BE49-F238E27FC236}">
                            <a16:creationId xmlns:a16="http://schemas.microsoft.com/office/drawing/2014/main" id="{9A50257F-06FA-6073-1E3E-C7E00580C49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727373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</a:t>
                        </a:r>
                      </a:p>
                    </p:txBody>
                  </p:sp>
                  <p:sp>
                    <p:nvSpPr>
                      <p:cNvPr id="410" name="TextBox 409">
                        <a:extLst>
                          <a:ext uri="{FF2B5EF4-FFF2-40B4-BE49-F238E27FC236}">
                            <a16:creationId xmlns:a16="http://schemas.microsoft.com/office/drawing/2014/main" id="{D76D62BB-97E7-41B2-1B3C-7FF8E771F30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9739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2</a:t>
                        </a:r>
                      </a:p>
                    </p:txBody>
                  </p:sp>
                  <p:sp>
                    <p:nvSpPr>
                      <p:cNvPr id="411" name="TextBox 410">
                        <a:extLst>
                          <a:ext uri="{FF2B5EF4-FFF2-40B4-BE49-F238E27FC236}">
                            <a16:creationId xmlns:a16="http://schemas.microsoft.com/office/drawing/2014/main" id="{4CC54FEB-3F8A-6227-14F2-263B97ABA03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0487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8</a:t>
                        </a:r>
                      </a:p>
                    </p:txBody>
                  </p:sp>
                  <p:sp>
                    <p:nvSpPr>
                      <p:cNvPr id="412" name="TextBox 411">
                        <a:extLst>
                          <a:ext uri="{FF2B5EF4-FFF2-40B4-BE49-F238E27FC236}">
                            <a16:creationId xmlns:a16="http://schemas.microsoft.com/office/drawing/2014/main" id="{3F9D88A5-A342-3C03-70FC-897EF224298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467044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4</a:t>
                        </a:r>
                      </a:p>
                    </p:txBody>
                  </p:sp>
                  <p:sp>
                    <p:nvSpPr>
                      <p:cNvPr id="413" name="TextBox 412">
                        <a:extLst>
                          <a:ext uri="{FF2B5EF4-FFF2-40B4-BE49-F238E27FC236}">
                            <a16:creationId xmlns:a16="http://schemas.microsoft.com/office/drawing/2014/main" id="{792F94FB-CA9F-4DE1-963F-3DA997840C3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713601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414" name="TextBox 413">
                        <a:extLst>
                          <a:ext uri="{FF2B5EF4-FFF2-40B4-BE49-F238E27FC236}">
                            <a16:creationId xmlns:a16="http://schemas.microsoft.com/office/drawing/2014/main" id="{0411D357-8EA3-CCEE-4C31-676DF03FA84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960158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6</a:t>
                        </a:r>
                      </a:p>
                    </p:txBody>
                  </p:sp>
                  <p:sp>
                    <p:nvSpPr>
                      <p:cNvPr id="415" name="TextBox 414">
                        <a:extLst>
                          <a:ext uri="{FF2B5EF4-FFF2-40B4-BE49-F238E27FC236}">
                            <a16:creationId xmlns:a16="http://schemas.microsoft.com/office/drawing/2014/main" id="{4953FC2C-FB28-5FC0-A6D3-09E90200DE3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206715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2</a:t>
                        </a:r>
                      </a:p>
                    </p:txBody>
                  </p:sp>
                  <p:sp>
                    <p:nvSpPr>
                      <p:cNvPr id="416" name="TextBox 415">
                        <a:extLst>
                          <a:ext uri="{FF2B5EF4-FFF2-40B4-BE49-F238E27FC236}">
                            <a16:creationId xmlns:a16="http://schemas.microsoft.com/office/drawing/2014/main" id="{CCFCEADC-AD0F-7458-BFA5-D3BCED49B3A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453272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8</a:t>
                        </a:r>
                      </a:p>
                    </p:txBody>
                  </p:sp>
                  <p:sp>
                    <p:nvSpPr>
                      <p:cNvPr id="417" name="TextBox 416">
                        <a:extLst>
                          <a:ext uri="{FF2B5EF4-FFF2-40B4-BE49-F238E27FC236}">
                            <a16:creationId xmlns:a16="http://schemas.microsoft.com/office/drawing/2014/main" id="{E88FEA1E-6BC0-61E8-FE1F-F54E2B633A0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6998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54</a:t>
                        </a:r>
                      </a:p>
                    </p:txBody>
                  </p:sp>
                </p:grpSp>
                <p:grpSp>
                  <p:nvGrpSpPr>
                    <p:cNvPr id="429" name="Group 428">
                      <a:extLst>
                        <a:ext uri="{FF2B5EF4-FFF2-40B4-BE49-F238E27FC236}">
                          <a16:creationId xmlns:a16="http://schemas.microsoft.com/office/drawing/2014/main" id="{1B43EE34-4EA5-C7D2-7D58-757631F0EC7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3309690" y="2627852"/>
                      <a:ext cx="107452" cy="1126652"/>
                      <a:chOff x="3302547" y="2627852"/>
                      <a:chExt cx="107452" cy="1126652"/>
                    </a:xfrm>
                  </p:grpSpPr>
                  <p:sp>
                    <p:nvSpPr>
                      <p:cNvPr id="418" name="TextBox 417">
                        <a:extLst>
                          <a:ext uri="{FF2B5EF4-FFF2-40B4-BE49-F238E27FC236}">
                            <a16:creationId xmlns:a16="http://schemas.microsoft.com/office/drawing/2014/main" id="{94765ABC-D8A0-41B6-A144-525228B5E8D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419" name="TextBox 418">
                        <a:extLst>
                          <a:ext uri="{FF2B5EF4-FFF2-40B4-BE49-F238E27FC236}">
                            <a16:creationId xmlns:a16="http://schemas.microsoft.com/office/drawing/2014/main" id="{7E8B5CD2-094F-7F03-78DE-CD33C3DD8A2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1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</a:t>
                        </a:r>
                      </a:p>
                    </p:txBody>
                  </p:sp>
                  <p:sp>
                    <p:nvSpPr>
                      <p:cNvPr id="420" name="TextBox 419">
                        <a:extLst>
                          <a:ext uri="{FF2B5EF4-FFF2-40B4-BE49-F238E27FC236}">
                            <a16:creationId xmlns:a16="http://schemas.microsoft.com/office/drawing/2014/main" id="{C545FF46-E96B-D972-6AFE-C00848A2A8C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0</a:t>
                        </a:r>
                      </a:p>
                    </p:txBody>
                  </p:sp>
                  <p:sp>
                    <p:nvSpPr>
                      <p:cNvPr id="421" name="TextBox 420">
                        <a:extLst>
                          <a:ext uri="{FF2B5EF4-FFF2-40B4-BE49-F238E27FC236}">
                            <a16:creationId xmlns:a16="http://schemas.microsoft.com/office/drawing/2014/main" id="{BCCD9A01-7C2F-1247-81A6-1E69ED8C272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422" name="TextBox 421">
                        <a:extLst>
                          <a:ext uri="{FF2B5EF4-FFF2-40B4-BE49-F238E27FC236}">
                            <a16:creationId xmlns:a16="http://schemas.microsoft.com/office/drawing/2014/main" id="{BC119B42-617A-6406-1204-AAF03785868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8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0</a:t>
                        </a:r>
                      </a:p>
                    </p:txBody>
                  </p:sp>
                  <p:sp>
                    <p:nvSpPr>
                      <p:cNvPr id="423" name="TextBox 422">
                        <a:extLst>
                          <a:ext uri="{FF2B5EF4-FFF2-40B4-BE49-F238E27FC236}">
                            <a16:creationId xmlns:a16="http://schemas.microsoft.com/office/drawing/2014/main" id="{5AD8B33B-EF7E-9D35-CC7D-314AB73D641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8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50</a:t>
                        </a:r>
                      </a:p>
                    </p:txBody>
                  </p:sp>
                  <p:sp>
                    <p:nvSpPr>
                      <p:cNvPr id="424" name="TextBox 423">
                        <a:extLst>
                          <a:ext uri="{FF2B5EF4-FFF2-40B4-BE49-F238E27FC236}">
                            <a16:creationId xmlns:a16="http://schemas.microsoft.com/office/drawing/2014/main" id="{1D50CF2C-8E0F-2495-F89F-E55DAC1924E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6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0</a:t>
                        </a:r>
                      </a:p>
                    </p:txBody>
                  </p:sp>
                  <p:sp>
                    <p:nvSpPr>
                      <p:cNvPr id="425" name="TextBox 424">
                        <a:extLst>
                          <a:ext uri="{FF2B5EF4-FFF2-40B4-BE49-F238E27FC236}">
                            <a16:creationId xmlns:a16="http://schemas.microsoft.com/office/drawing/2014/main" id="{6F391789-2E24-0467-2859-20A115D1361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80</a:t>
                        </a:r>
                      </a:p>
                    </p:txBody>
                  </p:sp>
                  <p:sp>
                    <p:nvSpPr>
                      <p:cNvPr id="426" name="TextBox 425">
                        <a:extLst>
                          <a:ext uri="{FF2B5EF4-FFF2-40B4-BE49-F238E27FC236}">
                            <a16:creationId xmlns:a16="http://schemas.microsoft.com/office/drawing/2014/main" id="{DBB3BEEE-6EA5-90D9-F448-C405275ACE8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90</a:t>
                        </a:r>
                      </a:p>
                    </p:txBody>
                  </p:sp>
                  <p:sp>
                    <p:nvSpPr>
                      <p:cNvPr id="427" name="TextBox 426">
                        <a:extLst>
                          <a:ext uri="{FF2B5EF4-FFF2-40B4-BE49-F238E27FC236}">
                            <a16:creationId xmlns:a16="http://schemas.microsoft.com/office/drawing/2014/main" id="{79CCA103-106C-97C7-9482-4C4BE5ED769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2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0</a:t>
                        </a:r>
                      </a:p>
                    </p:txBody>
                  </p:sp>
                  <p:sp>
                    <p:nvSpPr>
                      <p:cNvPr id="428" name="TextBox 427">
                        <a:extLst>
                          <a:ext uri="{FF2B5EF4-FFF2-40B4-BE49-F238E27FC236}">
                            <a16:creationId xmlns:a16="http://schemas.microsoft.com/office/drawing/2014/main" id="{3BE46350-704B-8E5A-9CB9-A303B5F3C97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70</a:t>
                        </a:r>
                      </a:p>
                    </p:txBody>
                  </p:sp>
                </p:grpSp>
                <p:sp>
                  <p:nvSpPr>
                    <p:cNvPr id="524" name="object 457">
                      <a:extLst>
                        <a:ext uri="{FF2B5EF4-FFF2-40B4-BE49-F238E27FC236}">
                          <a16:creationId xmlns:a16="http://schemas.microsoft.com/office/drawing/2014/main" id="{298ACFEA-DD54-DF54-F7F0-45D61875940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5585909" y="3290655"/>
                      <a:ext cx="235062" cy="122135"/>
                    </a:xfrm>
                    <a:prstGeom prst="rect">
                      <a:avLst/>
                    </a:prstGeom>
                  </p:spPr>
                  <p:txBody>
                    <a:bodyPr vert="horz" wrap="square" lIns="0" tIns="12700" rIns="0" bIns="0" rtlCol="0">
                      <a:spAutoFit/>
                    </a:bodyPr>
                    <a:lstStyle/>
                    <a:p>
                      <a:pPr marL="0" marR="5080" lvl="0" indent="20955" algn="ctr" defTabSz="914400" rtl="0" eaLnBrk="1" fontAlgn="auto" latinLnBrk="0" hangingPunct="1">
                        <a:lnSpc>
                          <a:spcPct val="1446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</p:grpSp>
            </p:grpSp>
          </p:grpSp>
          <p:sp>
            <p:nvSpPr>
              <p:cNvPr id="541" name="TextBox 540">
                <a:extLst>
                  <a:ext uri="{FF2B5EF4-FFF2-40B4-BE49-F238E27FC236}">
                    <a16:creationId xmlns:a16="http://schemas.microsoft.com/office/drawing/2014/main" id="{888A30A0-997B-36B7-BB41-484B0D3F978F}"/>
                  </a:ext>
                </a:extLst>
              </p:cNvPr>
              <p:cNvSpPr txBox="1"/>
              <p:nvPr/>
            </p:nvSpPr>
            <p:spPr>
              <a:xfrm>
                <a:off x="1556270" y="3624210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ime From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iso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cel Infusion, Month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7" name="Group 546">
              <a:extLst>
                <a:ext uri="{FF2B5EF4-FFF2-40B4-BE49-F238E27FC236}">
                  <a16:creationId xmlns:a16="http://schemas.microsoft.com/office/drawing/2014/main" id="{51C21BE0-6DE2-83BA-9528-8EC7174F2999}"/>
                </a:ext>
              </a:extLst>
            </p:cNvPr>
            <p:cNvGrpSpPr/>
            <p:nvPr/>
          </p:nvGrpSpPr>
          <p:grpSpPr>
            <a:xfrm>
              <a:off x="6041605" y="936618"/>
              <a:ext cx="5973416" cy="2843941"/>
              <a:chOff x="6041605" y="1057268"/>
              <a:chExt cx="5973416" cy="2843941"/>
            </a:xfrm>
          </p:grpSpPr>
          <p:grpSp>
            <p:nvGrpSpPr>
              <p:cNvPr id="536" name="Group 535">
                <a:extLst>
                  <a:ext uri="{FF2B5EF4-FFF2-40B4-BE49-F238E27FC236}">
                    <a16:creationId xmlns:a16="http://schemas.microsoft.com/office/drawing/2014/main" id="{2794C6F7-98A6-50F8-33A1-CC17D9CEE9F0}"/>
                  </a:ext>
                </a:extLst>
              </p:cNvPr>
              <p:cNvGrpSpPr/>
              <p:nvPr/>
            </p:nvGrpSpPr>
            <p:grpSpPr>
              <a:xfrm>
                <a:off x="6041605" y="1057268"/>
                <a:ext cx="5973416" cy="2624206"/>
                <a:chOff x="9218146" y="2467399"/>
                <a:chExt cx="2797444" cy="1530936"/>
              </a:xfrm>
            </p:grpSpPr>
            <p:sp>
              <p:nvSpPr>
                <p:cNvPr id="279" name="object 199">
                  <a:extLst>
                    <a:ext uri="{FF2B5EF4-FFF2-40B4-BE49-F238E27FC236}">
                      <a16:creationId xmlns:a16="http://schemas.microsoft.com/office/drawing/2014/main" id="{8D1265AB-5D01-0A45-A3B3-3E376F4EF555}"/>
                    </a:ext>
                  </a:extLst>
                </p:cNvPr>
                <p:cNvSpPr txBox="1"/>
                <p:nvPr/>
              </p:nvSpPr>
              <p:spPr>
                <a:xfrm>
                  <a:off x="9277762" y="2467399"/>
                  <a:ext cx="2737828" cy="253959"/>
                </a:xfrm>
                <a:prstGeom prst="rect">
                  <a:avLst/>
                </a:prstGeom>
              </p:spPr>
              <p:txBody>
                <a:bodyPr vert="horz" wrap="square" lIns="0" tIns="12065" rIns="0" bIns="0" rtlCol="0" anchor="b" anchorCtr="0">
                  <a:spAutoFit/>
                </a:bodyPr>
                <a:lstStyle/>
                <a:p>
                  <a:pPr marL="0" marR="5080" lvl="0" indent="0" algn="ctr" defTabSz="914400" rtl="0" eaLnBrk="1" fontAlgn="auto" latinLnBrk="0" hangingPunct="1">
                    <a:lnSpc>
                      <a:spcPct val="102699"/>
                    </a:lnSpc>
                    <a:spcBef>
                      <a:spcPts val="9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AS</a:t>
                  </a:r>
                  <a:r>
                    <a:rPr kumimoji="0" sz="1400" b="1" i="0" u="none" strike="noStrike" kern="1200" cap="none" spc="7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(BTKi</a:t>
                  </a:r>
                  <a:r>
                    <a:rPr kumimoji="0" sz="1400" b="1" i="0" u="none" strike="noStrike" kern="1200" cap="none" spc="8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rogression/</a:t>
                  </a:r>
                  <a:r>
                    <a:rPr kumimoji="0" sz="1400" b="1" i="0" u="none" strike="noStrike" kern="1200" cap="none" spc="-13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-1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venetoclax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failure</a:t>
                  </a:r>
                  <a:r>
                    <a:rPr kumimoji="0" sz="1400" b="1" i="0" u="none" strike="noStrike" kern="1200" cap="none" spc="7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ubset)</a:t>
                  </a:r>
                  <a:r>
                    <a:rPr kumimoji="0" sz="1400" b="1" i="0" u="none" strike="noStrike" kern="1200" cap="none" spc="7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t</a:t>
                  </a:r>
                  <a:r>
                    <a:rPr kumimoji="0" sz="1400" b="1" i="0" u="none" strike="noStrike" kern="1200" cap="none" spc="8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-2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L2</a:t>
                  </a:r>
                  <a:endParaRPr kumimoji="0" lang="en-US" sz="1400" b="1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0" marR="5080" lvl="0" indent="0" algn="ctr" defTabSz="914400" rtl="0" eaLnBrk="1" fontAlgn="auto" latinLnBrk="0" hangingPunct="1">
                    <a:lnSpc>
                      <a:spcPct val="102699"/>
                    </a:lnSpc>
                    <a:spcBef>
                      <a:spcPts val="9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1" u="none" strike="noStrike" kern="1200" cap="none" spc="-2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rogression-Free Survival (PFS)</a:t>
                  </a:r>
                  <a:endParaRPr kumimoji="0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33" name="Group 532">
                  <a:extLst>
                    <a:ext uri="{FF2B5EF4-FFF2-40B4-BE49-F238E27FC236}">
                      <a16:creationId xmlns:a16="http://schemas.microsoft.com/office/drawing/2014/main" id="{4AB51680-8162-4AF3-1626-F7B5AF04A575}"/>
                    </a:ext>
                  </a:extLst>
                </p:cNvPr>
                <p:cNvGrpSpPr/>
                <p:nvPr/>
              </p:nvGrpSpPr>
              <p:grpSpPr>
                <a:xfrm>
                  <a:off x="9218146" y="2774867"/>
                  <a:ext cx="2712603" cy="1223468"/>
                  <a:chOff x="9218146" y="2922366"/>
                  <a:chExt cx="2712603" cy="1223468"/>
                </a:xfrm>
              </p:grpSpPr>
              <p:sp>
                <p:nvSpPr>
                  <p:cNvPr id="300" name="object 489">
                    <a:extLst>
                      <a:ext uri="{FF2B5EF4-FFF2-40B4-BE49-F238E27FC236}">
                        <a16:creationId xmlns:a16="http://schemas.microsoft.com/office/drawing/2014/main" id="{7DC3727D-B987-25F9-661D-5AFDF4C159EC}"/>
                      </a:ext>
                    </a:extLst>
                  </p:cNvPr>
                  <p:cNvSpPr txBox="1"/>
                  <p:nvPr/>
                </p:nvSpPr>
                <p:spPr>
                  <a:xfrm>
                    <a:off x="9218146" y="3166700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1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PFS,</a:t>
                    </a:r>
                    <a:r>
                      <a:rPr kumimoji="0" sz="1200" b="1" i="0" u="none" strike="noStrike" kern="1200" cap="none" spc="85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</a:t>
                    </a:r>
                    <a:r>
                      <a:rPr kumimoji="0" sz="1200" b="1" i="0" u="none" strike="noStrike" kern="1200" cap="none" spc="-5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%</a:t>
                    </a:r>
                    <a:endParaRPr kumimoji="0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29" name="Group 528">
                    <a:extLst>
                      <a:ext uri="{FF2B5EF4-FFF2-40B4-BE49-F238E27FC236}">
                        <a16:creationId xmlns:a16="http://schemas.microsoft.com/office/drawing/2014/main" id="{26AF6E8A-47C7-8F77-9978-011C45F2F22F}"/>
                      </a:ext>
                    </a:extLst>
                  </p:cNvPr>
                  <p:cNvGrpSpPr/>
                  <p:nvPr/>
                </p:nvGrpSpPr>
                <p:grpSpPr>
                  <a:xfrm>
                    <a:off x="9317419" y="2922366"/>
                    <a:ext cx="2613330" cy="1223468"/>
                    <a:chOff x="9317419" y="2922366"/>
                    <a:chExt cx="2613330" cy="1223468"/>
                  </a:xfrm>
                </p:grpSpPr>
                <p:grpSp>
                  <p:nvGrpSpPr>
                    <p:cNvPr id="311" name="object 500">
                      <a:extLst>
                        <a:ext uri="{FF2B5EF4-FFF2-40B4-BE49-F238E27FC236}">
                          <a16:creationId xmlns:a16="http://schemas.microsoft.com/office/drawing/2014/main" id="{1A466981-FFE9-DCFB-4015-6A4A4224CD13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428453" y="2929836"/>
                      <a:ext cx="2348865" cy="1133475"/>
                      <a:chOff x="12705053" y="3367986"/>
                      <a:chExt cx="2348865" cy="1133475"/>
                    </a:xfrm>
                  </p:grpSpPr>
                  <p:sp>
                    <p:nvSpPr>
                      <p:cNvPr id="391" name="object 501">
                        <a:extLst>
                          <a:ext uri="{FF2B5EF4-FFF2-40B4-BE49-F238E27FC236}">
                            <a16:creationId xmlns:a16="http://schemas.microsoft.com/office/drawing/2014/main" id="{61CA2E08-0660-FCD3-9CBF-AF4BD012A66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708863" y="3404083"/>
                        <a:ext cx="2341245" cy="109410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341244" h="1094104">
                            <a:moveTo>
                              <a:pt x="121497" y="1093481"/>
                            </a:moveTo>
                            <a:lnTo>
                              <a:pt x="121497" y="1061786"/>
                            </a:lnTo>
                          </a:path>
                          <a:path w="2341244" h="1094104">
                            <a:moveTo>
                              <a:pt x="0" y="0"/>
                            </a:moveTo>
                            <a:lnTo>
                              <a:pt x="23673" y="0"/>
                            </a:lnTo>
                          </a:path>
                          <a:path w="2341244" h="1094104">
                            <a:moveTo>
                              <a:pt x="0" y="207779"/>
                            </a:moveTo>
                            <a:lnTo>
                              <a:pt x="23673" y="207779"/>
                            </a:lnTo>
                          </a:path>
                          <a:path w="2341244" h="1094104">
                            <a:moveTo>
                              <a:pt x="0" y="414971"/>
                            </a:moveTo>
                            <a:lnTo>
                              <a:pt x="23673" y="414971"/>
                            </a:lnTo>
                          </a:path>
                          <a:path w="2341244" h="1094104">
                            <a:moveTo>
                              <a:pt x="0" y="622750"/>
                            </a:moveTo>
                            <a:lnTo>
                              <a:pt x="23673" y="622750"/>
                            </a:lnTo>
                          </a:path>
                          <a:path w="2341244" h="1094104">
                            <a:moveTo>
                              <a:pt x="0" y="103889"/>
                            </a:moveTo>
                            <a:lnTo>
                              <a:pt x="23673" y="103889"/>
                            </a:lnTo>
                          </a:path>
                          <a:path w="2341244" h="1094104">
                            <a:moveTo>
                              <a:pt x="0" y="311081"/>
                            </a:moveTo>
                            <a:lnTo>
                              <a:pt x="23673" y="311081"/>
                            </a:lnTo>
                          </a:path>
                          <a:path w="2341244" h="1094104">
                            <a:moveTo>
                              <a:pt x="0" y="518860"/>
                            </a:moveTo>
                            <a:lnTo>
                              <a:pt x="23673" y="518860"/>
                            </a:lnTo>
                          </a:path>
                          <a:path w="2341244" h="1094104">
                            <a:moveTo>
                              <a:pt x="0" y="726640"/>
                            </a:moveTo>
                            <a:lnTo>
                              <a:pt x="23673" y="726640"/>
                            </a:lnTo>
                          </a:path>
                          <a:path w="2341244" h="1094104">
                            <a:moveTo>
                              <a:pt x="0" y="830529"/>
                            </a:moveTo>
                            <a:lnTo>
                              <a:pt x="23673" y="830529"/>
                            </a:lnTo>
                          </a:path>
                          <a:path w="2341244" h="1094104">
                            <a:moveTo>
                              <a:pt x="0" y="933832"/>
                            </a:moveTo>
                            <a:lnTo>
                              <a:pt x="23673" y="933832"/>
                            </a:lnTo>
                          </a:path>
                          <a:path w="2341244" h="1094104">
                            <a:moveTo>
                              <a:pt x="0" y="1037721"/>
                            </a:moveTo>
                            <a:lnTo>
                              <a:pt x="23673" y="1037721"/>
                            </a:lnTo>
                          </a:path>
                          <a:path w="2341244" h="1094104">
                            <a:moveTo>
                              <a:pt x="2340792" y="1061786"/>
                            </a:moveTo>
                            <a:lnTo>
                              <a:pt x="28760" y="1061786"/>
                            </a:lnTo>
                          </a:path>
                          <a:path w="2341244" h="1094104">
                            <a:moveTo>
                              <a:pt x="28760" y="1062031"/>
                            </a:moveTo>
                            <a:lnTo>
                              <a:pt x="28760" y="0"/>
                            </a:lnTo>
                          </a:path>
                          <a:path w="2341244" h="1094104">
                            <a:moveTo>
                              <a:pt x="399123" y="1093481"/>
                            </a:moveTo>
                            <a:lnTo>
                              <a:pt x="399123" y="1061786"/>
                            </a:lnTo>
                          </a:path>
                          <a:path w="2341244" h="1094104">
                            <a:moveTo>
                              <a:pt x="676162" y="1093481"/>
                            </a:moveTo>
                            <a:lnTo>
                              <a:pt x="676162" y="1061786"/>
                            </a:lnTo>
                          </a:path>
                          <a:path w="2341244" h="1094104">
                            <a:moveTo>
                              <a:pt x="953788" y="1093481"/>
                            </a:moveTo>
                            <a:lnTo>
                              <a:pt x="953788" y="1061786"/>
                            </a:lnTo>
                          </a:path>
                          <a:path w="2341244" h="1094104">
                            <a:moveTo>
                              <a:pt x="1230827" y="1093481"/>
                            </a:moveTo>
                            <a:lnTo>
                              <a:pt x="1230827" y="1061786"/>
                            </a:lnTo>
                          </a:path>
                          <a:path w="2341244" h="1094104">
                            <a:moveTo>
                              <a:pt x="1508453" y="1093481"/>
                            </a:moveTo>
                            <a:lnTo>
                              <a:pt x="1508453" y="1061786"/>
                            </a:lnTo>
                          </a:path>
                          <a:path w="2341244" h="1094104">
                            <a:moveTo>
                              <a:pt x="1786078" y="1093481"/>
                            </a:moveTo>
                            <a:lnTo>
                              <a:pt x="1786078" y="1061786"/>
                            </a:lnTo>
                          </a:path>
                          <a:path w="2341244" h="1094104">
                            <a:moveTo>
                              <a:pt x="2063117" y="1093481"/>
                            </a:moveTo>
                            <a:lnTo>
                              <a:pt x="2063117" y="1061786"/>
                            </a:lnTo>
                          </a:path>
                          <a:path w="2341244" h="1094104">
                            <a:moveTo>
                              <a:pt x="2340743" y="1093481"/>
                            </a:moveTo>
                            <a:lnTo>
                              <a:pt x="2340743" y="1061786"/>
                            </a:lnTo>
                          </a:path>
                        </a:pathLst>
                      </a:custGeom>
                      <a:ln w="7336">
                        <a:solidFill>
                          <a:schemeClr val="tx1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2" name="object 502">
                        <a:extLst>
                          <a:ext uri="{FF2B5EF4-FFF2-40B4-BE49-F238E27FC236}">
                            <a16:creationId xmlns:a16="http://schemas.microsoft.com/office/drawing/2014/main" id="{9EE78A74-8202-6724-D1F1-BAEE6DD32C5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19796" y="3405257"/>
                        <a:ext cx="1985645" cy="79184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85644" h="791845">
                            <a:moveTo>
                              <a:pt x="1985640" y="791791"/>
                            </a:moveTo>
                            <a:lnTo>
                              <a:pt x="1771894" y="791791"/>
                            </a:lnTo>
                            <a:lnTo>
                              <a:pt x="1771894" y="678314"/>
                            </a:lnTo>
                            <a:lnTo>
                              <a:pt x="1215419" y="678314"/>
                            </a:lnTo>
                            <a:lnTo>
                              <a:pt x="1215419" y="643049"/>
                            </a:lnTo>
                            <a:lnTo>
                              <a:pt x="1029308" y="643049"/>
                            </a:lnTo>
                            <a:lnTo>
                              <a:pt x="1029308" y="616440"/>
                            </a:lnTo>
                            <a:lnTo>
                              <a:pt x="626761" y="616440"/>
                            </a:lnTo>
                            <a:lnTo>
                              <a:pt x="626761" y="589196"/>
                            </a:lnTo>
                            <a:lnTo>
                              <a:pt x="565572" y="589196"/>
                            </a:lnTo>
                            <a:lnTo>
                              <a:pt x="565572" y="551338"/>
                            </a:lnTo>
                            <a:lnTo>
                              <a:pt x="555593" y="551338"/>
                            </a:lnTo>
                            <a:lnTo>
                              <a:pt x="555731" y="543374"/>
                            </a:lnTo>
                            <a:lnTo>
                              <a:pt x="555960" y="525775"/>
                            </a:lnTo>
                            <a:lnTo>
                              <a:pt x="556006" y="507984"/>
                            </a:lnTo>
                            <a:lnTo>
                              <a:pt x="555593" y="499442"/>
                            </a:lnTo>
                            <a:lnTo>
                              <a:pt x="544160" y="499009"/>
                            </a:lnTo>
                            <a:lnTo>
                              <a:pt x="519961" y="499057"/>
                            </a:lnTo>
                            <a:lnTo>
                              <a:pt x="495945" y="499298"/>
                            </a:lnTo>
                            <a:lnTo>
                              <a:pt x="485062" y="499442"/>
                            </a:lnTo>
                            <a:lnTo>
                              <a:pt x="485062" y="474155"/>
                            </a:lnTo>
                            <a:lnTo>
                              <a:pt x="441139" y="474155"/>
                            </a:lnTo>
                            <a:lnTo>
                              <a:pt x="441139" y="452878"/>
                            </a:lnTo>
                            <a:lnTo>
                              <a:pt x="431846" y="452878"/>
                            </a:lnTo>
                            <a:lnTo>
                              <a:pt x="431846" y="429596"/>
                            </a:lnTo>
                            <a:lnTo>
                              <a:pt x="388607" y="429596"/>
                            </a:lnTo>
                            <a:lnTo>
                              <a:pt x="388607" y="404993"/>
                            </a:lnTo>
                            <a:lnTo>
                              <a:pt x="306777" y="404993"/>
                            </a:lnTo>
                            <a:lnTo>
                              <a:pt x="306777" y="383031"/>
                            </a:lnTo>
                            <a:lnTo>
                              <a:pt x="292152" y="383031"/>
                            </a:lnTo>
                            <a:lnTo>
                              <a:pt x="292152" y="358428"/>
                            </a:lnTo>
                            <a:lnTo>
                              <a:pt x="274153" y="358428"/>
                            </a:lnTo>
                            <a:lnTo>
                              <a:pt x="276794" y="337103"/>
                            </a:lnTo>
                            <a:lnTo>
                              <a:pt x="274153" y="337103"/>
                            </a:lnTo>
                            <a:lnTo>
                              <a:pt x="260213" y="337103"/>
                            </a:lnTo>
                            <a:lnTo>
                              <a:pt x="260213" y="312402"/>
                            </a:lnTo>
                            <a:lnTo>
                              <a:pt x="218295" y="312402"/>
                            </a:lnTo>
                            <a:lnTo>
                              <a:pt x="218295" y="286576"/>
                            </a:lnTo>
                            <a:lnTo>
                              <a:pt x="177013" y="286576"/>
                            </a:lnTo>
                            <a:lnTo>
                              <a:pt x="179654" y="267990"/>
                            </a:lnTo>
                            <a:lnTo>
                              <a:pt x="177013" y="267990"/>
                            </a:lnTo>
                            <a:lnTo>
                              <a:pt x="154415" y="267990"/>
                            </a:lnTo>
                            <a:lnTo>
                              <a:pt x="154415" y="248033"/>
                            </a:lnTo>
                            <a:lnTo>
                              <a:pt x="147079" y="248033"/>
                            </a:lnTo>
                            <a:lnTo>
                              <a:pt x="147079" y="224556"/>
                            </a:lnTo>
                            <a:lnTo>
                              <a:pt x="135731" y="224556"/>
                            </a:lnTo>
                            <a:lnTo>
                              <a:pt x="135731" y="205040"/>
                            </a:lnTo>
                            <a:lnTo>
                              <a:pt x="128639" y="197947"/>
                            </a:lnTo>
                            <a:lnTo>
                              <a:pt x="128639" y="176230"/>
                            </a:lnTo>
                            <a:lnTo>
                              <a:pt x="103155" y="176230"/>
                            </a:lnTo>
                            <a:lnTo>
                              <a:pt x="103155" y="152948"/>
                            </a:lnTo>
                            <a:lnTo>
                              <a:pt x="93813" y="152948"/>
                            </a:lnTo>
                            <a:lnTo>
                              <a:pt x="93813" y="129666"/>
                            </a:lnTo>
                            <a:lnTo>
                              <a:pt x="53216" y="129666"/>
                            </a:lnTo>
                            <a:lnTo>
                              <a:pt x="53216" y="106384"/>
                            </a:lnTo>
                            <a:lnTo>
                              <a:pt x="44607" y="106384"/>
                            </a:lnTo>
                            <a:lnTo>
                              <a:pt x="44607" y="68477"/>
                            </a:lnTo>
                            <a:lnTo>
                              <a:pt x="38591" y="68477"/>
                            </a:lnTo>
                            <a:lnTo>
                              <a:pt x="38591" y="38542"/>
                            </a:lnTo>
                            <a:lnTo>
                              <a:pt x="14673" y="38542"/>
                            </a:lnTo>
                            <a:lnTo>
                              <a:pt x="14673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3" name="object 503">
                        <a:extLst>
                          <a:ext uri="{FF2B5EF4-FFF2-40B4-BE49-F238E27FC236}">
                            <a16:creationId xmlns:a16="http://schemas.microsoft.com/office/drawing/2014/main" id="{F990F515-9A6B-22DE-BFCA-F2A97A0775A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69393" y="3491835"/>
                        <a:ext cx="1939289" cy="73723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39290" h="737235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939290" h="737235">
                            <a:moveTo>
                              <a:pt x="82753" y="75133"/>
                            </a:moveTo>
                            <a:lnTo>
                              <a:pt x="73952" y="75133"/>
                            </a:lnTo>
                            <a:lnTo>
                              <a:pt x="73952" y="149085"/>
                            </a:lnTo>
                            <a:lnTo>
                              <a:pt x="82753" y="149085"/>
                            </a:lnTo>
                            <a:lnTo>
                              <a:pt x="82753" y="75133"/>
                            </a:lnTo>
                            <a:close/>
                          </a:path>
                          <a:path w="1939290" h="737235">
                            <a:moveTo>
                              <a:pt x="97434" y="95084"/>
                            </a:moveTo>
                            <a:lnTo>
                              <a:pt x="88620" y="95084"/>
                            </a:lnTo>
                            <a:lnTo>
                              <a:pt x="88620" y="169037"/>
                            </a:lnTo>
                            <a:lnTo>
                              <a:pt x="97434" y="169037"/>
                            </a:lnTo>
                            <a:lnTo>
                              <a:pt x="97434" y="95084"/>
                            </a:lnTo>
                            <a:close/>
                          </a:path>
                          <a:path w="1939290" h="737235">
                            <a:moveTo>
                              <a:pt x="785329" y="489521"/>
                            </a:moveTo>
                            <a:lnTo>
                              <a:pt x="776528" y="489521"/>
                            </a:lnTo>
                            <a:lnTo>
                              <a:pt x="776528" y="564057"/>
                            </a:lnTo>
                            <a:lnTo>
                              <a:pt x="785329" y="564057"/>
                            </a:lnTo>
                            <a:lnTo>
                              <a:pt x="785329" y="489521"/>
                            </a:lnTo>
                            <a:close/>
                          </a:path>
                          <a:path w="1939290" h="737235">
                            <a:moveTo>
                              <a:pt x="1064133" y="515924"/>
                            </a:moveTo>
                            <a:lnTo>
                              <a:pt x="1055319" y="515924"/>
                            </a:lnTo>
                            <a:lnTo>
                              <a:pt x="1055319" y="590473"/>
                            </a:lnTo>
                            <a:lnTo>
                              <a:pt x="1064133" y="590473"/>
                            </a:lnTo>
                            <a:lnTo>
                              <a:pt x="1064133" y="515924"/>
                            </a:lnTo>
                            <a:close/>
                          </a:path>
                          <a:path w="1939290" h="737235">
                            <a:moveTo>
                              <a:pt x="1083500" y="515924"/>
                            </a:moveTo>
                            <a:lnTo>
                              <a:pt x="1074699" y="515924"/>
                            </a:lnTo>
                            <a:lnTo>
                              <a:pt x="1074699" y="590473"/>
                            </a:lnTo>
                            <a:lnTo>
                              <a:pt x="1083500" y="590473"/>
                            </a:lnTo>
                            <a:lnTo>
                              <a:pt x="1083500" y="515924"/>
                            </a:lnTo>
                            <a:close/>
                          </a:path>
                          <a:path w="1939290" h="737235">
                            <a:moveTo>
                              <a:pt x="1126350" y="515924"/>
                            </a:moveTo>
                            <a:lnTo>
                              <a:pt x="1117536" y="515924"/>
                            </a:lnTo>
                            <a:lnTo>
                              <a:pt x="1117536" y="590473"/>
                            </a:lnTo>
                            <a:lnTo>
                              <a:pt x="1126350" y="590473"/>
                            </a:lnTo>
                            <a:lnTo>
                              <a:pt x="1126350" y="515924"/>
                            </a:lnTo>
                            <a:close/>
                          </a:path>
                          <a:path w="1939290" h="737235">
                            <a:moveTo>
                              <a:pt x="1318272" y="550557"/>
                            </a:moveTo>
                            <a:lnTo>
                              <a:pt x="1309471" y="550557"/>
                            </a:lnTo>
                            <a:lnTo>
                              <a:pt x="1309471" y="625106"/>
                            </a:lnTo>
                            <a:lnTo>
                              <a:pt x="1318272" y="625106"/>
                            </a:lnTo>
                            <a:lnTo>
                              <a:pt x="1318272" y="550557"/>
                            </a:lnTo>
                            <a:close/>
                          </a:path>
                          <a:path w="1939290" h="737235">
                            <a:moveTo>
                              <a:pt x="1337652" y="550557"/>
                            </a:moveTo>
                            <a:lnTo>
                              <a:pt x="1328839" y="550557"/>
                            </a:lnTo>
                            <a:lnTo>
                              <a:pt x="1328839" y="625106"/>
                            </a:lnTo>
                            <a:lnTo>
                              <a:pt x="1337652" y="625106"/>
                            </a:lnTo>
                            <a:lnTo>
                              <a:pt x="1337652" y="550557"/>
                            </a:lnTo>
                            <a:close/>
                          </a:path>
                          <a:path w="1939290" h="737235">
                            <a:moveTo>
                              <a:pt x="1409839" y="550557"/>
                            </a:moveTo>
                            <a:lnTo>
                              <a:pt x="1401038" y="550557"/>
                            </a:lnTo>
                            <a:lnTo>
                              <a:pt x="1401038" y="625106"/>
                            </a:lnTo>
                            <a:lnTo>
                              <a:pt x="1409839" y="625106"/>
                            </a:lnTo>
                            <a:lnTo>
                              <a:pt x="1409839" y="550557"/>
                            </a:lnTo>
                            <a:close/>
                          </a:path>
                          <a:path w="1939290" h="737235">
                            <a:moveTo>
                              <a:pt x="1618208" y="550557"/>
                            </a:moveTo>
                            <a:lnTo>
                              <a:pt x="1609407" y="550557"/>
                            </a:lnTo>
                            <a:lnTo>
                              <a:pt x="1609407" y="625106"/>
                            </a:lnTo>
                            <a:lnTo>
                              <a:pt x="1618208" y="625106"/>
                            </a:lnTo>
                            <a:lnTo>
                              <a:pt x="1618208" y="550557"/>
                            </a:lnTo>
                            <a:close/>
                          </a:path>
                          <a:path w="1939290" h="737235">
                            <a:moveTo>
                              <a:pt x="1635226" y="550557"/>
                            </a:moveTo>
                            <a:lnTo>
                              <a:pt x="1626425" y="550557"/>
                            </a:lnTo>
                            <a:lnTo>
                              <a:pt x="1626425" y="625106"/>
                            </a:lnTo>
                            <a:lnTo>
                              <a:pt x="1635226" y="625106"/>
                            </a:lnTo>
                            <a:lnTo>
                              <a:pt x="1635226" y="550557"/>
                            </a:lnTo>
                            <a:close/>
                          </a:path>
                          <a:path w="1939290" h="737235">
                            <a:moveTo>
                              <a:pt x="1654594" y="550557"/>
                            </a:moveTo>
                            <a:lnTo>
                              <a:pt x="1645793" y="550557"/>
                            </a:lnTo>
                            <a:lnTo>
                              <a:pt x="1645793" y="625106"/>
                            </a:lnTo>
                            <a:lnTo>
                              <a:pt x="1654594" y="625106"/>
                            </a:lnTo>
                            <a:lnTo>
                              <a:pt x="1654594" y="550557"/>
                            </a:lnTo>
                            <a:close/>
                          </a:path>
                          <a:path w="1939290" h="737235">
                            <a:moveTo>
                              <a:pt x="1875878" y="662076"/>
                            </a:moveTo>
                            <a:lnTo>
                              <a:pt x="1867077" y="662076"/>
                            </a:lnTo>
                            <a:lnTo>
                              <a:pt x="1867077" y="736625"/>
                            </a:lnTo>
                            <a:lnTo>
                              <a:pt x="1875878" y="736625"/>
                            </a:lnTo>
                            <a:lnTo>
                              <a:pt x="1875878" y="662076"/>
                            </a:lnTo>
                            <a:close/>
                          </a:path>
                          <a:path w="1939290" h="737235">
                            <a:moveTo>
                              <a:pt x="1939264" y="662076"/>
                            </a:moveTo>
                            <a:lnTo>
                              <a:pt x="1930463" y="662076"/>
                            </a:lnTo>
                            <a:lnTo>
                              <a:pt x="1930463" y="736625"/>
                            </a:lnTo>
                            <a:lnTo>
                              <a:pt x="1939264" y="736625"/>
                            </a:lnTo>
                            <a:lnTo>
                              <a:pt x="1939264" y="662076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4" name="object 504">
                        <a:extLst>
                          <a:ext uri="{FF2B5EF4-FFF2-40B4-BE49-F238E27FC236}">
                            <a16:creationId xmlns:a16="http://schemas.microsoft.com/office/drawing/2014/main" id="{D93E9F79-155B-A613-3708-CD721A77EF4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23318" y="3408779"/>
                        <a:ext cx="2211070" cy="10318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11069" h="1031875">
                            <a:moveTo>
                              <a:pt x="2211028" y="1031265"/>
                            </a:moveTo>
                            <a:lnTo>
                              <a:pt x="1024124" y="1031265"/>
                            </a:lnTo>
                            <a:lnTo>
                              <a:pt x="1024124" y="983380"/>
                            </a:lnTo>
                            <a:lnTo>
                              <a:pt x="548159" y="983380"/>
                            </a:lnTo>
                            <a:lnTo>
                              <a:pt x="548159" y="891131"/>
                            </a:lnTo>
                            <a:lnTo>
                              <a:pt x="427884" y="891131"/>
                            </a:lnTo>
                            <a:lnTo>
                              <a:pt x="427884" y="845936"/>
                            </a:lnTo>
                            <a:lnTo>
                              <a:pt x="389488" y="845936"/>
                            </a:lnTo>
                            <a:lnTo>
                              <a:pt x="389488" y="793600"/>
                            </a:lnTo>
                            <a:lnTo>
                              <a:pt x="304821" y="793600"/>
                            </a:lnTo>
                            <a:lnTo>
                              <a:pt x="304821" y="738525"/>
                            </a:lnTo>
                            <a:lnTo>
                              <a:pt x="282957" y="738525"/>
                            </a:lnTo>
                            <a:lnTo>
                              <a:pt x="282957" y="685015"/>
                            </a:lnTo>
                            <a:lnTo>
                              <a:pt x="268625" y="685015"/>
                            </a:lnTo>
                            <a:lnTo>
                              <a:pt x="268625" y="655228"/>
                            </a:lnTo>
                            <a:lnTo>
                              <a:pt x="268625" y="646375"/>
                            </a:lnTo>
                            <a:lnTo>
                              <a:pt x="259577" y="646228"/>
                            </a:lnTo>
                            <a:lnTo>
                              <a:pt x="259577" y="596875"/>
                            </a:lnTo>
                            <a:lnTo>
                              <a:pt x="219371" y="596875"/>
                            </a:lnTo>
                            <a:lnTo>
                              <a:pt x="219371" y="549039"/>
                            </a:lnTo>
                            <a:lnTo>
                              <a:pt x="173002" y="549039"/>
                            </a:lnTo>
                            <a:lnTo>
                              <a:pt x="173071" y="541160"/>
                            </a:lnTo>
                            <a:lnTo>
                              <a:pt x="173185" y="523788"/>
                            </a:lnTo>
                            <a:lnTo>
                              <a:pt x="173208" y="506325"/>
                            </a:lnTo>
                            <a:lnTo>
                              <a:pt x="173002" y="498171"/>
                            </a:lnTo>
                            <a:lnTo>
                              <a:pt x="172513" y="497681"/>
                            </a:lnTo>
                            <a:lnTo>
                              <a:pt x="150405" y="498171"/>
                            </a:lnTo>
                            <a:lnTo>
                              <a:pt x="150405" y="451606"/>
                            </a:lnTo>
                            <a:lnTo>
                              <a:pt x="141405" y="451606"/>
                            </a:lnTo>
                            <a:lnTo>
                              <a:pt x="141405" y="402743"/>
                            </a:lnTo>
                            <a:lnTo>
                              <a:pt x="133726" y="402743"/>
                            </a:lnTo>
                            <a:lnTo>
                              <a:pt x="133726" y="355200"/>
                            </a:lnTo>
                            <a:lnTo>
                              <a:pt x="121400" y="355200"/>
                            </a:lnTo>
                            <a:lnTo>
                              <a:pt x="121400" y="312255"/>
                            </a:lnTo>
                            <a:lnTo>
                              <a:pt x="98460" y="312255"/>
                            </a:lnTo>
                            <a:lnTo>
                              <a:pt x="98460" y="270729"/>
                            </a:lnTo>
                            <a:lnTo>
                              <a:pt x="91808" y="270729"/>
                            </a:lnTo>
                            <a:lnTo>
                              <a:pt x="91808" y="231452"/>
                            </a:lnTo>
                            <a:lnTo>
                              <a:pt x="49890" y="231452"/>
                            </a:lnTo>
                            <a:lnTo>
                              <a:pt x="49890" y="190562"/>
                            </a:lnTo>
                            <a:lnTo>
                              <a:pt x="38249" y="190562"/>
                            </a:lnTo>
                            <a:lnTo>
                              <a:pt x="38249" y="77819"/>
                            </a:lnTo>
                            <a:lnTo>
                              <a:pt x="22255" y="77819"/>
                            </a:lnTo>
                            <a:lnTo>
                              <a:pt x="21931" y="69244"/>
                            </a:lnTo>
                            <a:lnTo>
                              <a:pt x="21392" y="50379"/>
                            </a:lnTo>
                            <a:lnTo>
                              <a:pt x="21285" y="31514"/>
                            </a:lnTo>
                            <a:lnTo>
                              <a:pt x="22255" y="22939"/>
                            </a:lnTo>
                            <a:lnTo>
                              <a:pt x="24602" y="22939"/>
                            </a:lnTo>
                            <a:lnTo>
                              <a:pt x="7972" y="22939"/>
                            </a:lnTo>
                            <a:lnTo>
                              <a:pt x="7972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58585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5" name="object 505">
                        <a:extLst>
                          <a:ext uri="{FF2B5EF4-FFF2-40B4-BE49-F238E27FC236}">
                            <a16:creationId xmlns:a16="http://schemas.microsoft.com/office/drawing/2014/main" id="{80B3BA57-D607-E680-8B5B-71342436C76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67043" y="3601601"/>
                        <a:ext cx="100965" cy="24765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00965" h="247650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00965" h="247650">
                            <a:moveTo>
                              <a:pt x="84518" y="123837"/>
                            </a:moveTo>
                            <a:lnTo>
                              <a:pt x="75717" y="123837"/>
                            </a:lnTo>
                            <a:lnTo>
                              <a:pt x="75717" y="197802"/>
                            </a:lnTo>
                            <a:lnTo>
                              <a:pt x="84518" y="197802"/>
                            </a:lnTo>
                            <a:lnTo>
                              <a:pt x="84518" y="123837"/>
                            </a:lnTo>
                            <a:close/>
                          </a:path>
                          <a:path w="100965" h="247650">
                            <a:moveTo>
                              <a:pt x="100952" y="173139"/>
                            </a:moveTo>
                            <a:lnTo>
                              <a:pt x="92151" y="173139"/>
                            </a:lnTo>
                            <a:lnTo>
                              <a:pt x="92151" y="247103"/>
                            </a:lnTo>
                            <a:lnTo>
                              <a:pt x="100952" y="247103"/>
                            </a:lnTo>
                            <a:lnTo>
                              <a:pt x="100952" y="173139"/>
                            </a:lnTo>
                            <a:close/>
                          </a:path>
                        </a:pathLst>
                      </a:custGeom>
                      <a:solidFill>
                        <a:srgbClr val="58535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6" name="object 506">
                        <a:extLst>
                          <a:ext uri="{FF2B5EF4-FFF2-40B4-BE49-F238E27FC236}">
                            <a16:creationId xmlns:a16="http://schemas.microsoft.com/office/drawing/2014/main" id="{29C6E67B-BEAC-11DE-28B1-E52ECB774EB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32709" y="3408779"/>
                        <a:ext cx="1908175" cy="8108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08175" h="810895">
                            <a:moveTo>
                              <a:pt x="1908163" y="810573"/>
                            </a:moveTo>
                            <a:lnTo>
                              <a:pt x="1759275" y="810573"/>
                            </a:lnTo>
                            <a:lnTo>
                              <a:pt x="1759275" y="577506"/>
                            </a:lnTo>
                            <a:lnTo>
                              <a:pt x="1202311" y="577506"/>
                            </a:lnTo>
                            <a:lnTo>
                              <a:pt x="1202311" y="431112"/>
                            </a:lnTo>
                            <a:lnTo>
                              <a:pt x="620451" y="431112"/>
                            </a:lnTo>
                            <a:lnTo>
                              <a:pt x="620451" y="343070"/>
                            </a:lnTo>
                            <a:lnTo>
                              <a:pt x="550360" y="343070"/>
                            </a:lnTo>
                            <a:lnTo>
                              <a:pt x="550360" y="259968"/>
                            </a:lnTo>
                            <a:lnTo>
                              <a:pt x="544393" y="259968"/>
                            </a:lnTo>
                            <a:lnTo>
                              <a:pt x="544393" y="170214"/>
                            </a:lnTo>
                            <a:lnTo>
                              <a:pt x="469801" y="170214"/>
                            </a:lnTo>
                            <a:lnTo>
                              <a:pt x="469801" y="87748"/>
                            </a:lnTo>
                            <a:lnTo>
                              <a:pt x="427199" y="87748"/>
                            </a:lnTo>
                            <a:lnTo>
                              <a:pt x="427199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C37900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7" name="object 507">
                        <a:extLst>
                          <a:ext uri="{FF2B5EF4-FFF2-40B4-BE49-F238E27FC236}">
                            <a16:creationId xmlns:a16="http://schemas.microsoft.com/office/drawing/2014/main" id="{2F3DA0B0-4684-B140-1837-003F4F4E1AB2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28295" y="3371515"/>
                        <a:ext cx="1917064" cy="88455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17065" h="884554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3367"/>
                            </a:lnTo>
                            <a:lnTo>
                              <a:pt x="8813" y="73367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1917065" h="884554">
                            <a:moveTo>
                              <a:pt x="827011" y="430822"/>
                            </a:moveTo>
                            <a:lnTo>
                              <a:pt x="818210" y="430822"/>
                            </a:lnTo>
                            <a:lnTo>
                              <a:pt x="818210" y="504774"/>
                            </a:lnTo>
                            <a:lnTo>
                              <a:pt x="827011" y="504774"/>
                            </a:lnTo>
                            <a:lnTo>
                              <a:pt x="827011" y="430822"/>
                            </a:lnTo>
                            <a:close/>
                          </a:path>
                          <a:path w="1917065" h="884554">
                            <a:moveTo>
                              <a:pt x="1109332" y="430822"/>
                            </a:moveTo>
                            <a:lnTo>
                              <a:pt x="1100531" y="430822"/>
                            </a:lnTo>
                            <a:lnTo>
                              <a:pt x="1100531" y="504774"/>
                            </a:lnTo>
                            <a:lnTo>
                              <a:pt x="1109332" y="504774"/>
                            </a:lnTo>
                            <a:lnTo>
                              <a:pt x="1109332" y="430822"/>
                            </a:lnTo>
                            <a:close/>
                          </a:path>
                          <a:path w="1917065" h="884554">
                            <a:moveTo>
                              <a:pt x="1171549" y="430822"/>
                            </a:moveTo>
                            <a:lnTo>
                              <a:pt x="1162748" y="430822"/>
                            </a:lnTo>
                            <a:lnTo>
                              <a:pt x="1162748" y="504774"/>
                            </a:lnTo>
                            <a:lnTo>
                              <a:pt x="1171549" y="504774"/>
                            </a:lnTo>
                            <a:lnTo>
                              <a:pt x="1171549" y="430822"/>
                            </a:lnTo>
                            <a:close/>
                          </a:path>
                          <a:path w="1917065" h="884554">
                            <a:moveTo>
                              <a:pt x="1362900" y="579310"/>
                            </a:moveTo>
                            <a:lnTo>
                              <a:pt x="1354086" y="579310"/>
                            </a:lnTo>
                            <a:lnTo>
                              <a:pt x="1354086" y="653275"/>
                            </a:lnTo>
                            <a:lnTo>
                              <a:pt x="1362900" y="653275"/>
                            </a:lnTo>
                            <a:lnTo>
                              <a:pt x="1362900" y="579310"/>
                            </a:lnTo>
                            <a:close/>
                          </a:path>
                          <a:path w="1917065" h="884554">
                            <a:moveTo>
                              <a:pt x="1916976" y="810577"/>
                            </a:moveTo>
                            <a:lnTo>
                              <a:pt x="1908175" y="810577"/>
                            </a:lnTo>
                            <a:lnTo>
                              <a:pt x="1908175" y="884529"/>
                            </a:lnTo>
                            <a:lnTo>
                              <a:pt x="1916976" y="884529"/>
                            </a:lnTo>
                            <a:lnTo>
                              <a:pt x="1916976" y="810577"/>
                            </a:lnTo>
                            <a:close/>
                          </a:path>
                        </a:pathLst>
                      </a:custGeom>
                      <a:solidFill>
                        <a:srgbClr val="C37900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8" name="object 508">
                        <a:extLst>
                          <a:ext uri="{FF2B5EF4-FFF2-40B4-BE49-F238E27FC236}">
                            <a16:creationId xmlns:a16="http://schemas.microsoft.com/office/drawing/2014/main" id="{E2943140-DF9F-36FC-7479-67F55DC2EF4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2828014" y="3405257"/>
                        <a:ext cx="1976120" cy="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76119">
                            <a:moveTo>
                              <a:pt x="1975662" y="0"/>
                            </a:move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DF5F39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9" name="object 509">
                        <a:extLst>
                          <a:ext uri="{FF2B5EF4-FFF2-40B4-BE49-F238E27FC236}">
                            <a16:creationId xmlns:a16="http://schemas.microsoft.com/office/drawing/2014/main" id="{F2E0D1F2-98BF-9A53-0C28-01D4C258843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3648855" y="3367997"/>
                        <a:ext cx="116205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162050" h="74295">
                            <a:moveTo>
                              <a:pt x="8216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216" y="73952"/>
                            </a:lnTo>
                            <a:lnTo>
                              <a:pt x="8216" y="0"/>
                            </a:lnTo>
                            <a:close/>
                          </a:path>
                          <a:path w="1162050" h="74295">
                            <a:moveTo>
                              <a:pt x="301688" y="0"/>
                            </a:moveTo>
                            <a:lnTo>
                              <a:pt x="293471" y="0"/>
                            </a:lnTo>
                            <a:lnTo>
                              <a:pt x="293471" y="73952"/>
                            </a:lnTo>
                            <a:lnTo>
                              <a:pt x="301688" y="73952"/>
                            </a:lnTo>
                            <a:lnTo>
                              <a:pt x="301688" y="0"/>
                            </a:lnTo>
                            <a:close/>
                          </a:path>
                          <a:path w="1162050" h="74295">
                            <a:moveTo>
                              <a:pt x="549960" y="0"/>
                            </a:moveTo>
                            <a:lnTo>
                              <a:pt x="541159" y="0"/>
                            </a:lnTo>
                            <a:lnTo>
                              <a:pt x="541159" y="73952"/>
                            </a:lnTo>
                            <a:lnTo>
                              <a:pt x="549960" y="73952"/>
                            </a:lnTo>
                            <a:lnTo>
                              <a:pt x="549960" y="0"/>
                            </a:lnTo>
                            <a:close/>
                          </a:path>
                          <a:path w="1162050" h="74295">
                            <a:moveTo>
                              <a:pt x="630961" y="0"/>
                            </a:moveTo>
                            <a:lnTo>
                              <a:pt x="622160" y="0"/>
                            </a:lnTo>
                            <a:lnTo>
                              <a:pt x="622160" y="73952"/>
                            </a:lnTo>
                            <a:lnTo>
                              <a:pt x="630961" y="73952"/>
                            </a:lnTo>
                            <a:lnTo>
                              <a:pt x="630961" y="0"/>
                            </a:lnTo>
                            <a:close/>
                          </a:path>
                          <a:path w="1162050" h="74295">
                            <a:moveTo>
                              <a:pt x="839330" y="0"/>
                            </a:moveTo>
                            <a:lnTo>
                              <a:pt x="830529" y="0"/>
                            </a:lnTo>
                            <a:lnTo>
                              <a:pt x="830529" y="73952"/>
                            </a:lnTo>
                            <a:lnTo>
                              <a:pt x="839330" y="73952"/>
                            </a:lnTo>
                            <a:lnTo>
                              <a:pt x="839330" y="0"/>
                            </a:lnTo>
                            <a:close/>
                          </a:path>
                          <a:path w="1162050" h="74295">
                            <a:moveTo>
                              <a:pt x="856348" y="0"/>
                            </a:moveTo>
                            <a:lnTo>
                              <a:pt x="847547" y="0"/>
                            </a:lnTo>
                            <a:lnTo>
                              <a:pt x="847547" y="73952"/>
                            </a:lnTo>
                            <a:lnTo>
                              <a:pt x="856348" y="73952"/>
                            </a:lnTo>
                            <a:lnTo>
                              <a:pt x="856348" y="0"/>
                            </a:lnTo>
                            <a:close/>
                          </a:path>
                          <a:path w="1162050" h="74295">
                            <a:moveTo>
                              <a:pt x="878065" y="0"/>
                            </a:moveTo>
                            <a:lnTo>
                              <a:pt x="869264" y="0"/>
                            </a:lnTo>
                            <a:lnTo>
                              <a:pt x="869264" y="73952"/>
                            </a:lnTo>
                            <a:lnTo>
                              <a:pt x="878065" y="73952"/>
                            </a:lnTo>
                            <a:lnTo>
                              <a:pt x="878065" y="0"/>
                            </a:lnTo>
                            <a:close/>
                          </a:path>
                          <a:path w="1162050" h="74295">
                            <a:moveTo>
                              <a:pt x="1161567" y="0"/>
                            </a:moveTo>
                            <a:lnTo>
                              <a:pt x="1153350" y="0"/>
                            </a:lnTo>
                            <a:lnTo>
                              <a:pt x="1153350" y="73952"/>
                            </a:lnTo>
                            <a:lnTo>
                              <a:pt x="1161567" y="73952"/>
                            </a:lnTo>
                            <a:lnTo>
                              <a:pt x="1161567" y="0"/>
                            </a:lnTo>
                            <a:close/>
                          </a:path>
                        </a:pathLst>
                      </a:custGeom>
                      <a:solidFill>
                        <a:srgbClr val="DF5F39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312" name="object 510">
                      <a:extLst>
                        <a:ext uri="{FF2B5EF4-FFF2-40B4-BE49-F238E27FC236}">
                          <a16:creationId xmlns:a16="http://schemas.microsoft.com/office/drawing/2014/main" id="{5B7A7A96-088E-8DD2-174B-DE02B433053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266178" y="3004934"/>
                      <a:ext cx="100896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rgbClr val="DF5F3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R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3" name="object 511">
                      <a:extLst>
                        <a:ext uri="{FF2B5EF4-FFF2-40B4-BE49-F238E27FC236}">
                          <a16:creationId xmlns:a16="http://schemas.microsoft.com/office/drawing/2014/main" id="{0E102AE8-596C-5F78-F225-956CBE5677F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887109" y="3415981"/>
                      <a:ext cx="427766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.2</a:t>
                      </a:r>
                      <a:r>
                        <a:rPr kumimoji="0" sz="1000" b="1" i="0" u="none" strike="noStrike" kern="1200" cap="none" spc="25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0.3—</a:t>
                      </a:r>
                      <a:r>
                        <a:rPr kumimoji="0" sz="1000" b="1" i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R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4" name="object 512">
                      <a:extLst>
                        <a:ext uri="{FF2B5EF4-FFF2-40B4-BE49-F238E27FC236}">
                          <a16:creationId xmlns:a16="http://schemas.microsoft.com/office/drawing/2014/main" id="{C1C2513A-6F71-A9AF-6D33-5BE921C1943E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204290" y="3845723"/>
                      <a:ext cx="391983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7</a:t>
                      </a:r>
                      <a:r>
                        <a:rPr kumimoji="0" sz="1000" b="1" i="0" u="none" strike="noStrike" kern="1200" cap="none" spc="2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.1—</a:t>
                      </a:r>
                      <a:r>
                        <a:rPr kumimoji="0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1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5" name="object 513">
                      <a:extLst>
                        <a:ext uri="{FF2B5EF4-FFF2-40B4-BE49-F238E27FC236}">
                          <a16:creationId xmlns:a16="http://schemas.microsoft.com/office/drawing/2014/main" id="{6D5EA116-728D-4B33-8631-181B3EAFAC0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548744" y="3707280"/>
                      <a:ext cx="27033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254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629535" algn="l"/>
                        </a:tabLst>
                        <a:defRPr/>
                      </a:pPr>
                      <a:r>
                        <a:rPr kumimoji="0" lang="en-US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l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6" name="object 514">
                      <a:extLst>
                        <a:ext uri="{FF2B5EF4-FFF2-40B4-BE49-F238E27FC236}">
                          <a16:creationId xmlns:a16="http://schemas.microsoft.com/office/drawing/2014/main" id="{C7B275B2-99C9-34CF-B938-DAB2666C55D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575253" y="2924277"/>
                      <a:ext cx="22531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DF5F39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R/CRi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17" name="object 515">
                      <a:extLst>
                        <a:ext uri="{FF2B5EF4-FFF2-40B4-BE49-F238E27FC236}">
                          <a16:creationId xmlns:a16="http://schemas.microsoft.com/office/drawing/2014/main" id="{CAA376AA-B21A-8184-506D-B3DC66022B8D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468675" y="3890869"/>
                      <a:ext cx="46207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3111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 err="1">
                          <a:ln>
                            <a:noFill/>
                          </a:ln>
                          <a:solidFill>
                            <a:srgbClr val="58535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onresponder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70" name="object 598">
                      <a:extLst>
                        <a:ext uri="{FF2B5EF4-FFF2-40B4-BE49-F238E27FC236}">
                          <a16:creationId xmlns:a16="http://schemas.microsoft.com/office/drawing/2014/main" id="{445A90C7-EA5F-1ED0-024A-7FDEDA08CD69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491787" y="3671613"/>
                      <a:ext cx="511970" cy="99503"/>
                    </a:xfrm>
                    <a:prstGeom prst="rect">
                      <a:avLst/>
                    </a:prstGeom>
                  </p:spPr>
                  <p:txBody>
                    <a:bodyPr vert="horz" wrap="square" lIns="0" tIns="16510" rIns="0" bIns="0" rtlCol="0">
                      <a:spAutoFit/>
                    </a:bodyPr>
                    <a:lstStyle/>
                    <a:p>
                      <a:pPr marL="2794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3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9</a:t>
                      </a:r>
                      <a:r>
                        <a:rPr kumimoji="0" sz="1000" b="1" i="0" u="none" strike="noStrike" kern="1200" cap="none" spc="15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.7—</a:t>
                      </a:r>
                      <a:r>
                        <a:rPr kumimoji="0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.2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71" name="object 599">
                      <a:extLst>
                        <a:ext uri="{FF2B5EF4-FFF2-40B4-BE49-F238E27FC236}">
                          <a16:creationId xmlns:a16="http://schemas.microsoft.com/office/drawing/2014/main" id="{7407F8EF-93F3-3FFF-FEB0-C8ADF845E3AA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316734" y="3842564"/>
                      <a:ext cx="291106" cy="49190"/>
                    </a:xfrm>
                    <a:prstGeom prst="rect">
                      <a:avLst/>
                    </a:prstGeom>
                  </p:spPr>
                  <p:txBody>
                    <a:bodyPr vert="horz" wrap="square" lIns="0" tIns="16510" rIns="0" bIns="0" rtlCol="0">
                      <a:spAutoFit/>
                    </a:bodyPr>
                    <a:lstStyle/>
                    <a:p>
                      <a:pPr marL="0" marR="5080" lvl="0" indent="0" algn="ctr" defTabSz="914400" rtl="0" eaLnBrk="1" fontAlgn="auto" latinLnBrk="0" hangingPunct="1">
                        <a:lnSpc>
                          <a:spcPts val="375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R/</a:t>
                      </a:r>
                      <a:r>
                        <a:rPr kumimoji="0" sz="1000" b="1" i="0" u="none" strike="noStrike" kern="1200" cap="none" spc="-10" normalizeH="0" baseline="0" noProof="0" dirty="0" err="1">
                          <a:ln>
                            <a:noFill/>
                          </a:ln>
                          <a:solidFill>
                            <a:srgbClr val="C379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PR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500" name="Group 499">
                      <a:extLst>
                        <a:ext uri="{FF2B5EF4-FFF2-40B4-BE49-F238E27FC236}">
                          <a16:creationId xmlns:a16="http://schemas.microsoft.com/office/drawing/2014/main" id="{BB715442-0BF2-0C45-4333-6E8AC9347F88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486164" y="4059795"/>
                      <a:ext cx="2356461" cy="86039"/>
                      <a:chOff x="9486164" y="4053445"/>
                      <a:chExt cx="2356461" cy="86039"/>
                    </a:xfrm>
                  </p:grpSpPr>
                  <p:sp>
                    <p:nvSpPr>
                      <p:cNvPr id="478" name="TextBox 477">
                        <a:extLst>
                          <a:ext uri="{FF2B5EF4-FFF2-40B4-BE49-F238E27FC236}">
                            <a16:creationId xmlns:a16="http://schemas.microsoft.com/office/drawing/2014/main" id="{B632CF44-9BB3-EE29-D3A1-AEF41C18F33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486164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479" name="TextBox 478">
                        <a:extLst>
                          <a:ext uri="{FF2B5EF4-FFF2-40B4-BE49-F238E27FC236}">
                            <a16:creationId xmlns:a16="http://schemas.microsoft.com/office/drawing/2014/main" id="{B1B67718-535A-0D7D-907D-AA3473F83F9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763380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</a:t>
                        </a:r>
                      </a:p>
                    </p:txBody>
                  </p:sp>
                  <p:sp>
                    <p:nvSpPr>
                      <p:cNvPr id="480" name="TextBox 479">
                        <a:extLst>
                          <a:ext uri="{FF2B5EF4-FFF2-40B4-BE49-F238E27FC236}">
                            <a16:creationId xmlns:a16="http://schemas.microsoft.com/office/drawing/2014/main" id="{83AE4002-28E2-F767-C191-06F47C2F3FF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042977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2</a:t>
                        </a:r>
                      </a:p>
                    </p:txBody>
                  </p:sp>
                  <p:sp>
                    <p:nvSpPr>
                      <p:cNvPr id="481" name="TextBox 480">
                        <a:extLst>
                          <a:ext uri="{FF2B5EF4-FFF2-40B4-BE49-F238E27FC236}">
                            <a16:creationId xmlns:a16="http://schemas.microsoft.com/office/drawing/2014/main" id="{4F699BBC-D2E1-8E44-C18F-77C4F4A5521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320193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8</a:t>
                        </a:r>
                      </a:p>
                    </p:txBody>
                  </p:sp>
                  <p:sp>
                    <p:nvSpPr>
                      <p:cNvPr id="482" name="TextBox 481">
                        <a:extLst>
                          <a:ext uri="{FF2B5EF4-FFF2-40B4-BE49-F238E27FC236}">
                            <a16:creationId xmlns:a16="http://schemas.microsoft.com/office/drawing/2014/main" id="{D3F6A534-581B-EDDB-86A4-72BFFDA33CD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597409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4</a:t>
                        </a:r>
                      </a:p>
                    </p:txBody>
                  </p:sp>
                  <p:sp>
                    <p:nvSpPr>
                      <p:cNvPr id="483" name="TextBox 482">
                        <a:extLst>
                          <a:ext uri="{FF2B5EF4-FFF2-40B4-BE49-F238E27FC236}">
                            <a16:creationId xmlns:a16="http://schemas.microsoft.com/office/drawing/2014/main" id="{163F7812-0323-3882-DF3A-DCD498B10C3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874625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484" name="TextBox 483">
                        <a:extLst>
                          <a:ext uri="{FF2B5EF4-FFF2-40B4-BE49-F238E27FC236}">
                            <a16:creationId xmlns:a16="http://schemas.microsoft.com/office/drawing/2014/main" id="{4FEEBE07-4391-C2C4-E966-9AC7E79A8C3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151841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6</a:t>
                        </a:r>
                      </a:p>
                    </p:txBody>
                  </p:sp>
                  <p:sp>
                    <p:nvSpPr>
                      <p:cNvPr id="485" name="TextBox 484">
                        <a:extLst>
                          <a:ext uri="{FF2B5EF4-FFF2-40B4-BE49-F238E27FC236}">
                            <a16:creationId xmlns:a16="http://schemas.microsoft.com/office/drawing/2014/main" id="{F9EDBB64-3E0F-2B79-C05A-BDB7FB4B8CA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429057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2</a:t>
                        </a:r>
                      </a:p>
                    </p:txBody>
                  </p:sp>
                  <p:sp>
                    <p:nvSpPr>
                      <p:cNvPr id="486" name="TextBox 485">
                        <a:extLst>
                          <a:ext uri="{FF2B5EF4-FFF2-40B4-BE49-F238E27FC236}">
                            <a16:creationId xmlns:a16="http://schemas.microsoft.com/office/drawing/2014/main" id="{D1274F16-5BCC-E5F6-B253-400E1A4241C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706273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8</a:t>
                        </a:r>
                      </a:p>
                    </p:txBody>
                  </p:sp>
                </p:grpSp>
                <p:grpSp>
                  <p:nvGrpSpPr>
                    <p:cNvPr id="488" name="Group 487">
                      <a:extLst>
                        <a:ext uri="{FF2B5EF4-FFF2-40B4-BE49-F238E27FC236}">
                          <a16:creationId xmlns:a16="http://schemas.microsoft.com/office/drawing/2014/main" id="{EF236063-611E-D14F-A2F4-5BBEE43AEDEA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9317419" y="2922366"/>
                      <a:ext cx="107452" cy="1126653"/>
                      <a:chOff x="3302547" y="2627851"/>
                      <a:chExt cx="107452" cy="1126653"/>
                    </a:xfrm>
                  </p:grpSpPr>
                  <p:sp>
                    <p:nvSpPr>
                      <p:cNvPr id="489" name="TextBox 488">
                        <a:extLst>
                          <a:ext uri="{FF2B5EF4-FFF2-40B4-BE49-F238E27FC236}">
                            <a16:creationId xmlns:a16="http://schemas.microsoft.com/office/drawing/2014/main" id="{8F40D0C1-A6EC-AC8C-0B23-D03398AC309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490" name="TextBox 489">
                        <a:extLst>
                          <a:ext uri="{FF2B5EF4-FFF2-40B4-BE49-F238E27FC236}">
                            <a16:creationId xmlns:a16="http://schemas.microsoft.com/office/drawing/2014/main" id="{8C4EE85B-EEAA-7868-CF3F-6D21B6DDD4D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0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</a:t>
                        </a:r>
                      </a:p>
                    </p:txBody>
                  </p:sp>
                  <p:sp>
                    <p:nvSpPr>
                      <p:cNvPr id="491" name="TextBox 490">
                        <a:extLst>
                          <a:ext uri="{FF2B5EF4-FFF2-40B4-BE49-F238E27FC236}">
                            <a16:creationId xmlns:a16="http://schemas.microsoft.com/office/drawing/2014/main" id="{5BB98835-9822-E41D-97E7-DA3BCA71B3D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0</a:t>
                        </a:r>
                      </a:p>
                    </p:txBody>
                  </p:sp>
                  <p:sp>
                    <p:nvSpPr>
                      <p:cNvPr id="492" name="TextBox 491">
                        <a:extLst>
                          <a:ext uri="{FF2B5EF4-FFF2-40B4-BE49-F238E27FC236}">
                            <a16:creationId xmlns:a16="http://schemas.microsoft.com/office/drawing/2014/main" id="{66185515-C818-BEC8-FB13-BFCFC2F8E26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8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493" name="TextBox 492">
                        <a:extLst>
                          <a:ext uri="{FF2B5EF4-FFF2-40B4-BE49-F238E27FC236}">
                            <a16:creationId xmlns:a16="http://schemas.microsoft.com/office/drawing/2014/main" id="{E965D3F8-5E2E-C247-BB59-F652B3ACBC8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0</a:t>
                        </a:r>
                      </a:p>
                    </p:txBody>
                  </p:sp>
                  <p:sp>
                    <p:nvSpPr>
                      <p:cNvPr id="494" name="TextBox 493">
                        <a:extLst>
                          <a:ext uri="{FF2B5EF4-FFF2-40B4-BE49-F238E27FC236}">
                            <a16:creationId xmlns:a16="http://schemas.microsoft.com/office/drawing/2014/main" id="{C8984D85-5ACE-85AA-4D3F-A83BD0FE698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50</a:t>
                        </a:r>
                      </a:p>
                    </p:txBody>
                  </p:sp>
                  <p:sp>
                    <p:nvSpPr>
                      <p:cNvPr id="495" name="TextBox 494">
                        <a:extLst>
                          <a:ext uri="{FF2B5EF4-FFF2-40B4-BE49-F238E27FC236}">
                            <a16:creationId xmlns:a16="http://schemas.microsoft.com/office/drawing/2014/main" id="{9B1D27AE-446D-7357-439F-C6F3C2EC214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0</a:t>
                        </a:r>
                      </a:p>
                    </p:txBody>
                  </p:sp>
                  <p:sp>
                    <p:nvSpPr>
                      <p:cNvPr id="496" name="TextBox 495">
                        <a:extLst>
                          <a:ext uri="{FF2B5EF4-FFF2-40B4-BE49-F238E27FC236}">
                            <a16:creationId xmlns:a16="http://schemas.microsoft.com/office/drawing/2014/main" id="{87BCB19A-0591-AC81-7CEC-E4E7B57C5A9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80</a:t>
                        </a:r>
                      </a:p>
                    </p:txBody>
                  </p:sp>
                  <p:sp>
                    <p:nvSpPr>
                      <p:cNvPr id="497" name="TextBox 496">
                        <a:extLst>
                          <a:ext uri="{FF2B5EF4-FFF2-40B4-BE49-F238E27FC236}">
                            <a16:creationId xmlns:a16="http://schemas.microsoft.com/office/drawing/2014/main" id="{3617DB70-AC4E-93CA-CECC-396EF0F4012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2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90</a:t>
                        </a:r>
                      </a:p>
                    </p:txBody>
                  </p:sp>
                  <p:sp>
                    <p:nvSpPr>
                      <p:cNvPr id="498" name="TextBox 497">
                        <a:extLst>
                          <a:ext uri="{FF2B5EF4-FFF2-40B4-BE49-F238E27FC236}">
                            <a16:creationId xmlns:a16="http://schemas.microsoft.com/office/drawing/2014/main" id="{98E80900-0B60-2661-B540-9B5F8966E2E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1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0</a:t>
                        </a:r>
                      </a:p>
                    </p:txBody>
                  </p:sp>
                  <p:sp>
                    <p:nvSpPr>
                      <p:cNvPr id="499" name="TextBox 498">
                        <a:extLst>
                          <a:ext uri="{FF2B5EF4-FFF2-40B4-BE49-F238E27FC236}">
                            <a16:creationId xmlns:a16="http://schemas.microsoft.com/office/drawing/2014/main" id="{10A46FF4-BD9B-0DA5-3F25-ABCC89B6A0B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70</a:t>
                        </a:r>
                      </a:p>
                    </p:txBody>
                  </p:sp>
                </p:grpSp>
              </p:grpSp>
            </p:grpSp>
          </p:grpSp>
          <p:sp>
            <p:nvSpPr>
              <p:cNvPr id="542" name="TextBox 541">
                <a:extLst>
                  <a:ext uri="{FF2B5EF4-FFF2-40B4-BE49-F238E27FC236}">
                    <a16:creationId xmlns:a16="http://schemas.microsoft.com/office/drawing/2014/main" id="{A19CF12D-A298-E3AD-810C-867A2785DEC4}"/>
                  </a:ext>
                </a:extLst>
              </p:cNvPr>
              <p:cNvSpPr txBox="1"/>
              <p:nvPr/>
            </p:nvSpPr>
            <p:spPr>
              <a:xfrm>
                <a:off x="7441422" y="3624210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ime From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iso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cel Infusion, Month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6" name="Group 545">
              <a:extLst>
                <a:ext uri="{FF2B5EF4-FFF2-40B4-BE49-F238E27FC236}">
                  <a16:creationId xmlns:a16="http://schemas.microsoft.com/office/drawing/2014/main" id="{FAD30ABF-4BB0-4EC7-7542-7060BEA793CA}"/>
                </a:ext>
              </a:extLst>
            </p:cNvPr>
            <p:cNvGrpSpPr/>
            <p:nvPr/>
          </p:nvGrpSpPr>
          <p:grpSpPr>
            <a:xfrm>
              <a:off x="6041605" y="3940361"/>
              <a:ext cx="6025587" cy="2594863"/>
              <a:chOff x="6041605" y="4061011"/>
              <a:chExt cx="6025587" cy="2594863"/>
            </a:xfrm>
          </p:grpSpPr>
          <p:grpSp>
            <p:nvGrpSpPr>
              <p:cNvPr id="538" name="Group 537">
                <a:extLst>
                  <a:ext uri="{FF2B5EF4-FFF2-40B4-BE49-F238E27FC236}">
                    <a16:creationId xmlns:a16="http://schemas.microsoft.com/office/drawing/2014/main" id="{14CE72B1-A308-F5C0-8EE6-5124E4724D0F}"/>
                  </a:ext>
                </a:extLst>
              </p:cNvPr>
              <p:cNvGrpSpPr/>
              <p:nvPr/>
            </p:nvGrpSpPr>
            <p:grpSpPr>
              <a:xfrm>
                <a:off x="6041605" y="4061011"/>
                <a:ext cx="6025587" cy="2383858"/>
                <a:chOff x="6611605" y="4635749"/>
                <a:chExt cx="2821876" cy="1390718"/>
              </a:xfrm>
            </p:grpSpPr>
            <p:grpSp>
              <p:nvGrpSpPr>
                <p:cNvPr id="534" name="Group 533">
                  <a:extLst>
                    <a:ext uri="{FF2B5EF4-FFF2-40B4-BE49-F238E27FC236}">
                      <a16:creationId xmlns:a16="http://schemas.microsoft.com/office/drawing/2014/main" id="{2D41B864-C532-0906-F92B-075A7DEC699D}"/>
                    </a:ext>
                  </a:extLst>
                </p:cNvPr>
                <p:cNvGrpSpPr/>
                <p:nvPr/>
              </p:nvGrpSpPr>
              <p:grpSpPr>
                <a:xfrm>
                  <a:off x="6611605" y="4802999"/>
                  <a:ext cx="2617749" cy="1223468"/>
                  <a:chOff x="6611605" y="4802999"/>
                  <a:chExt cx="2617749" cy="1223468"/>
                </a:xfrm>
              </p:grpSpPr>
              <p:sp>
                <p:nvSpPr>
                  <p:cNvPr id="320" name="object 518">
                    <a:extLst>
                      <a:ext uri="{FF2B5EF4-FFF2-40B4-BE49-F238E27FC236}">
                        <a16:creationId xmlns:a16="http://schemas.microsoft.com/office/drawing/2014/main" id="{FA7B9C9A-5ADE-D117-D6F3-6370699E6980}"/>
                      </a:ext>
                    </a:extLst>
                  </p:cNvPr>
                  <p:cNvSpPr txBox="1"/>
                  <p:nvPr/>
                </p:nvSpPr>
                <p:spPr>
                  <a:xfrm>
                    <a:off x="6611605" y="5041505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1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PFS,</a:t>
                    </a:r>
                    <a:r>
                      <a:rPr kumimoji="0" sz="1200" b="1" i="0" u="none" strike="noStrike" kern="1200" cap="none" spc="85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</a:t>
                    </a:r>
                    <a:r>
                      <a:rPr kumimoji="0" sz="1200" b="1" i="0" u="none" strike="noStrike" kern="1200" cap="none" spc="-5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%</a:t>
                    </a:r>
                    <a:endParaRPr kumimoji="0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30" name="Group 529">
                    <a:extLst>
                      <a:ext uri="{FF2B5EF4-FFF2-40B4-BE49-F238E27FC236}">
                        <a16:creationId xmlns:a16="http://schemas.microsoft.com/office/drawing/2014/main" id="{38CE9459-1D66-D34F-7F27-0E18DBEE78B9}"/>
                      </a:ext>
                    </a:extLst>
                  </p:cNvPr>
                  <p:cNvGrpSpPr/>
                  <p:nvPr/>
                </p:nvGrpSpPr>
                <p:grpSpPr>
                  <a:xfrm>
                    <a:off x="6704148" y="4802999"/>
                    <a:ext cx="2525206" cy="1223468"/>
                    <a:chOff x="6611928" y="4636063"/>
                    <a:chExt cx="2525206" cy="1223468"/>
                  </a:xfrm>
                </p:grpSpPr>
                <p:grpSp>
                  <p:nvGrpSpPr>
                    <p:cNvPr id="327" name="object 525">
                      <a:extLst>
                        <a:ext uri="{FF2B5EF4-FFF2-40B4-BE49-F238E27FC236}">
                          <a16:creationId xmlns:a16="http://schemas.microsoft.com/office/drawing/2014/main" id="{43898966-0E37-D94C-3EA3-FB9A31BEDDCF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728499" y="4643134"/>
                      <a:ext cx="2348865" cy="1133475"/>
                      <a:chOff x="10005099" y="5081284"/>
                      <a:chExt cx="2348865" cy="1133475"/>
                    </a:xfrm>
                  </p:grpSpPr>
                  <p:sp>
                    <p:nvSpPr>
                      <p:cNvPr id="382" name="object 526">
                        <a:extLst>
                          <a:ext uri="{FF2B5EF4-FFF2-40B4-BE49-F238E27FC236}">
                            <a16:creationId xmlns:a16="http://schemas.microsoft.com/office/drawing/2014/main" id="{0B38F383-7B1C-BF34-C9D7-00D45E1D5BB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008909" y="5117381"/>
                        <a:ext cx="2341245" cy="109410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341245" h="1094104">
                            <a:moveTo>
                              <a:pt x="121497" y="1093481"/>
                            </a:moveTo>
                            <a:lnTo>
                              <a:pt x="121497" y="1061786"/>
                            </a:lnTo>
                          </a:path>
                          <a:path w="2341245" h="1094104">
                            <a:moveTo>
                              <a:pt x="0" y="0"/>
                            </a:moveTo>
                            <a:lnTo>
                              <a:pt x="23673" y="0"/>
                            </a:lnTo>
                          </a:path>
                          <a:path w="2341245" h="1094104">
                            <a:moveTo>
                              <a:pt x="0" y="207779"/>
                            </a:moveTo>
                            <a:lnTo>
                              <a:pt x="23673" y="207779"/>
                            </a:lnTo>
                          </a:path>
                          <a:path w="2341245" h="1094104">
                            <a:moveTo>
                              <a:pt x="0" y="414971"/>
                            </a:moveTo>
                            <a:lnTo>
                              <a:pt x="23673" y="414971"/>
                            </a:lnTo>
                          </a:path>
                          <a:path w="2341245" h="1094104">
                            <a:moveTo>
                              <a:pt x="0" y="622750"/>
                            </a:moveTo>
                            <a:lnTo>
                              <a:pt x="23673" y="622750"/>
                            </a:lnTo>
                          </a:path>
                          <a:path w="2341245" h="1094104">
                            <a:moveTo>
                              <a:pt x="0" y="103889"/>
                            </a:moveTo>
                            <a:lnTo>
                              <a:pt x="23673" y="103889"/>
                            </a:lnTo>
                          </a:path>
                          <a:path w="2341245" h="1094104">
                            <a:moveTo>
                              <a:pt x="0" y="311668"/>
                            </a:moveTo>
                            <a:lnTo>
                              <a:pt x="23673" y="311668"/>
                            </a:lnTo>
                          </a:path>
                          <a:path w="2341245" h="1094104">
                            <a:moveTo>
                              <a:pt x="0" y="518860"/>
                            </a:moveTo>
                            <a:lnTo>
                              <a:pt x="23673" y="518860"/>
                            </a:lnTo>
                          </a:path>
                          <a:path w="2341245" h="1094104">
                            <a:moveTo>
                              <a:pt x="0" y="726640"/>
                            </a:moveTo>
                            <a:lnTo>
                              <a:pt x="23673" y="726640"/>
                            </a:lnTo>
                          </a:path>
                          <a:path w="2341245" h="1094104">
                            <a:moveTo>
                              <a:pt x="0" y="830529"/>
                            </a:moveTo>
                            <a:lnTo>
                              <a:pt x="23673" y="830529"/>
                            </a:lnTo>
                          </a:path>
                          <a:path w="2341245" h="1094104">
                            <a:moveTo>
                              <a:pt x="0" y="934419"/>
                            </a:moveTo>
                            <a:lnTo>
                              <a:pt x="23673" y="934419"/>
                            </a:lnTo>
                          </a:path>
                          <a:path w="2341245" h="1094104">
                            <a:moveTo>
                              <a:pt x="0" y="1037721"/>
                            </a:moveTo>
                            <a:lnTo>
                              <a:pt x="23673" y="1037721"/>
                            </a:lnTo>
                          </a:path>
                          <a:path w="2341245" h="1094104">
                            <a:moveTo>
                              <a:pt x="2340792" y="1061786"/>
                            </a:moveTo>
                            <a:lnTo>
                              <a:pt x="28760" y="1061786"/>
                            </a:lnTo>
                          </a:path>
                          <a:path w="2341245" h="1094104">
                            <a:moveTo>
                              <a:pt x="28760" y="1062031"/>
                            </a:moveTo>
                            <a:lnTo>
                              <a:pt x="28760" y="0"/>
                            </a:lnTo>
                          </a:path>
                          <a:path w="2341245" h="1094104">
                            <a:moveTo>
                              <a:pt x="399123" y="1093481"/>
                            </a:moveTo>
                            <a:lnTo>
                              <a:pt x="399123" y="1061786"/>
                            </a:lnTo>
                          </a:path>
                          <a:path w="2341245" h="1094104">
                            <a:moveTo>
                              <a:pt x="676162" y="1093481"/>
                            </a:moveTo>
                            <a:lnTo>
                              <a:pt x="676162" y="1061786"/>
                            </a:lnTo>
                          </a:path>
                          <a:path w="2341245" h="1094104">
                            <a:moveTo>
                              <a:pt x="953788" y="1093481"/>
                            </a:moveTo>
                            <a:lnTo>
                              <a:pt x="953788" y="1061786"/>
                            </a:lnTo>
                          </a:path>
                          <a:path w="2341245" h="1094104">
                            <a:moveTo>
                              <a:pt x="1230827" y="1093481"/>
                            </a:moveTo>
                            <a:lnTo>
                              <a:pt x="1230827" y="1061786"/>
                            </a:lnTo>
                          </a:path>
                          <a:path w="2341245" h="1094104">
                            <a:moveTo>
                              <a:pt x="1508453" y="1093481"/>
                            </a:moveTo>
                            <a:lnTo>
                              <a:pt x="1508453" y="1061786"/>
                            </a:lnTo>
                          </a:path>
                          <a:path w="2341245" h="1094104">
                            <a:moveTo>
                              <a:pt x="1786078" y="1093481"/>
                            </a:moveTo>
                            <a:lnTo>
                              <a:pt x="1786078" y="1061786"/>
                            </a:lnTo>
                          </a:path>
                          <a:path w="2341245" h="1094104">
                            <a:moveTo>
                              <a:pt x="2063117" y="1093481"/>
                            </a:moveTo>
                            <a:lnTo>
                              <a:pt x="2063117" y="1061786"/>
                            </a:lnTo>
                          </a:path>
                          <a:path w="2341245" h="1094104">
                            <a:moveTo>
                              <a:pt x="2340743" y="1093481"/>
                            </a:moveTo>
                            <a:lnTo>
                              <a:pt x="2340743" y="1061786"/>
                            </a:lnTo>
                          </a:path>
                        </a:pathLst>
                      </a:custGeom>
                      <a:ln w="7336">
                        <a:solidFill>
                          <a:schemeClr val="tx1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3" name="object 527">
                        <a:extLst>
                          <a:ext uri="{FF2B5EF4-FFF2-40B4-BE49-F238E27FC236}">
                            <a16:creationId xmlns:a16="http://schemas.microsoft.com/office/drawing/2014/main" id="{1D1F8380-1D34-7B93-9303-AC1EB0348D7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0700" y="5118261"/>
                        <a:ext cx="1976120" cy="7969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76120" h="796925">
                            <a:moveTo>
                              <a:pt x="1975662" y="796486"/>
                            </a:moveTo>
                            <a:lnTo>
                              <a:pt x="1759177" y="796486"/>
                            </a:lnTo>
                            <a:lnTo>
                              <a:pt x="1759177" y="672298"/>
                            </a:lnTo>
                            <a:lnTo>
                              <a:pt x="1210430" y="672298"/>
                            </a:lnTo>
                            <a:lnTo>
                              <a:pt x="1210430" y="640896"/>
                            </a:lnTo>
                            <a:lnTo>
                              <a:pt x="1020357" y="640896"/>
                            </a:lnTo>
                            <a:lnTo>
                              <a:pt x="1020357" y="606658"/>
                            </a:lnTo>
                            <a:lnTo>
                              <a:pt x="616391" y="606658"/>
                            </a:lnTo>
                            <a:lnTo>
                              <a:pt x="616391" y="586897"/>
                            </a:lnTo>
                            <a:lnTo>
                              <a:pt x="557795" y="586897"/>
                            </a:lnTo>
                            <a:lnTo>
                              <a:pt x="557795" y="545420"/>
                            </a:lnTo>
                            <a:lnTo>
                              <a:pt x="550947" y="545420"/>
                            </a:lnTo>
                            <a:lnTo>
                              <a:pt x="550947" y="495089"/>
                            </a:lnTo>
                            <a:lnTo>
                              <a:pt x="477089" y="495089"/>
                            </a:lnTo>
                            <a:lnTo>
                              <a:pt x="477089" y="471807"/>
                            </a:lnTo>
                            <a:lnTo>
                              <a:pt x="434487" y="471807"/>
                            </a:lnTo>
                            <a:lnTo>
                              <a:pt x="435051" y="467649"/>
                            </a:lnTo>
                            <a:lnTo>
                              <a:pt x="435991" y="458503"/>
                            </a:lnTo>
                            <a:lnTo>
                              <a:pt x="436179" y="449356"/>
                            </a:lnTo>
                            <a:lnTo>
                              <a:pt x="434487" y="445199"/>
                            </a:lnTo>
                            <a:lnTo>
                              <a:pt x="424509" y="445199"/>
                            </a:lnTo>
                            <a:lnTo>
                              <a:pt x="424509" y="423873"/>
                            </a:lnTo>
                            <a:lnTo>
                              <a:pt x="383912" y="423873"/>
                            </a:lnTo>
                            <a:lnTo>
                              <a:pt x="387922" y="401275"/>
                            </a:lnTo>
                            <a:lnTo>
                              <a:pt x="383912" y="401275"/>
                            </a:lnTo>
                            <a:lnTo>
                              <a:pt x="292739" y="401275"/>
                            </a:lnTo>
                            <a:lnTo>
                              <a:pt x="292739" y="378678"/>
                            </a:lnTo>
                            <a:lnTo>
                              <a:pt x="281440" y="378678"/>
                            </a:lnTo>
                            <a:lnTo>
                              <a:pt x="281440" y="356032"/>
                            </a:lnTo>
                            <a:lnTo>
                              <a:pt x="265446" y="356032"/>
                            </a:lnTo>
                            <a:lnTo>
                              <a:pt x="265446" y="331429"/>
                            </a:lnTo>
                            <a:lnTo>
                              <a:pt x="255468" y="331429"/>
                            </a:lnTo>
                            <a:lnTo>
                              <a:pt x="255468" y="309467"/>
                            </a:lnTo>
                            <a:lnTo>
                              <a:pt x="212279" y="309467"/>
                            </a:lnTo>
                            <a:lnTo>
                              <a:pt x="212279" y="279533"/>
                            </a:lnTo>
                            <a:lnTo>
                              <a:pt x="169676" y="279533"/>
                            </a:lnTo>
                            <a:lnTo>
                              <a:pt x="169676" y="263539"/>
                            </a:lnTo>
                            <a:lnTo>
                              <a:pt x="147666" y="263539"/>
                            </a:lnTo>
                            <a:lnTo>
                              <a:pt x="147666" y="238936"/>
                            </a:lnTo>
                            <a:lnTo>
                              <a:pt x="137687" y="238936"/>
                            </a:lnTo>
                            <a:lnTo>
                              <a:pt x="137687" y="215018"/>
                            </a:lnTo>
                            <a:lnTo>
                              <a:pt x="129764" y="215018"/>
                            </a:lnTo>
                            <a:lnTo>
                              <a:pt x="129764" y="198339"/>
                            </a:lnTo>
                            <a:lnTo>
                              <a:pt x="118416" y="198339"/>
                            </a:lnTo>
                            <a:lnTo>
                              <a:pt x="118416" y="171730"/>
                            </a:lnTo>
                            <a:lnTo>
                              <a:pt x="97090" y="171730"/>
                            </a:lnTo>
                            <a:lnTo>
                              <a:pt x="97090" y="146443"/>
                            </a:lnTo>
                            <a:lnTo>
                              <a:pt x="89166" y="146443"/>
                            </a:lnTo>
                            <a:lnTo>
                              <a:pt x="89166" y="125117"/>
                            </a:lnTo>
                            <a:lnTo>
                              <a:pt x="45243" y="125117"/>
                            </a:lnTo>
                            <a:lnTo>
                              <a:pt x="45243" y="103840"/>
                            </a:lnTo>
                            <a:lnTo>
                              <a:pt x="45243" y="103155"/>
                            </a:lnTo>
                            <a:lnTo>
                              <a:pt x="35901" y="103840"/>
                            </a:lnTo>
                            <a:lnTo>
                              <a:pt x="35901" y="62558"/>
                            </a:lnTo>
                            <a:lnTo>
                              <a:pt x="25923" y="62558"/>
                            </a:lnTo>
                            <a:lnTo>
                              <a:pt x="25923" y="40597"/>
                            </a:lnTo>
                            <a:lnTo>
                              <a:pt x="20592" y="40597"/>
                            </a:lnTo>
                            <a:lnTo>
                              <a:pt x="20592" y="21276"/>
                            </a:lnTo>
                            <a:lnTo>
                              <a:pt x="13304" y="21276"/>
                            </a:lnTo>
                            <a:lnTo>
                              <a:pt x="15309" y="0"/>
                            </a:lnTo>
                            <a:lnTo>
                              <a:pt x="13304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4" name="object 528">
                        <a:extLst>
                          <a:ext uri="{FF2B5EF4-FFF2-40B4-BE49-F238E27FC236}">
                            <a16:creationId xmlns:a16="http://schemas.microsoft.com/office/drawing/2014/main" id="{3925868F-F513-DD36-9DB8-17D8C32709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76472" y="5205141"/>
                        <a:ext cx="1934845" cy="73723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34845" h="737235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13" y="73952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1934845" h="737235">
                            <a:moveTo>
                              <a:pt x="77482" y="67487"/>
                            </a:moveTo>
                            <a:lnTo>
                              <a:pt x="68681" y="67487"/>
                            </a:lnTo>
                            <a:lnTo>
                              <a:pt x="68681" y="141452"/>
                            </a:lnTo>
                            <a:lnTo>
                              <a:pt x="77482" y="141452"/>
                            </a:lnTo>
                            <a:lnTo>
                              <a:pt x="77482" y="67487"/>
                            </a:lnTo>
                            <a:close/>
                          </a:path>
                          <a:path w="1934845" h="737235">
                            <a:moveTo>
                              <a:pt x="97434" y="86868"/>
                            </a:moveTo>
                            <a:lnTo>
                              <a:pt x="88633" y="86868"/>
                            </a:lnTo>
                            <a:lnTo>
                              <a:pt x="88633" y="160820"/>
                            </a:lnTo>
                            <a:lnTo>
                              <a:pt x="97434" y="160820"/>
                            </a:lnTo>
                            <a:lnTo>
                              <a:pt x="97434" y="86868"/>
                            </a:lnTo>
                            <a:close/>
                          </a:path>
                          <a:path w="1934845" h="737235">
                            <a:moveTo>
                              <a:pt x="784161" y="482460"/>
                            </a:moveTo>
                            <a:lnTo>
                              <a:pt x="775360" y="482460"/>
                            </a:lnTo>
                            <a:lnTo>
                              <a:pt x="775360" y="556425"/>
                            </a:lnTo>
                            <a:lnTo>
                              <a:pt x="784161" y="556425"/>
                            </a:lnTo>
                            <a:lnTo>
                              <a:pt x="784161" y="482460"/>
                            </a:lnTo>
                            <a:close/>
                          </a:path>
                          <a:path w="1934845" h="737235">
                            <a:moveTo>
                              <a:pt x="1064133" y="511225"/>
                            </a:moveTo>
                            <a:lnTo>
                              <a:pt x="1055331" y="511225"/>
                            </a:lnTo>
                            <a:lnTo>
                              <a:pt x="1055331" y="585762"/>
                            </a:lnTo>
                            <a:lnTo>
                              <a:pt x="1064133" y="585762"/>
                            </a:lnTo>
                            <a:lnTo>
                              <a:pt x="1064133" y="511225"/>
                            </a:lnTo>
                            <a:close/>
                          </a:path>
                          <a:path w="1934845" h="737235">
                            <a:moveTo>
                              <a:pt x="1084097" y="511225"/>
                            </a:moveTo>
                            <a:lnTo>
                              <a:pt x="1075296" y="511225"/>
                            </a:lnTo>
                            <a:lnTo>
                              <a:pt x="1075296" y="585762"/>
                            </a:lnTo>
                            <a:lnTo>
                              <a:pt x="1084097" y="585762"/>
                            </a:lnTo>
                            <a:lnTo>
                              <a:pt x="1084097" y="511225"/>
                            </a:lnTo>
                            <a:close/>
                          </a:path>
                          <a:path w="1934845" h="737235">
                            <a:moveTo>
                              <a:pt x="1128699" y="511225"/>
                            </a:moveTo>
                            <a:lnTo>
                              <a:pt x="1119898" y="511225"/>
                            </a:lnTo>
                            <a:lnTo>
                              <a:pt x="1119898" y="585762"/>
                            </a:lnTo>
                            <a:lnTo>
                              <a:pt x="1128699" y="585762"/>
                            </a:lnTo>
                            <a:lnTo>
                              <a:pt x="1128699" y="511225"/>
                            </a:lnTo>
                            <a:close/>
                          </a:path>
                          <a:path w="1934845" h="737235">
                            <a:moveTo>
                              <a:pt x="1322984" y="544093"/>
                            </a:moveTo>
                            <a:lnTo>
                              <a:pt x="1314183" y="544093"/>
                            </a:lnTo>
                            <a:lnTo>
                              <a:pt x="1314183" y="618045"/>
                            </a:lnTo>
                            <a:lnTo>
                              <a:pt x="1322984" y="618045"/>
                            </a:lnTo>
                            <a:lnTo>
                              <a:pt x="1322984" y="544093"/>
                            </a:lnTo>
                            <a:close/>
                          </a:path>
                          <a:path w="1934845" h="737235">
                            <a:moveTo>
                              <a:pt x="1337652" y="544093"/>
                            </a:moveTo>
                            <a:lnTo>
                              <a:pt x="1328851" y="544093"/>
                            </a:lnTo>
                            <a:lnTo>
                              <a:pt x="1328851" y="618045"/>
                            </a:lnTo>
                            <a:lnTo>
                              <a:pt x="1337652" y="618045"/>
                            </a:lnTo>
                            <a:lnTo>
                              <a:pt x="1337652" y="544093"/>
                            </a:lnTo>
                            <a:close/>
                          </a:path>
                          <a:path w="1934845" h="737235">
                            <a:moveTo>
                              <a:pt x="1412786" y="544093"/>
                            </a:moveTo>
                            <a:lnTo>
                              <a:pt x="1403985" y="544093"/>
                            </a:lnTo>
                            <a:lnTo>
                              <a:pt x="1403985" y="618045"/>
                            </a:lnTo>
                            <a:lnTo>
                              <a:pt x="1412786" y="618045"/>
                            </a:lnTo>
                            <a:lnTo>
                              <a:pt x="1412786" y="544093"/>
                            </a:lnTo>
                            <a:close/>
                          </a:path>
                          <a:path w="1934845" h="737235">
                            <a:moveTo>
                              <a:pt x="1614690" y="544093"/>
                            </a:moveTo>
                            <a:lnTo>
                              <a:pt x="1605889" y="544093"/>
                            </a:lnTo>
                            <a:lnTo>
                              <a:pt x="1605889" y="618045"/>
                            </a:lnTo>
                            <a:lnTo>
                              <a:pt x="1614690" y="618045"/>
                            </a:lnTo>
                            <a:lnTo>
                              <a:pt x="1614690" y="544093"/>
                            </a:lnTo>
                            <a:close/>
                          </a:path>
                          <a:path w="1934845" h="737235">
                            <a:moveTo>
                              <a:pt x="1634655" y="544093"/>
                            </a:moveTo>
                            <a:lnTo>
                              <a:pt x="1625841" y="544093"/>
                            </a:lnTo>
                            <a:lnTo>
                              <a:pt x="1625841" y="618045"/>
                            </a:lnTo>
                            <a:lnTo>
                              <a:pt x="1634655" y="618045"/>
                            </a:lnTo>
                            <a:lnTo>
                              <a:pt x="1634655" y="544093"/>
                            </a:lnTo>
                            <a:close/>
                          </a:path>
                          <a:path w="1934845" h="737235">
                            <a:moveTo>
                              <a:pt x="1657540" y="544093"/>
                            </a:moveTo>
                            <a:lnTo>
                              <a:pt x="1648739" y="544093"/>
                            </a:lnTo>
                            <a:lnTo>
                              <a:pt x="1648739" y="618045"/>
                            </a:lnTo>
                            <a:lnTo>
                              <a:pt x="1657540" y="618045"/>
                            </a:lnTo>
                            <a:lnTo>
                              <a:pt x="1657540" y="544093"/>
                            </a:lnTo>
                            <a:close/>
                          </a:path>
                          <a:path w="1934845" h="737235">
                            <a:moveTo>
                              <a:pt x="1879409" y="663244"/>
                            </a:moveTo>
                            <a:lnTo>
                              <a:pt x="1870608" y="663244"/>
                            </a:lnTo>
                            <a:lnTo>
                              <a:pt x="1870608" y="737196"/>
                            </a:lnTo>
                            <a:lnTo>
                              <a:pt x="1879409" y="737196"/>
                            </a:lnTo>
                            <a:lnTo>
                              <a:pt x="1879409" y="663244"/>
                            </a:lnTo>
                            <a:close/>
                          </a:path>
                          <a:path w="1934845" h="737235">
                            <a:moveTo>
                              <a:pt x="1934578" y="663244"/>
                            </a:moveTo>
                            <a:lnTo>
                              <a:pt x="1925777" y="663244"/>
                            </a:lnTo>
                            <a:lnTo>
                              <a:pt x="1925777" y="737196"/>
                            </a:lnTo>
                            <a:lnTo>
                              <a:pt x="1934578" y="737196"/>
                            </a:lnTo>
                            <a:lnTo>
                              <a:pt x="1934578" y="663244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5" name="object 529">
                        <a:extLst>
                          <a:ext uri="{FF2B5EF4-FFF2-40B4-BE49-F238E27FC236}">
                            <a16:creationId xmlns:a16="http://schemas.microsoft.com/office/drawing/2014/main" id="{1BB2A0CF-6DCD-7C2F-45D7-FAFD5771B086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1874" y="5112392"/>
                        <a:ext cx="1672589" cy="88455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672590" h="884554">
                            <a:moveTo>
                              <a:pt x="1672211" y="884528"/>
                            </a:moveTo>
                            <a:lnTo>
                              <a:pt x="624804" y="884528"/>
                            </a:lnTo>
                            <a:lnTo>
                              <a:pt x="624804" y="743612"/>
                            </a:lnTo>
                            <a:lnTo>
                              <a:pt x="379852" y="743612"/>
                            </a:lnTo>
                            <a:lnTo>
                              <a:pt x="379852" y="600006"/>
                            </a:lnTo>
                            <a:lnTo>
                              <a:pt x="36341" y="600006"/>
                            </a:lnTo>
                            <a:lnTo>
                              <a:pt x="36341" y="447106"/>
                            </a:lnTo>
                            <a:lnTo>
                              <a:pt x="27439" y="447106"/>
                            </a:lnTo>
                            <a:lnTo>
                              <a:pt x="27439" y="299978"/>
                            </a:lnTo>
                            <a:lnTo>
                              <a:pt x="20396" y="299978"/>
                            </a:lnTo>
                            <a:lnTo>
                              <a:pt x="20396" y="154611"/>
                            </a:lnTo>
                            <a:lnTo>
                              <a:pt x="5771" y="154611"/>
                            </a:lnTo>
                            <a:lnTo>
                              <a:pt x="5771" y="5722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FFAC24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6" name="object 530">
                        <a:extLst>
                          <a:ext uri="{FF2B5EF4-FFF2-40B4-BE49-F238E27FC236}">
                            <a16:creationId xmlns:a16="http://schemas.microsoft.com/office/drawing/2014/main" id="{AB1EC6B9-028D-8569-981F-4D66B675069B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1800564" y="5959943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90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FFAC24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7" name="object 531">
                        <a:extLst>
                          <a:ext uri="{FF2B5EF4-FFF2-40B4-BE49-F238E27FC236}">
                            <a16:creationId xmlns:a16="http://schemas.microsoft.com/office/drawing/2014/main" id="{33711002-6207-AC79-4E2F-B15AA9E7D200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27766" y="5118261"/>
                        <a:ext cx="2220595" cy="103187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20595" h="1031875">
                            <a:moveTo>
                              <a:pt x="2220419" y="1031265"/>
                            </a:moveTo>
                            <a:lnTo>
                              <a:pt x="281930" y="1031265"/>
                            </a:lnTo>
                            <a:lnTo>
                              <a:pt x="282397" y="1009436"/>
                            </a:lnTo>
                            <a:lnTo>
                              <a:pt x="283177" y="961663"/>
                            </a:lnTo>
                            <a:lnTo>
                              <a:pt x="283333" y="914513"/>
                            </a:lnTo>
                            <a:lnTo>
                              <a:pt x="281930" y="894555"/>
                            </a:lnTo>
                            <a:lnTo>
                              <a:pt x="260258" y="895958"/>
                            </a:lnTo>
                            <a:lnTo>
                              <a:pt x="215825" y="895802"/>
                            </a:lnTo>
                            <a:lnTo>
                              <a:pt x="172015" y="895023"/>
                            </a:lnTo>
                            <a:lnTo>
                              <a:pt x="152214" y="894555"/>
                            </a:lnTo>
                            <a:lnTo>
                              <a:pt x="152214" y="759166"/>
                            </a:lnTo>
                            <a:lnTo>
                              <a:pt x="141551" y="759166"/>
                            </a:lnTo>
                            <a:lnTo>
                              <a:pt x="141551" y="619473"/>
                            </a:lnTo>
                            <a:lnTo>
                              <a:pt x="133090" y="619473"/>
                            </a:lnTo>
                            <a:lnTo>
                              <a:pt x="133090" y="479780"/>
                            </a:lnTo>
                            <a:lnTo>
                              <a:pt x="98509" y="479780"/>
                            </a:lnTo>
                            <a:lnTo>
                              <a:pt x="98509" y="343657"/>
                            </a:lnTo>
                            <a:lnTo>
                              <a:pt x="90047" y="343657"/>
                            </a:lnTo>
                            <a:lnTo>
                              <a:pt x="90047" y="207974"/>
                            </a:lnTo>
                            <a:lnTo>
                              <a:pt x="49254" y="207974"/>
                            </a:lnTo>
                            <a:lnTo>
                              <a:pt x="49254" y="104183"/>
                            </a:lnTo>
                            <a:lnTo>
                              <a:pt x="37271" y="104183"/>
                            </a:lnTo>
                            <a:lnTo>
                              <a:pt x="37271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772A28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8" name="object 532">
                        <a:extLst>
                          <a:ext uri="{FF2B5EF4-FFF2-40B4-BE49-F238E27FC236}">
                            <a16:creationId xmlns:a16="http://schemas.microsoft.com/office/drawing/2014/main" id="{F6143A67-7E3F-8C1D-DC16-D533F7E82691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28936" y="5081291"/>
                        <a:ext cx="56515" cy="2736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56515" h="273685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56515" h="273685">
                            <a:moveTo>
                              <a:pt x="56349" y="199555"/>
                            </a:moveTo>
                            <a:lnTo>
                              <a:pt x="47536" y="199555"/>
                            </a:lnTo>
                            <a:lnTo>
                              <a:pt x="47536" y="273519"/>
                            </a:lnTo>
                            <a:lnTo>
                              <a:pt x="56349" y="273519"/>
                            </a:lnTo>
                            <a:lnTo>
                              <a:pt x="56349" y="199555"/>
                            </a:lnTo>
                            <a:close/>
                          </a:path>
                        </a:pathLst>
                      </a:custGeom>
                      <a:solidFill>
                        <a:srgbClr val="772A28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89" name="object 533">
                        <a:extLst>
                          <a:ext uri="{FF2B5EF4-FFF2-40B4-BE49-F238E27FC236}">
                            <a16:creationId xmlns:a16="http://schemas.microsoft.com/office/drawing/2014/main" id="{DF9CC663-3A2D-664F-8D70-D6266D1BE2FE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133342" y="5114446"/>
                        <a:ext cx="1975485" cy="7054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75484" h="705485">
                            <a:moveTo>
                              <a:pt x="1975075" y="704923"/>
                            </a:moveTo>
                            <a:lnTo>
                              <a:pt x="1766660" y="704923"/>
                            </a:lnTo>
                            <a:lnTo>
                              <a:pt x="1766660" y="544442"/>
                            </a:lnTo>
                            <a:lnTo>
                              <a:pt x="1204903" y="544442"/>
                            </a:lnTo>
                            <a:lnTo>
                              <a:pt x="1204903" y="490149"/>
                            </a:lnTo>
                            <a:lnTo>
                              <a:pt x="1025591" y="490149"/>
                            </a:lnTo>
                            <a:lnTo>
                              <a:pt x="1025598" y="483775"/>
                            </a:lnTo>
                            <a:lnTo>
                              <a:pt x="1025609" y="469753"/>
                            </a:lnTo>
                            <a:lnTo>
                              <a:pt x="1025612" y="455730"/>
                            </a:lnTo>
                            <a:lnTo>
                              <a:pt x="1025591" y="449356"/>
                            </a:lnTo>
                            <a:lnTo>
                              <a:pt x="559017" y="449356"/>
                            </a:lnTo>
                            <a:lnTo>
                              <a:pt x="559017" y="416781"/>
                            </a:lnTo>
                            <a:lnTo>
                              <a:pt x="551681" y="416781"/>
                            </a:lnTo>
                            <a:lnTo>
                              <a:pt x="551681" y="353537"/>
                            </a:lnTo>
                            <a:lnTo>
                              <a:pt x="545420" y="353537"/>
                            </a:lnTo>
                            <a:lnTo>
                              <a:pt x="545420" y="312255"/>
                            </a:lnTo>
                            <a:lnTo>
                              <a:pt x="474448" y="312255"/>
                            </a:lnTo>
                            <a:lnTo>
                              <a:pt x="474448" y="275669"/>
                            </a:lnTo>
                            <a:lnTo>
                              <a:pt x="434536" y="275669"/>
                            </a:lnTo>
                            <a:lnTo>
                              <a:pt x="434536" y="246419"/>
                            </a:lnTo>
                            <a:lnTo>
                              <a:pt x="421574" y="246419"/>
                            </a:lnTo>
                            <a:lnTo>
                              <a:pt x="421574" y="205822"/>
                            </a:lnTo>
                            <a:lnTo>
                              <a:pt x="292103" y="205822"/>
                            </a:lnTo>
                            <a:lnTo>
                              <a:pt x="292103" y="173247"/>
                            </a:lnTo>
                            <a:lnTo>
                              <a:pt x="262854" y="173247"/>
                            </a:lnTo>
                            <a:lnTo>
                              <a:pt x="262854" y="137296"/>
                            </a:lnTo>
                            <a:lnTo>
                              <a:pt x="252876" y="137296"/>
                            </a:lnTo>
                            <a:lnTo>
                              <a:pt x="252876" y="105992"/>
                            </a:lnTo>
                            <a:lnTo>
                              <a:pt x="205627" y="105992"/>
                            </a:lnTo>
                            <a:lnTo>
                              <a:pt x="205627" y="70042"/>
                            </a:lnTo>
                            <a:lnTo>
                              <a:pt x="167035" y="70042"/>
                            </a:lnTo>
                            <a:lnTo>
                              <a:pt x="167035" y="31450"/>
                            </a:lnTo>
                            <a:lnTo>
                              <a:pt x="115775" y="31450"/>
                            </a:lnTo>
                            <a:lnTo>
                              <a:pt x="115775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128867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390" name="object 534">
                        <a:extLst>
                          <a:ext uri="{FF2B5EF4-FFF2-40B4-BE49-F238E27FC236}">
                            <a16:creationId xmlns:a16="http://schemas.microsoft.com/office/drawing/2014/main" id="{124265AC-436B-B946-1C8D-C882896D3F9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10245738" y="5106526"/>
                        <a:ext cx="1870075" cy="74549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870075" h="745489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870075" h="745489">
                            <a:moveTo>
                              <a:pt x="30518" y="0"/>
                            </a:moveTo>
                            <a:lnTo>
                              <a:pt x="21717" y="0"/>
                            </a:lnTo>
                            <a:lnTo>
                              <a:pt x="21717" y="73952"/>
                            </a:lnTo>
                            <a:lnTo>
                              <a:pt x="30518" y="73952"/>
                            </a:lnTo>
                            <a:lnTo>
                              <a:pt x="30518" y="0"/>
                            </a:lnTo>
                            <a:close/>
                          </a:path>
                          <a:path w="1870075" h="745489">
                            <a:moveTo>
                              <a:pt x="714895" y="415556"/>
                            </a:moveTo>
                            <a:lnTo>
                              <a:pt x="706094" y="415556"/>
                            </a:lnTo>
                            <a:lnTo>
                              <a:pt x="706094" y="489521"/>
                            </a:lnTo>
                            <a:lnTo>
                              <a:pt x="714895" y="489521"/>
                            </a:lnTo>
                            <a:lnTo>
                              <a:pt x="714895" y="415556"/>
                            </a:lnTo>
                            <a:close/>
                          </a:path>
                          <a:path w="1870075" h="745489">
                            <a:moveTo>
                              <a:pt x="996048" y="456641"/>
                            </a:moveTo>
                            <a:lnTo>
                              <a:pt x="987247" y="456641"/>
                            </a:lnTo>
                            <a:lnTo>
                              <a:pt x="987247" y="530606"/>
                            </a:lnTo>
                            <a:lnTo>
                              <a:pt x="996048" y="530606"/>
                            </a:lnTo>
                            <a:lnTo>
                              <a:pt x="996048" y="456641"/>
                            </a:lnTo>
                            <a:close/>
                          </a:path>
                          <a:path w="1870075" h="745489">
                            <a:moveTo>
                              <a:pt x="1014247" y="456641"/>
                            </a:moveTo>
                            <a:lnTo>
                              <a:pt x="1005433" y="456641"/>
                            </a:lnTo>
                            <a:lnTo>
                              <a:pt x="1005433" y="530606"/>
                            </a:lnTo>
                            <a:lnTo>
                              <a:pt x="1014247" y="530606"/>
                            </a:lnTo>
                            <a:lnTo>
                              <a:pt x="1014247" y="456641"/>
                            </a:lnTo>
                            <a:close/>
                          </a:path>
                          <a:path w="1870075" h="745489">
                            <a:moveTo>
                              <a:pt x="1058265" y="456641"/>
                            </a:moveTo>
                            <a:lnTo>
                              <a:pt x="1049464" y="456641"/>
                            </a:lnTo>
                            <a:lnTo>
                              <a:pt x="1049464" y="530606"/>
                            </a:lnTo>
                            <a:lnTo>
                              <a:pt x="1058265" y="530606"/>
                            </a:lnTo>
                            <a:lnTo>
                              <a:pt x="1058265" y="456641"/>
                            </a:lnTo>
                            <a:close/>
                          </a:path>
                          <a:path w="1870075" h="745489">
                            <a:moveTo>
                              <a:pt x="1250200" y="507123"/>
                            </a:moveTo>
                            <a:lnTo>
                              <a:pt x="1241386" y="507123"/>
                            </a:lnTo>
                            <a:lnTo>
                              <a:pt x="1241386" y="581075"/>
                            </a:lnTo>
                            <a:lnTo>
                              <a:pt x="1250200" y="581075"/>
                            </a:lnTo>
                            <a:lnTo>
                              <a:pt x="1250200" y="507123"/>
                            </a:lnTo>
                            <a:close/>
                          </a:path>
                          <a:path w="1870075" h="745489">
                            <a:moveTo>
                              <a:pt x="1266634" y="507123"/>
                            </a:moveTo>
                            <a:lnTo>
                              <a:pt x="1257820" y="507123"/>
                            </a:lnTo>
                            <a:lnTo>
                              <a:pt x="1257820" y="581075"/>
                            </a:lnTo>
                            <a:lnTo>
                              <a:pt x="1266634" y="581075"/>
                            </a:lnTo>
                            <a:lnTo>
                              <a:pt x="1266634" y="507123"/>
                            </a:lnTo>
                            <a:close/>
                          </a:path>
                          <a:path w="1870075" h="745489">
                            <a:moveTo>
                              <a:pt x="1341170" y="507123"/>
                            </a:moveTo>
                            <a:lnTo>
                              <a:pt x="1332369" y="507123"/>
                            </a:lnTo>
                            <a:lnTo>
                              <a:pt x="1332369" y="581075"/>
                            </a:lnTo>
                            <a:lnTo>
                              <a:pt x="1341170" y="581075"/>
                            </a:lnTo>
                            <a:lnTo>
                              <a:pt x="1341170" y="507123"/>
                            </a:lnTo>
                            <a:close/>
                          </a:path>
                          <a:path w="1870075" h="745489">
                            <a:moveTo>
                              <a:pt x="1546606" y="507123"/>
                            </a:moveTo>
                            <a:lnTo>
                              <a:pt x="1537792" y="507123"/>
                            </a:lnTo>
                            <a:lnTo>
                              <a:pt x="1537792" y="581075"/>
                            </a:lnTo>
                            <a:lnTo>
                              <a:pt x="1546606" y="581075"/>
                            </a:lnTo>
                            <a:lnTo>
                              <a:pt x="1546606" y="507123"/>
                            </a:lnTo>
                            <a:close/>
                          </a:path>
                          <a:path w="1870075" h="745489">
                            <a:moveTo>
                              <a:pt x="1562455" y="507123"/>
                            </a:moveTo>
                            <a:lnTo>
                              <a:pt x="1553641" y="507123"/>
                            </a:lnTo>
                            <a:lnTo>
                              <a:pt x="1553641" y="581075"/>
                            </a:lnTo>
                            <a:lnTo>
                              <a:pt x="1562455" y="581075"/>
                            </a:lnTo>
                            <a:lnTo>
                              <a:pt x="1562455" y="507123"/>
                            </a:lnTo>
                            <a:close/>
                          </a:path>
                          <a:path w="1870075" h="745489">
                            <a:moveTo>
                              <a:pt x="1581823" y="507123"/>
                            </a:moveTo>
                            <a:lnTo>
                              <a:pt x="1573009" y="507123"/>
                            </a:lnTo>
                            <a:lnTo>
                              <a:pt x="1573009" y="581075"/>
                            </a:lnTo>
                            <a:lnTo>
                              <a:pt x="1581823" y="581075"/>
                            </a:lnTo>
                            <a:lnTo>
                              <a:pt x="1581823" y="507123"/>
                            </a:lnTo>
                            <a:close/>
                          </a:path>
                          <a:path w="1870075" h="745489">
                            <a:moveTo>
                              <a:pt x="1805444" y="671474"/>
                            </a:moveTo>
                            <a:lnTo>
                              <a:pt x="1796643" y="671474"/>
                            </a:lnTo>
                            <a:lnTo>
                              <a:pt x="1796643" y="745426"/>
                            </a:lnTo>
                            <a:lnTo>
                              <a:pt x="1805444" y="745426"/>
                            </a:lnTo>
                            <a:lnTo>
                              <a:pt x="1805444" y="671474"/>
                            </a:lnTo>
                            <a:close/>
                          </a:path>
                          <a:path w="1870075" h="745489">
                            <a:moveTo>
                              <a:pt x="1870011" y="671474"/>
                            </a:moveTo>
                            <a:lnTo>
                              <a:pt x="1861210" y="671474"/>
                            </a:lnTo>
                            <a:lnTo>
                              <a:pt x="1861210" y="745426"/>
                            </a:lnTo>
                            <a:lnTo>
                              <a:pt x="1870011" y="745426"/>
                            </a:lnTo>
                            <a:lnTo>
                              <a:pt x="1870011" y="671474"/>
                            </a:lnTo>
                            <a:close/>
                          </a:path>
                        </a:pathLst>
                      </a:custGeom>
                      <a:solidFill>
                        <a:srgbClr val="128867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sp>
                  <p:nvSpPr>
                    <p:cNvPr id="329" name="object 536">
                      <a:extLst>
                        <a:ext uri="{FF2B5EF4-FFF2-40B4-BE49-F238E27FC236}">
                          <a16:creationId xmlns:a16="http://schemas.microsoft.com/office/drawing/2014/main" id="{D7B60E03-E207-CDC3-13FE-173EE0BD642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399118" y="5068694"/>
                      <a:ext cx="47129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.2</a:t>
                      </a:r>
                      <a:r>
                        <a:rPr kumimoji="0" sz="1000" b="1" i="0" u="none" strike="noStrike" kern="1200" cap="none" spc="25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1.9—</a:t>
                      </a:r>
                      <a:r>
                        <a:rPr kumimoji="0" sz="1000" b="1" i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R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0" name="object 537">
                      <a:extLst>
                        <a:ext uri="{FF2B5EF4-FFF2-40B4-BE49-F238E27FC236}">
                          <a16:creationId xmlns:a16="http://schemas.microsoft.com/office/drawing/2014/main" id="{FC5D07F1-94FE-D133-187D-799CC957334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253468" y="5303157"/>
                      <a:ext cx="45126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8</a:t>
                      </a:r>
                      <a:r>
                        <a:rPr kumimoji="0" sz="1000" b="1" i="0" u="none" strike="noStrike" kern="1200" cap="none" spc="2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0.1—</a:t>
                      </a:r>
                      <a:r>
                        <a:rPr kumimoji="0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.4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1" name="object 538">
                      <a:extLst>
                        <a:ext uri="{FF2B5EF4-FFF2-40B4-BE49-F238E27FC236}">
                          <a16:creationId xmlns:a16="http://schemas.microsoft.com/office/drawing/2014/main" id="{1EF97B95-5EED-A041-B3AD-3DAC74D9E29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518348" y="5170338"/>
                      <a:ext cx="486053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.9</a:t>
                      </a:r>
                      <a:r>
                        <a:rPr kumimoji="0" sz="1000" b="1" i="0" u="none" strike="noStrike" kern="1200" cap="none" spc="15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.7—26.2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2" name="object 539">
                      <a:extLst>
                        <a:ext uri="{FF2B5EF4-FFF2-40B4-BE49-F238E27FC236}">
                          <a16:creationId xmlns:a16="http://schemas.microsoft.com/office/drawing/2014/main" id="{EE1E7102-0AF4-195D-9A65-3C01D024CDB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7172713" y="5614988"/>
                      <a:ext cx="45126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8</a:t>
                      </a:r>
                      <a:r>
                        <a:rPr kumimoji="0" sz="1000" b="1" i="0" u="none" strike="noStrike" kern="1200" cap="none" spc="2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0.8—</a:t>
                      </a:r>
                      <a:r>
                        <a:rPr kumimoji="0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.2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3" name="object 540">
                      <a:extLst>
                        <a:ext uri="{FF2B5EF4-FFF2-40B4-BE49-F238E27FC236}">
                          <a16:creationId xmlns:a16="http://schemas.microsoft.com/office/drawing/2014/main" id="{3D56C8E1-307D-3E42-42EC-9146E4EA42BB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551804" y="5514695"/>
                      <a:ext cx="27802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known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4" name="object 541">
                      <a:extLst>
                        <a:ext uri="{FF2B5EF4-FFF2-40B4-BE49-F238E27FC236}">
                          <a16:creationId xmlns:a16="http://schemas.microsoft.com/office/drawing/2014/main" id="{B9893891-00A0-3D12-E989-4D8FD040451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867669" y="5429855"/>
                      <a:ext cx="203834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5" name="object 542">
                      <a:extLst>
                        <a:ext uri="{FF2B5EF4-FFF2-40B4-BE49-F238E27FC236}">
                          <a16:creationId xmlns:a16="http://schemas.microsoft.com/office/drawing/2014/main" id="{0D7E9080-AF26-E075-25C2-0B141504EF2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858522" y="5329830"/>
                      <a:ext cx="23935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RD4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36" name="object 543">
                      <a:extLst>
                        <a:ext uri="{FF2B5EF4-FFF2-40B4-BE49-F238E27FC236}">
                          <a16:creationId xmlns:a16="http://schemas.microsoft.com/office/drawing/2014/main" id="{B428A49D-CEDE-C664-2EFC-18A219D2A92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8676708" y="5602590"/>
                      <a:ext cx="416997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RD</a:t>
                      </a:r>
                      <a:r>
                        <a:rPr kumimoji="0" sz="1000" b="1" i="0" u="none" strike="noStrike" kern="1200" cap="none" spc="-15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sitive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501" name="Group 500">
                      <a:extLst>
                        <a:ext uri="{FF2B5EF4-FFF2-40B4-BE49-F238E27FC236}">
                          <a16:creationId xmlns:a16="http://schemas.microsoft.com/office/drawing/2014/main" id="{E8A357F6-3A59-5FC1-599F-3C5CD257B93B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793055" y="5773492"/>
                      <a:ext cx="2344079" cy="86039"/>
                      <a:chOff x="9498546" y="4053445"/>
                      <a:chExt cx="2344079" cy="86039"/>
                    </a:xfrm>
                  </p:grpSpPr>
                  <p:sp>
                    <p:nvSpPr>
                      <p:cNvPr id="502" name="TextBox 501">
                        <a:extLst>
                          <a:ext uri="{FF2B5EF4-FFF2-40B4-BE49-F238E27FC236}">
                            <a16:creationId xmlns:a16="http://schemas.microsoft.com/office/drawing/2014/main" id="{D893F7CD-9110-15BC-0C36-AEC57727B42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498546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503" name="TextBox 502">
                        <a:extLst>
                          <a:ext uri="{FF2B5EF4-FFF2-40B4-BE49-F238E27FC236}">
                            <a16:creationId xmlns:a16="http://schemas.microsoft.com/office/drawing/2014/main" id="{058586B3-EA8D-29A5-1744-BA1AC5994B6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9770225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</a:t>
                        </a:r>
                      </a:p>
                    </p:txBody>
                  </p:sp>
                  <p:sp>
                    <p:nvSpPr>
                      <p:cNvPr id="504" name="TextBox 503">
                        <a:extLst>
                          <a:ext uri="{FF2B5EF4-FFF2-40B4-BE49-F238E27FC236}">
                            <a16:creationId xmlns:a16="http://schemas.microsoft.com/office/drawing/2014/main" id="{8313DEA4-E960-C5DE-9D39-FDC176FC790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044762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2</a:t>
                        </a:r>
                      </a:p>
                    </p:txBody>
                  </p:sp>
                  <p:sp>
                    <p:nvSpPr>
                      <p:cNvPr id="505" name="TextBox 504">
                        <a:extLst>
                          <a:ext uri="{FF2B5EF4-FFF2-40B4-BE49-F238E27FC236}">
                            <a16:creationId xmlns:a16="http://schemas.microsoft.com/office/drawing/2014/main" id="{4CD58493-2C69-6B41-B557-26400BE72CF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321680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8</a:t>
                        </a:r>
                      </a:p>
                    </p:txBody>
                  </p:sp>
                  <p:sp>
                    <p:nvSpPr>
                      <p:cNvPr id="506" name="TextBox 505">
                        <a:extLst>
                          <a:ext uri="{FF2B5EF4-FFF2-40B4-BE49-F238E27FC236}">
                            <a16:creationId xmlns:a16="http://schemas.microsoft.com/office/drawing/2014/main" id="{88684B00-18B6-E15D-F583-22B65640F76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606218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4</a:t>
                        </a:r>
                      </a:p>
                    </p:txBody>
                  </p:sp>
                  <p:sp>
                    <p:nvSpPr>
                      <p:cNvPr id="507" name="TextBox 506">
                        <a:extLst>
                          <a:ext uri="{FF2B5EF4-FFF2-40B4-BE49-F238E27FC236}">
                            <a16:creationId xmlns:a16="http://schemas.microsoft.com/office/drawing/2014/main" id="{98138E20-5F71-73FC-DAFC-1F317840646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0883136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508" name="TextBox 507">
                        <a:extLst>
                          <a:ext uri="{FF2B5EF4-FFF2-40B4-BE49-F238E27FC236}">
                            <a16:creationId xmlns:a16="http://schemas.microsoft.com/office/drawing/2014/main" id="{98434705-1F18-0748-698C-F08ADB45A81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152434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6</a:t>
                        </a:r>
                      </a:p>
                    </p:txBody>
                  </p:sp>
                  <p:sp>
                    <p:nvSpPr>
                      <p:cNvPr id="509" name="TextBox 508">
                        <a:extLst>
                          <a:ext uri="{FF2B5EF4-FFF2-40B4-BE49-F238E27FC236}">
                            <a16:creationId xmlns:a16="http://schemas.microsoft.com/office/drawing/2014/main" id="{6C926C47-1AD7-9A09-AC5F-1D81C36E46AB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429352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2</a:t>
                        </a:r>
                      </a:p>
                    </p:txBody>
                  </p:sp>
                  <p:sp>
                    <p:nvSpPr>
                      <p:cNvPr id="510" name="TextBox 509">
                        <a:extLst>
                          <a:ext uri="{FF2B5EF4-FFF2-40B4-BE49-F238E27FC236}">
                            <a16:creationId xmlns:a16="http://schemas.microsoft.com/office/drawing/2014/main" id="{479FABC5-9533-9C27-DF2E-B7872081E09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11706273" y="4053445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8</a:t>
                        </a:r>
                      </a:p>
                    </p:txBody>
                  </p:sp>
                </p:grpSp>
                <p:grpSp>
                  <p:nvGrpSpPr>
                    <p:cNvPr id="511" name="Group 510">
                      <a:extLst>
                        <a:ext uri="{FF2B5EF4-FFF2-40B4-BE49-F238E27FC236}">
                          <a16:creationId xmlns:a16="http://schemas.microsoft.com/office/drawing/2014/main" id="{B91876AE-2F74-882A-259E-358848F9EE39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611928" y="4636063"/>
                      <a:ext cx="107452" cy="1126653"/>
                      <a:chOff x="3302547" y="2627851"/>
                      <a:chExt cx="107452" cy="1126653"/>
                    </a:xfrm>
                  </p:grpSpPr>
                  <p:sp>
                    <p:nvSpPr>
                      <p:cNvPr id="512" name="TextBox 511">
                        <a:extLst>
                          <a:ext uri="{FF2B5EF4-FFF2-40B4-BE49-F238E27FC236}">
                            <a16:creationId xmlns:a16="http://schemas.microsoft.com/office/drawing/2014/main" id="{D4A8EC2F-DF18-D6F1-FC0D-FEC4FB23A26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513" name="TextBox 512">
                        <a:extLst>
                          <a:ext uri="{FF2B5EF4-FFF2-40B4-BE49-F238E27FC236}">
                            <a16:creationId xmlns:a16="http://schemas.microsoft.com/office/drawing/2014/main" id="{4DAD1F6E-40D2-31FB-0948-D3BEF39C2A7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0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</a:t>
                        </a:r>
                      </a:p>
                    </p:txBody>
                  </p:sp>
                  <p:sp>
                    <p:nvSpPr>
                      <p:cNvPr id="514" name="TextBox 513">
                        <a:extLst>
                          <a:ext uri="{FF2B5EF4-FFF2-40B4-BE49-F238E27FC236}">
                            <a16:creationId xmlns:a16="http://schemas.microsoft.com/office/drawing/2014/main" id="{8C648573-3590-13AB-A482-FD127560B0A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0</a:t>
                        </a:r>
                      </a:p>
                    </p:txBody>
                  </p:sp>
                  <p:sp>
                    <p:nvSpPr>
                      <p:cNvPr id="515" name="TextBox 514">
                        <a:extLst>
                          <a:ext uri="{FF2B5EF4-FFF2-40B4-BE49-F238E27FC236}">
                            <a16:creationId xmlns:a16="http://schemas.microsoft.com/office/drawing/2014/main" id="{63DC2317-9EBA-0A7D-6771-D9AF25C5C0A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8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516" name="TextBox 515">
                        <a:extLst>
                          <a:ext uri="{FF2B5EF4-FFF2-40B4-BE49-F238E27FC236}">
                            <a16:creationId xmlns:a16="http://schemas.microsoft.com/office/drawing/2014/main" id="{FDB9E3C4-6546-B95A-0D3C-DF9465AE6B29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0</a:t>
                        </a:r>
                      </a:p>
                    </p:txBody>
                  </p:sp>
                  <p:sp>
                    <p:nvSpPr>
                      <p:cNvPr id="517" name="TextBox 516">
                        <a:extLst>
                          <a:ext uri="{FF2B5EF4-FFF2-40B4-BE49-F238E27FC236}">
                            <a16:creationId xmlns:a16="http://schemas.microsoft.com/office/drawing/2014/main" id="{8D83EE64-5F18-C3A0-A540-89DF256FB42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50</a:t>
                        </a:r>
                      </a:p>
                    </p:txBody>
                  </p:sp>
                  <p:sp>
                    <p:nvSpPr>
                      <p:cNvPr id="518" name="TextBox 517">
                        <a:extLst>
                          <a:ext uri="{FF2B5EF4-FFF2-40B4-BE49-F238E27FC236}">
                            <a16:creationId xmlns:a16="http://schemas.microsoft.com/office/drawing/2014/main" id="{C6207793-4EC7-1B7B-CF22-9DD2603816E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0</a:t>
                        </a:r>
                      </a:p>
                    </p:txBody>
                  </p:sp>
                  <p:sp>
                    <p:nvSpPr>
                      <p:cNvPr id="519" name="TextBox 518">
                        <a:extLst>
                          <a:ext uri="{FF2B5EF4-FFF2-40B4-BE49-F238E27FC236}">
                            <a16:creationId xmlns:a16="http://schemas.microsoft.com/office/drawing/2014/main" id="{BF5C0938-A8C0-B625-437A-6B487E3BFE5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80</a:t>
                        </a:r>
                      </a:p>
                    </p:txBody>
                  </p:sp>
                  <p:sp>
                    <p:nvSpPr>
                      <p:cNvPr id="520" name="TextBox 519">
                        <a:extLst>
                          <a:ext uri="{FF2B5EF4-FFF2-40B4-BE49-F238E27FC236}">
                            <a16:creationId xmlns:a16="http://schemas.microsoft.com/office/drawing/2014/main" id="{E8B53CC3-B9A5-0729-84E5-116EE4C8D480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2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90</a:t>
                        </a:r>
                      </a:p>
                    </p:txBody>
                  </p:sp>
                  <p:sp>
                    <p:nvSpPr>
                      <p:cNvPr id="521" name="TextBox 520">
                        <a:extLst>
                          <a:ext uri="{FF2B5EF4-FFF2-40B4-BE49-F238E27FC236}">
                            <a16:creationId xmlns:a16="http://schemas.microsoft.com/office/drawing/2014/main" id="{B0097C95-8806-C56C-B285-9CF18753914D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1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0</a:t>
                        </a:r>
                      </a:p>
                    </p:txBody>
                  </p:sp>
                  <p:sp>
                    <p:nvSpPr>
                      <p:cNvPr id="522" name="TextBox 521">
                        <a:extLst>
                          <a:ext uri="{FF2B5EF4-FFF2-40B4-BE49-F238E27FC236}">
                            <a16:creationId xmlns:a16="http://schemas.microsoft.com/office/drawing/2014/main" id="{125C1A02-C51E-793C-A20F-9E6F47016E8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70</a:t>
                        </a:r>
                      </a:p>
                    </p:txBody>
                  </p:sp>
                </p:grpSp>
              </p:grpSp>
            </p:grpSp>
            <p:sp>
              <p:nvSpPr>
                <p:cNvPr id="523" name="object 199">
                  <a:extLst>
                    <a:ext uri="{FF2B5EF4-FFF2-40B4-BE49-F238E27FC236}">
                      <a16:creationId xmlns:a16="http://schemas.microsoft.com/office/drawing/2014/main" id="{65BEB22B-EBA3-485A-7360-0A3BE039B087}"/>
                    </a:ext>
                  </a:extLst>
                </p:cNvPr>
                <p:cNvSpPr txBox="1"/>
                <p:nvPr/>
              </p:nvSpPr>
              <p:spPr>
                <a:xfrm>
                  <a:off x="6695653" y="4635749"/>
                  <a:ext cx="2737828" cy="253958"/>
                </a:xfrm>
                <a:prstGeom prst="rect">
                  <a:avLst/>
                </a:prstGeom>
              </p:spPr>
              <p:txBody>
                <a:bodyPr vert="horz" wrap="square" lIns="0" tIns="12065" rIns="0" bIns="0" rtlCol="0" anchor="b" anchorCtr="0">
                  <a:spAutoFit/>
                </a:bodyPr>
                <a:lstStyle/>
                <a:p>
                  <a:pPr marL="0" marR="5080" lvl="0" indent="0" algn="ctr" defTabSz="914400" rtl="0" eaLnBrk="1" fontAlgn="auto" latinLnBrk="0" hangingPunct="1">
                    <a:lnSpc>
                      <a:spcPct val="102699"/>
                    </a:lnSpc>
                    <a:spcBef>
                      <a:spcPts val="9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EAS</a:t>
                  </a:r>
                  <a:r>
                    <a:rPr kumimoji="0" sz="1400" b="1" i="0" u="none" strike="noStrike" kern="1200" cap="none" spc="7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(BTKi</a:t>
                  </a:r>
                  <a:r>
                    <a:rPr kumimoji="0" sz="1400" b="1" i="0" u="none" strike="noStrike" kern="1200" cap="none" spc="8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rogression/</a:t>
                  </a:r>
                  <a:r>
                    <a:rPr kumimoji="0" sz="1400" b="1" i="0" u="none" strike="noStrike" kern="1200" cap="none" spc="-13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-1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venetoclax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failure</a:t>
                  </a:r>
                  <a:r>
                    <a:rPr kumimoji="0" sz="1400" b="1" i="0" u="none" strike="noStrike" kern="1200" cap="none" spc="7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subset)</a:t>
                  </a:r>
                  <a:r>
                    <a:rPr kumimoji="0" sz="1400" b="1" i="0" u="none" strike="noStrike" kern="1200" cap="none" spc="7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at</a:t>
                  </a:r>
                  <a:r>
                    <a:rPr kumimoji="0" sz="1400" b="1" i="0" u="none" strike="noStrike" kern="1200" cap="none" spc="8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0" u="none" strike="noStrike" kern="1200" cap="none" spc="-2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DL2</a:t>
                  </a:r>
                  <a:endParaRPr kumimoji="0" lang="en-US" sz="1400" b="1" i="0" u="none" strike="noStrike" kern="1200" cap="none" spc="-25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  <a:p>
                  <a:pPr marL="0" marR="5080" lvl="0" indent="0" algn="ctr" defTabSz="914400" rtl="0" eaLnBrk="1" fontAlgn="auto" latinLnBrk="0" hangingPunct="1">
                    <a:lnSpc>
                      <a:spcPct val="102699"/>
                    </a:lnSpc>
                    <a:spcBef>
                      <a:spcPts val="9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1" u="none" strike="noStrike" kern="1200" cap="none" spc="-2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FS by uMRD4 Response in Blood</a:t>
                  </a:r>
                  <a:endParaRPr kumimoji="0" lang="en-US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543" name="TextBox 542">
                <a:extLst>
                  <a:ext uri="{FF2B5EF4-FFF2-40B4-BE49-F238E27FC236}">
                    <a16:creationId xmlns:a16="http://schemas.microsoft.com/office/drawing/2014/main" id="{074281E6-4F4C-197B-992E-EACAB817E373}"/>
                  </a:ext>
                </a:extLst>
              </p:cNvPr>
              <p:cNvSpPr txBox="1"/>
              <p:nvPr/>
            </p:nvSpPr>
            <p:spPr>
              <a:xfrm>
                <a:off x="7494547" y="6378875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ime From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iso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cel Infusion, Month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545" name="Group 544">
              <a:extLst>
                <a:ext uri="{FF2B5EF4-FFF2-40B4-BE49-F238E27FC236}">
                  <a16:creationId xmlns:a16="http://schemas.microsoft.com/office/drawing/2014/main" id="{81E18C8D-9438-DF0C-D81B-2FCBA5562D4E}"/>
                </a:ext>
              </a:extLst>
            </p:cNvPr>
            <p:cNvGrpSpPr/>
            <p:nvPr/>
          </p:nvGrpSpPr>
          <p:grpSpPr>
            <a:xfrm>
              <a:off x="183741" y="3964870"/>
              <a:ext cx="5607974" cy="2570354"/>
              <a:chOff x="183741" y="4085520"/>
              <a:chExt cx="5607974" cy="2570354"/>
            </a:xfrm>
          </p:grpSpPr>
          <p:grpSp>
            <p:nvGrpSpPr>
              <p:cNvPr id="539" name="Group 538">
                <a:extLst>
                  <a:ext uri="{FF2B5EF4-FFF2-40B4-BE49-F238E27FC236}">
                    <a16:creationId xmlns:a16="http://schemas.microsoft.com/office/drawing/2014/main" id="{57206228-93F6-5BDF-5571-E2D2E121071F}"/>
                  </a:ext>
                </a:extLst>
              </p:cNvPr>
              <p:cNvGrpSpPr/>
              <p:nvPr/>
            </p:nvGrpSpPr>
            <p:grpSpPr>
              <a:xfrm>
                <a:off x="183741" y="4085520"/>
                <a:ext cx="5607974" cy="2359349"/>
                <a:chOff x="604407" y="4649255"/>
                <a:chExt cx="2626301" cy="1376418"/>
              </a:xfrm>
            </p:grpSpPr>
            <p:sp>
              <p:nvSpPr>
                <p:cNvPr id="36" name="object 369">
                  <a:extLst>
                    <a:ext uri="{FF2B5EF4-FFF2-40B4-BE49-F238E27FC236}">
                      <a16:creationId xmlns:a16="http://schemas.microsoft.com/office/drawing/2014/main" id="{A09D665D-80BA-DA71-DE5A-4CD44810F66D}"/>
                    </a:ext>
                  </a:extLst>
                </p:cNvPr>
                <p:cNvSpPr txBox="1"/>
                <p:nvPr/>
              </p:nvSpPr>
              <p:spPr>
                <a:xfrm>
                  <a:off x="1037591" y="4649255"/>
                  <a:ext cx="2016760" cy="267079"/>
                </a:xfrm>
                <a:prstGeom prst="rect">
                  <a:avLst/>
                </a:prstGeom>
              </p:spPr>
              <p:txBody>
                <a:bodyPr vert="horz" wrap="square" lIns="0" tIns="20955" rIns="0" bIns="0" rtlCol="0" anchor="b" anchorCtr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6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4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Full Population at Dose-Level 2 (DL2)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165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sz="14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PFS</a:t>
                  </a:r>
                  <a:r>
                    <a:rPr kumimoji="0" sz="1400" b="1" i="1" u="none" strike="noStrike" kern="1200" cap="none" spc="3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by</a:t>
                  </a:r>
                  <a:r>
                    <a:rPr kumimoji="0" sz="1400" b="1" i="1" u="none" strike="noStrike" kern="1200" cap="none" spc="3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uMRD4</a:t>
                  </a:r>
                  <a:r>
                    <a:rPr kumimoji="0" sz="1400" b="1" i="1" u="none" strike="noStrike" kern="1200" cap="none" spc="3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1" i="1" u="none" strike="noStrike" kern="1200" cap="none" spc="3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R</a:t>
                  </a:r>
                  <a:r>
                    <a:rPr kumimoji="0" sz="14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esponse</a:t>
                  </a:r>
                  <a:r>
                    <a:rPr kumimoji="0" sz="1400" b="1" i="1" u="none" strike="noStrike" kern="1200" cap="none" spc="3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sz="1400" b="1" i="1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in</a:t>
                  </a:r>
                  <a:r>
                    <a:rPr kumimoji="0" sz="1400" b="1" i="1" u="none" strike="noStrike" kern="1200" cap="none" spc="35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</a:t>
                  </a:r>
                  <a:r>
                    <a:rPr kumimoji="0" lang="en-US" sz="1400" b="1" i="1" u="none" strike="noStrike" kern="1200" cap="none" spc="-2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B</a:t>
                  </a:r>
                  <a:r>
                    <a:rPr kumimoji="0" sz="1400" b="1" i="1" u="none" strike="noStrike" kern="1200" cap="none" spc="-2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lood</a:t>
                  </a:r>
                  <a:endParaRPr kumimoji="0" sz="1400" b="0" i="1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grpSp>
              <p:nvGrpSpPr>
                <p:cNvPr id="535" name="Group 534">
                  <a:extLst>
                    <a:ext uri="{FF2B5EF4-FFF2-40B4-BE49-F238E27FC236}">
                      <a16:creationId xmlns:a16="http://schemas.microsoft.com/office/drawing/2014/main" id="{9B50ECFA-F8BD-1C44-6677-3291E491A56F}"/>
                    </a:ext>
                  </a:extLst>
                </p:cNvPr>
                <p:cNvGrpSpPr/>
                <p:nvPr/>
              </p:nvGrpSpPr>
              <p:grpSpPr>
                <a:xfrm>
                  <a:off x="604407" y="4803793"/>
                  <a:ext cx="2626301" cy="1221880"/>
                  <a:chOff x="604407" y="4803793"/>
                  <a:chExt cx="2626301" cy="1221880"/>
                </a:xfrm>
              </p:grpSpPr>
              <p:sp>
                <p:nvSpPr>
                  <p:cNvPr id="28" name="object 361">
                    <a:extLst>
                      <a:ext uri="{FF2B5EF4-FFF2-40B4-BE49-F238E27FC236}">
                        <a16:creationId xmlns:a16="http://schemas.microsoft.com/office/drawing/2014/main" id="{170D23D6-C1AC-2E79-FFA9-DCEE2C96C1B1}"/>
                      </a:ext>
                    </a:extLst>
                  </p:cNvPr>
                  <p:cNvSpPr txBox="1"/>
                  <p:nvPr/>
                </p:nvSpPr>
                <p:spPr>
                  <a:xfrm>
                    <a:off x="604407" y="5040875"/>
                    <a:ext cx="86482" cy="642974"/>
                  </a:xfrm>
                  <a:prstGeom prst="rect">
                    <a:avLst/>
                  </a:prstGeom>
                </p:spPr>
                <p:txBody>
                  <a:bodyPr vert="vert270" wrap="square" lIns="0" tIns="12700" rIns="0" bIns="0" rtlCol="0">
                    <a:spAutoFit/>
                  </a:bodyPr>
                  <a:lstStyle/>
                  <a:p>
                    <a:pPr marL="1270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1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PFS,</a:t>
                    </a:r>
                    <a:r>
                      <a:rPr kumimoji="0" sz="1200" b="1" i="0" u="none" strike="noStrike" kern="1200" cap="none" spc="85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 </a:t>
                    </a:r>
                    <a:r>
                      <a:rPr kumimoji="0" sz="1200" b="1" i="0" u="none" strike="noStrike" kern="1200" cap="none" spc="-5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rPr>
                      <a:t>%</a:t>
                    </a:r>
                    <a:endParaRPr kumimoji="0" sz="12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595454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endParaRPr>
                  </a:p>
                </p:txBody>
              </p:sp>
              <p:grpSp>
                <p:nvGrpSpPr>
                  <p:cNvPr id="531" name="Group 530">
                    <a:extLst>
                      <a:ext uri="{FF2B5EF4-FFF2-40B4-BE49-F238E27FC236}">
                        <a16:creationId xmlns:a16="http://schemas.microsoft.com/office/drawing/2014/main" id="{C8EABF59-3B77-1E2F-75B7-4D5D0A0B4ED1}"/>
                      </a:ext>
                    </a:extLst>
                  </p:cNvPr>
                  <p:cNvGrpSpPr/>
                  <p:nvPr/>
                </p:nvGrpSpPr>
                <p:grpSpPr>
                  <a:xfrm>
                    <a:off x="704216" y="4803793"/>
                    <a:ext cx="2526492" cy="1221880"/>
                    <a:chOff x="611996" y="4329829"/>
                    <a:chExt cx="2526492" cy="1221880"/>
                  </a:xfrm>
                </p:grpSpPr>
                <p:sp>
                  <p:nvSpPr>
                    <p:cNvPr id="137" name="object 359">
                      <a:extLst>
                        <a:ext uri="{FF2B5EF4-FFF2-40B4-BE49-F238E27FC236}">
                          <a16:creationId xmlns:a16="http://schemas.microsoft.com/office/drawing/2014/main" id="{CD5A8AB5-3F82-C118-8D74-F25225A17AF5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27967" y="4376327"/>
                      <a:ext cx="2340610" cy="1094105"/>
                    </a:xfrm>
                    <a:custGeom>
                      <a:avLst/>
                      <a:gdLst/>
                      <a:ahLst/>
                      <a:cxnLst/>
                      <a:rect l="l" t="t" r="r" b="b"/>
                      <a:pathLst>
                        <a:path w="2340609" h="1094104">
                          <a:moveTo>
                            <a:pt x="120911" y="1093481"/>
                          </a:moveTo>
                          <a:lnTo>
                            <a:pt x="120911" y="1061786"/>
                          </a:lnTo>
                        </a:path>
                        <a:path w="2340609" h="1094104">
                          <a:moveTo>
                            <a:pt x="0" y="0"/>
                          </a:moveTo>
                          <a:lnTo>
                            <a:pt x="23673" y="0"/>
                          </a:lnTo>
                        </a:path>
                        <a:path w="2340609" h="1094104">
                          <a:moveTo>
                            <a:pt x="0" y="207192"/>
                          </a:moveTo>
                          <a:lnTo>
                            <a:pt x="23673" y="207192"/>
                          </a:lnTo>
                        </a:path>
                        <a:path w="2340609" h="1094104">
                          <a:moveTo>
                            <a:pt x="0" y="414971"/>
                          </a:moveTo>
                          <a:lnTo>
                            <a:pt x="23673" y="414971"/>
                          </a:lnTo>
                        </a:path>
                        <a:path w="2340609" h="1094104">
                          <a:moveTo>
                            <a:pt x="0" y="622750"/>
                          </a:moveTo>
                          <a:lnTo>
                            <a:pt x="23673" y="622750"/>
                          </a:lnTo>
                        </a:path>
                        <a:path w="2340609" h="1094104">
                          <a:moveTo>
                            <a:pt x="0" y="103889"/>
                          </a:moveTo>
                          <a:lnTo>
                            <a:pt x="23673" y="103889"/>
                          </a:lnTo>
                        </a:path>
                        <a:path w="2340609" h="1094104">
                          <a:moveTo>
                            <a:pt x="0" y="311081"/>
                          </a:moveTo>
                          <a:lnTo>
                            <a:pt x="23673" y="311081"/>
                          </a:lnTo>
                        </a:path>
                        <a:path w="2340609" h="1094104">
                          <a:moveTo>
                            <a:pt x="0" y="518860"/>
                          </a:moveTo>
                          <a:lnTo>
                            <a:pt x="23673" y="518860"/>
                          </a:lnTo>
                        </a:path>
                        <a:path w="2340609" h="1094104">
                          <a:moveTo>
                            <a:pt x="0" y="726640"/>
                          </a:moveTo>
                          <a:lnTo>
                            <a:pt x="23673" y="726640"/>
                          </a:lnTo>
                        </a:path>
                        <a:path w="2340609" h="1094104">
                          <a:moveTo>
                            <a:pt x="0" y="829942"/>
                          </a:moveTo>
                          <a:lnTo>
                            <a:pt x="23673" y="829942"/>
                          </a:lnTo>
                        </a:path>
                        <a:path w="2340609" h="1094104">
                          <a:moveTo>
                            <a:pt x="0" y="933832"/>
                          </a:moveTo>
                          <a:lnTo>
                            <a:pt x="23673" y="933832"/>
                          </a:lnTo>
                        </a:path>
                        <a:path w="2340609" h="1094104">
                          <a:moveTo>
                            <a:pt x="0" y="1037721"/>
                          </a:moveTo>
                          <a:lnTo>
                            <a:pt x="23673" y="1037721"/>
                          </a:lnTo>
                        </a:path>
                        <a:path w="2340609" h="1094104">
                          <a:moveTo>
                            <a:pt x="2340205" y="1061786"/>
                          </a:moveTo>
                          <a:lnTo>
                            <a:pt x="28173" y="1061786"/>
                          </a:lnTo>
                        </a:path>
                        <a:path w="2340609" h="1094104">
                          <a:moveTo>
                            <a:pt x="28173" y="1062031"/>
                          </a:moveTo>
                          <a:lnTo>
                            <a:pt x="28173" y="0"/>
                          </a:lnTo>
                        </a:path>
                        <a:path w="2340609" h="1094104">
                          <a:moveTo>
                            <a:pt x="367428" y="1093481"/>
                          </a:moveTo>
                          <a:lnTo>
                            <a:pt x="367428" y="1061786"/>
                          </a:lnTo>
                        </a:path>
                        <a:path w="2340609" h="1094104">
                          <a:moveTo>
                            <a:pt x="614533" y="1093481"/>
                          </a:moveTo>
                          <a:lnTo>
                            <a:pt x="614533" y="1061786"/>
                          </a:lnTo>
                        </a:path>
                        <a:path w="2340609" h="1094104">
                          <a:moveTo>
                            <a:pt x="861050" y="1093481"/>
                          </a:moveTo>
                          <a:lnTo>
                            <a:pt x="861050" y="1061786"/>
                          </a:lnTo>
                        </a:path>
                        <a:path w="2340609" h="1094104">
                          <a:moveTo>
                            <a:pt x="1107568" y="1093481"/>
                          </a:moveTo>
                          <a:lnTo>
                            <a:pt x="1107568" y="1061786"/>
                          </a:lnTo>
                        </a:path>
                        <a:path w="2340609" h="1094104">
                          <a:moveTo>
                            <a:pt x="1354086" y="1093481"/>
                          </a:moveTo>
                          <a:lnTo>
                            <a:pt x="1354086" y="1061786"/>
                          </a:lnTo>
                        </a:path>
                        <a:path w="2340609" h="1094104">
                          <a:moveTo>
                            <a:pt x="1600603" y="1093481"/>
                          </a:moveTo>
                          <a:lnTo>
                            <a:pt x="1600603" y="1061786"/>
                          </a:lnTo>
                        </a:path>
                        <a:path w="2340609" h="1094104">
                          <a:moveTo>
                            <a:pt x="1847121" y="1093481"/>
                          </a:moveTo>
                          <a:lnTo>
                            <a:pt x="1847121" y="1061786"/>
                          </a:lnTo>
                        </a:path>
                        <a:path w="2340609" h="1094104">
                          <a:moveTo>
                            <a:pt x="2093638" y="1093481"/>
                          </a:moveTo>
                          <a:lnTo>
                            <a:pt x="2093638" y="1061786"/>
                          </a:lnTo>
                        </a:path>
                        <a:path w="2340609" h="1094104">
                          <a:moveTo>
                            <a:pt x="2340156" y="1093481"/>
                          </a:moveTo>
                          <a:lnTo>
                            <a:pt x="2340156" y="1061786"/>
                          </a:lnTo>
                        </a:path>
                      </a:pathLst>
                    </a:custGeom>
                    <a:ln w="7336">
                      <a:solidFill>
                        <a:schemeClr val="tx1"/>
                      </a:solidFill>
                    </a:ln>
                  </p:spPr>
                  <p:txBody>
                    <a:bodyPr wrap="square" lIns="0" tIns="0" rIns="0" bIns="0" rtlCol="0"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sz="3600" b="0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Trebuchet MS" panose="020B0603020202020204"/>
                        <a:ea typeface="+mn-ea"/>
                        <a:cs typeface="+mn-cs"/>
                      </a:endParaRPr>
                    </a:p>
                  </p:txBody>
                </p:sp>
                <p:sp>
                  <p:nvSpPr>
                    <p:cNvPr id="38" name="object 371">
                      <a:extLst>
                        <a:ext uri="{FF2B5EF4-FFF2-40B4-BE49-F238E27FC236}">
                          <a16:creationId xmlns:a16="http://schemas.microsoft.com/office/drawing/2014/main" id="{95D4FDE1-FA7C-BAFB-604F-028A0E4D3AC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130930" y="4769121"/>
                      <a:ext cx="473998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.2</a:t>
                      </a:r>
                      <a:r>
                        <a:rPr kumimoji="0" sz="1000" b="1" i="0" u="none" strike="noStrike" kern="1200" cap="none" spc="25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8.0—</a:t>
                      </a:r>
                      <a:r>
                        <a:rPr kumimoji="0" sz="1000" b="1" i="0" u="none" strike="noStrike" kern="1200" cap="none" spc="-25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R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39" name="object 372">
                      <a:extLst>
                        <a:ext uri="{FF2B5EF4-FFF2-40B4-BE49-F238E27FC236}">
                          <a16:creationId xmlns:a16="http://schemas.microsoft.com/office/drawing/2014/main" id="{D9CFBAC2-F093-C190-0D14-AF4E4C91AAF7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012948" y="4947235"/>
                      <a:ext cx="41313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.8</a:t>
                      </a:r>
                      <a:r>
                        <a:rPr kumimoji="0" sz="1000" b="1" i="0" u="none" strike="noStrike" kern="1200" cap="none" spc="2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0.4—</a:t>
                      </a:r>
                      <a:r>
                        <a:rPr kumimoji="0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.4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0" name="object 373">
                      <a:extLst>
                        <a:ext uri="{FF2B5EF4-FFF2-40B4-BE49-F238E27FC236}">
                          <a16:creationId xmlns:a16="http://schemas.microsoft.com/office/drawing/2014/main" id="{165F9CE1-CAE0-5F89-D840-CEF508C9A226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000791" y="5074371"/>
                      <a:ext cx="44578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.0</a:t>
                      </a:r>
                      <a:r>
                        <a:rPr kumimoji="0" sz="1000" b="1" i="0" u="none" strike="noStrike" kern="1200" cap="none" spc="15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9.4—30.1)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1" name="object 374">
                      <a:extLst>
                        <a:ext uri="{FF2B5EF4-FFF2-40B4-BE49-F238E27FC236}">
                          <a16:creationId xmlns:a16="http://schemas.microsoft.com/office/drawing/2014/main" id="{E013A3F4-4AC7-8A09-ECB4-7E878264F50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856431" y="5197483"/>
                      <a:ext cx="278022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FFAC24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known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2" name="object 375">
                      <a:extLst>
                        <a:ext uri="{FF2B5EF4-FFF2-40B4-BE49-F238E27FC236}">
                          <a16:creationId xmlns:a16="http://schemas.microsoft.com/office/drawing/2014/main" id="{5A69A275-D588-E00C-801A-2C4EA965963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16641" y="5036562"/>
                      <a:ext cx="151935" cy="87906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9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00A2C3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otal</a:t>
                      </a:r>
                      <a:endParaRPr kumimoji="0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3" name="object 376">
                      <a:extLst>
                        <a:ext uri="{FF2B5EF4-FFF2-40B4-BE49-F238E27FC236}">
                          <a16:creationId xmlns:a16="http://schemas.microsoft.com/office/drawing/2014/main" id="{99ECC947-4AFD-24BD-6674-7ED4BA8BB44C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2916494" y="4931596"/>
                      <a:ext cx="203835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128867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MRD4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sp>
                  <p:nvSpPr>
                    <p:cNvPr id="44" name="object 377">
                      <a:extLst>
                        <a:ext uri="{FF2B5EF4-FFF2-40B4-BE49-F238E27FC236}">
                          <a16:creationId xmlns:a16="http://schemas.microsoft.com/office/drawing/2014/main" id="{AC09C44E-9CA4-A4F1-D46C-25EC7F7F13A3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1114471" y="5301817"/>
                      <a:ext cx="1971039" cy="96884"/>
                    </a:xfrm>
                    <a:prstGeom prst="rect">
                      <a:avLst/>
                    </a:prstGeom>
                  </p:spPr>
                  <p:txBody>
                    <a:bodyPr vert="horz" wrap="square" lIns="0" tIns="12065" rIns="0" bIns="0" rtlCol="0">
                      <a:spAutoFit/>
                    </a:bodyPr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1694814" algn="l"/>
                        </a:tabLst>
                        <a:defRPr/>
                      </a:pP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.9</a:t>
                      </a:r>
                      <a:r>
                        <a:rPr kumimoji="0" sz="1000" b="1" i="0" u="none" strike="noStrike" kern="1200" cap="none" spc="2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.9—</a:t>
                      </a:r>
                      <a:r>
                        <a:rPr kumimoji="0" sz="1000" b="1" i="0" u="none" strike="noStrike" kern="1200" cap="none" spc="-2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.1)</a:t>
                      </a:r>
                      <a:r>
                        <a:rPr kumimoji="0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	MRD</a:t>
                      </a:r>
                      <a:r>
                        <a:rPr kumimoji="0" sz="1000" b="1" i="0" u="none" strike="noStrike" kern="1200" cap="none" spc="-15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kumimoji="0" sz="1000" b="1" i="0" u="none" strike="noStrike" kern="1200" cap="none" spc="-10" normalizeH="0" baseline="0" noProof="0" dirty="0">
                          <a:ln>
                            <a:noFill/>
                          </a:ln>
                          <a:solidFill>
                            <a:srgbClr val="772A28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sitive</a:t>
                      </a:r>
                      <a:endParaRPr kumimoji="0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59545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p:txBody>
                </p:sp>
                <p:grpSp>
                  <p:nvGrpSpPr>
                    <p:cNvPr id="45" name="object 378">
                      <a:extLst>
                        <a:ext uri="{FF2B5EF4-FFF2-40B4-BE49-F238E27FC236}">
                          <a16:creationId xmlns:a16="http://schemas.microsoft.com/office/drawing/2014/main" id="{5069F5CE-7E87-D226-DEE1-422A49EBF441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838024" y="4337295"/>
                      <a:ext cx="2234565" cy="1078230"/>
                      <a:chOff x="4599319" y="5044306"/>
                      <a:chExt cx="2234565" cy="1078230"/>
                    </a:xfrm>
                  </p:grpSpPr>
                  <p:sp>
                    <p:nvSpPr>
                      <p:cNvPr id="122" name="object 379">
                        <a:extLst>
                          <a:ext uri="{FF2B5EF4-FFF2-40B4-BE49-F238E27FC236}">
                            <a16:creationId xmlns:a16="http://schemas.microsoft.com/office/drawing/2014/main" id="{E576FF37-EAA9-F559-2F73-323A603D662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3129" y="5081577"/>
                        <a:ext cx="2042795" cy="70612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42795" h="706120">
                            <a:moveTo>
                              <a:pt x="0" y="0"/>
                            </a:moveTo>
                            <a:lnTo>
                              <a:pt x="15113" y="0"/>
                            </a:lnTo>
                            <a:lnTo>
                              <a:pt x="15113" y="88237"/>
                            </a:lnTo>
                            <a:lnTo>
                              <a:pt x="30178" y="88237"/>
                            </a:lnTo>
                            <a:lnTo>
                              <a:pt x="30178" y="102471"/>
                            </a:lnTo>
                            <a:lnTo>
                              <a:pt x="44412" y="102471"/>
                            </a:lnTo>
                            <a:lnTo>
                              <a:pt x="44412" y="118367"/>
                            </a:lnTo>
                            <a:lnTo>
                              <a:pt x="89656" y="118367"/>
                            </a:lnTo>
                            <a:lnTo>
                              <a:pt x="89656" y="148497"/>
                            </a:lnTo>
                            <a:lnTo>
                              <a:pt x="96748" y="148497"/>
                            </a:lnTo>
                            <a:lnTo>
                              <a:pt x="96748" y="160040"/>
                            </a:lnTo>
                            <a:lnTo>
                              <a:pt x="108242" y="160040"/>
                            </a:lnTo>
                            <a:lnTo>
                              <a:pt x="108242" y="177747"/>
                            </a:lnTo>
                            <a:lnTo>
                              <a:pt x="122476" y="177747"/>
                            </a:lnTo>
                            <a:lnTo>
                              <a:pt x="119786" y="177747"/>
                            </a:lnTo>
                            <a:lnTo>
                              <a:pt x="117095" y="177747"/>
                            </a:lnTo>
                            <a:lnTo>
                              <a:pt x="119786" y="196333"/>
                            </a:lnTo>
                            <a:lnTo>
                              <a:pt x="137247" y="196333"/>
                            </a:lnTo>
                            <a:lnTo>
                              <a:pt x="137247" y="220251"/>
                            </a:lnTo>
                            <a:lnTo>
                              <a:pt x="142187" y="225191"/>
                            </a:lnTo>
                            <a:lnTo>
                              <a:pt x="142187" y="237957"/>
                            </a:lnTo>
                            <a:lnTo>
                              <a:pt x="164198" y="237957"/>
                            </a:lnTo>
                            <a:lnTo>
                              <a:pt x="164198" y="251262"/>
                            </a:lnTo>
                            <a:lnTo>
                              <a:pt x="201469" y="251262"/>
                            </a:lnTo>
                            <a:lnTo>
                              <a:pt x="201469" y="263636"/>
                            </a:lnTo>
                            <a:lnTo>
                              <a:pt x="237860" y="263636"/>
                            </a:lnTo>
                            <a:lnTo>
                              <a:pt x="237860" y="279582"/>
                            </a:lnTo>
                            <a:lnTo>
                              <a:pt x="244756" y="279582"/>
                            </a:lnTo>
                            <a:lnTo>
                              <a:pt x="244756" y="305310"/>
                            </a:lnTo>
                            <a:lnTo>
                              <a:pt x="259185" y="305310"/>
                            </a:lnTo>
                            <a:lnTo>
                              <a:pt x="259185" y="319494"/>
                            </a:lnTo>
                            <a:lnTo>
                              <a:pt x="270680" y="319494"/>
                            </a:lnTo>
                            <a:lnTo>
                              <a:pt x="270680" y="331820"/>
                            </a:lnTo>
                            <a:lnTo>
                              <a:pt x="276011" y="331820"/>
                            </a:lnTo>
                            <a:lnTo>
                              <a:pt x="276011" y="345222"/>
                            </a:lnTo>
                            <a:lnTo>
                              <a:pt x="354075" y="345222"/>
                            </a:lnTo>
                            <a:lnTo>
                              <a:pt x="354075" y="360336"/>
                            </a:lnTo>
                            <a:lnTo>
                              <a:pt x="378971" y="360336"/>
                            </a:lnTo>
                            <a:lnTo>
                              <a:pt x="378971" y="376281"/>
                            </a:lnTo>
                            <a:lnTo>
                              <a:pt x="393156" y="376281"/>
                            </a:lnTo>
                            <a:lnTo>
                              <a:pt x="393156" y="387776"/>
                            </a:lnTo>
                            <a:lnTo>
                              <a:pt x="399368" y="387776"/>
                            </a:lnTo>
                            <a:lnTo>
                              <a:pt x="398047" y="404210"/>
                            </a:lnTo>
                            <a:lnTo>
                              <a:pt x="399368" y="402890"/>
                            </a:lnTo>
                            <a:lnTo>
                              <a:pt x="405473" y="402332"/>
                            </a:lnTo>
                            <a:lnTo>
                              <a:pt x="417618" y="402394"/>
                            </a:lnTo>
                            <a:lnTo>
                              <a:pt x="429515" y="402704"/>
                            </a:lnTo>
                            <a:lnTo>
                              <a:pt x="434878" y="402890"/>
                            </a:lnTo>
                            <a:lnTo>
                              <a:pt x="434878" y="414824"/>
                            </a:lnTo>
                            <a:lnTo>
                              <a:pt x="496116" y="414824"/>
                            </a:lnTo>
                            <a:lnTo>
                              <a:pt x="496116" y="434340"/>
                            </a:lnTo>
                            <a:lnTo>
                              <a:pt x="503208" y="434340"/>
                            </a:lnTo>
                            <a:lnTo>
                              <a:pt x="503208" y="470291"/>
                            </a:lnTo>
                            <a:lnTo>
                              <a:pt x="512185" y="469782"/>
                            </a:lnTo>
                            <a:lnTo>
                              <a:pt x="531663" y="468933"/>
                            </a:lnTo>
                            <a:lnTo>
                              <a:pt x="550462" y="468764"/>
                            </a:lnTo>
                            <a:lnTo>
                              <a:pt x="557403" y="470291"/>
                            </a:lnTo>
                            <a:lnTo>
                              <a:pt x="553784" y="473861"/>
                            </a:lnTo>
                            <a:lnTo>
                              <a:pt x="557403" y="482665"/>
                            </a:lnTo>
                            <a:lnTo>
                              <a:pt x="561708" y="482665"/>
                            </a:lnTo>
                            <a:lnTo>
                              <a:pt x="561708" y="498611"/>
                            </a:lnTo>
                            <a:lnTo>
                              <a:pt x="749824" y="498611"/>
                            </a:lnTo>
                            <a:lnTo>
                              <a:pt x="749824" y="542974"/>
                            </a:lnTo>
                            <a:lnTo>
                              <a:pt x="881104" y="542974"/>
                            </a:lnTo>
                            <a:lnTo>
                              <a:pt x="881104" y="559751"/>
                            </a:lnTo>
                            <a:lnTo>
                              <a:pt x="921017" y="559751"/>
                            </a:lnTo>
                            <a:lnTo>
                              <a:pt x="921017" y="575745"/>
                            </a:lnTo>
                            <a:lnTo>
                              <a:pt x="1083405" y="575745"/>
                            </a:lnTo>
                            <a:lnTo>
                              <a:pt x="1083405" y="600593"/>
                            </a:lnTo>
                            <a:lnTo>
                              <a:pt x="1111481" y="600593"/>
                            </a:lnTo>
                            <a:lnTo>
                              <a:pt x="1111481" y="614777"/>
                            </a:lnTo>
                            <a:lnTo>
                              <a:pt x="1246674" y="614777"/>
                            </a:lnTo>
                            <a:lnTo>
                              <a:pt x="1246674" y="638695"/>
                            </a:lnTo>
                            <a:lnTo>
                              <a:pt x="1289277" y="638695"/>
                            </a:lnTo>
                            <a:lnTo>
                              <a:pt x="1289277" y="652880"/>
                            </a:lnTo>
                            <a:lnTo>
                              <a:pt x="1302581" y="652880"/>
                            </a:lnTo>
                            <a:lnTo>
                              <a:pt x="1302581" y="664423"/>
                            </a:lnTo>
                            <a:lnTo>
                              <a:pt x="1576734" y="664423"/>
                            </a:lnTo>
                            <a:lnTo>
                              <a:pt x="1576610" y="671058"/>
                            </a:lnTo>
                            <a:lnTo>
                              <a:pt x="1576404" y="685590"/>
                            </a:lnTo>
                            <a:lnTo>
                              <a:pt x="1576363" y="699956"/>
                            </a:lnTo>
                            <a:lnTo>
                              <a:pt x="1576734" y="706096"/>
                            </a:lnTo>
                            <a:lnTo>
                              <a:pt x="1649893" y="705725"/>
                            </a:lnTo>
                            <a:lnTo>
                              <a:pt x="1809984" y="705766"/>
                            </a:lnTo>
                            <a:lnTo>
                              <a:pt x="1969910" y="705973"/>
                            </a:lnTo>
                            <a:lnTo>
                              <a:pt x="2042574" y="706096"/>
                            </a:lnTo>
                          </a:path>
                        </a:pathLst>
                      </a:custGeom>
                      <a:ln w="12700">
                        <a:solidFill>
                          <a:srgbClr val="00A2C3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3" name="object 380">
                        <a:extLst>
                          <a:ext uri="{FF2B5EF4-FFF2-40B4-BE49-F238E27FC236}">
                            <a16:creationId xmlns:a16="http://schemas.microsoft.com/office/drawing/2014/main" id="{4FF47185-D813-D84D-5F16-470FEE79C1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718456" y="5229792"/>
                        <a:ext cx="1925320" cy="58928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25320" h="589279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52"/>
                            </a:lnTo>
                            <a:lnTo>
                              <a:pt x="8801" y="73952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925320" h="589279">
                            <a:moveTo>
                              <a:pt x="22898" y="24053"/>
                            </a:moveTo>
                            <a:lnTo>
                              <a:pt x="14084" y="24053"/>
                            </a:lnTo>
                            <a:lnTo>
                              <a:pt x="14084" y="98018"/>
                            </a:lnTo>
                            <a:lnTo>
                              <a:pt x="22898" y="98018"/>
                            </a:lnTo>
                            <a:lnTo>
                              <a:pt x="22898" y="24053"/>
                            </a:lnTo>
                            <a:close/>
                          </a:path>
                          <a:path w="1925320" h="589279">
                            <a:moveTo>
                              <a:pt x="147320" y="119138"/>
                            </a:moveTo>
                            <a:lnTo>
                              <a:pt x="138518" y="119138"/>
                            </a:lnTo>
                            <a:lnTo>
                              <a:pt x="138518" y="193687"/>
                            </a:lnTo>
                            <a:lnTo>
                              <a:pt x="147320" y="193687"/>
                            </a:lnTo>
                            <a:lnTo>
                              <a:pt x="147320" y="119138"/>
                            </a:lnTo>
                            <a:close/>
                          </a:path>
                          <a:path w="1925320" h="589279">
                            <a:moveTo>
                              <a:pt x="270002" y="175488"/>
                            </a:moveTo>
                            <a:lnTo>
                              <a:pt x="261188" y="175488"/>
                            </a:lnTo>
                            <a:lnTo>
                              <a:pt x="261188" y="250037"/>
                            </a:lnTo>
                            <a:lnTo>
                              <a:pt x="270002" y="250037"/>
                            </a:lnTo>
                            <a:lnTo>
                              <a:pt x="270002" y="175488"/>
                            </a:lnTo>
                            <a:close/>
                          </a:path>
                          <a:path w="1925320" h="589279">
                            <a:moveTo>
                              <a:pt x="420255" y="278790"/>
                            </a:moveTo>
                            <a:lnTo>
                              <a:pt x="411454" y="278790"/>
                            </a:lnTo>
                            <a:lnTo>
                              <a:pt x="411454" y="352755"/>
                            </a:lnTo>
                            <a:lnTo>
                              <a:pt x="420255" y="352755"/>
                            </a:lnTo>
                            <a:lnTo>
                              <a:pt x="420255" y="278790"/>
                            </a:lnTo>
                            <a:close/>
                          </a:path>
                          <a:path w="1925320" h="589279">
                            <a:moveTo>
                              <a:pt x="627443" y="306971"/>
                            </a:moveTo>
                            <a:lnTo>
                              <a:pt x="618642" y="306971"/>
                            </a:lnTo>
                            <a:lnTo>
                              <a:pt x="618642" y="381508"/>
                            </a:lnTo>
                            <a:lnTo>
                              <a:pt x="627443" y="381508"/>
                            </a:lnTo>
                            <a:lnTo>
                              <a:pt x="627443" y="306971"/>
                            </a:lnTo>
                            <a:close/>
                          </a:path>
                          <a:path w="1925320" h="589279">
                            <a:moveTo>
                              <a:pt x="643877" y="354507"/>
                            </a:moveTo>
                            <a:lnTo>
                              <a:pt x="635076" y="354507"/>
                            </a:lnTo>
                            <a:lnTo>
                              <a:pt x="635076" y="429056"/>
                            </a:lnTo>
                            <a:lnTo>
                              <a:pt x="643877" y="429056"/>
                            </a:lnTo>
                            <a:lnTo>
                              <a:pt x="643877" y="354507"/>
                            </a:lnTo>
                            <a:close/>
                          </a:path>
                          <a:path w="1925320" h="589279">
                            <a:moveTo>
                              <a:pt x="890397" y="388556"/>
                            </a:moveTo>
                            <a:lnTo>
                              <a:pt x="881595" y="388556"/>
                            </a:lnTo>
                            <a:lnTo>
                              <a:pt x="881595" y="463092"/>
                            </a:lnTo>
                            <a:lnTo>
                              <a:pt x="890397" y="463092"/>
                            </a:lnTo>
                            <a:lnTo>
                              <a:pt x="890397" y="388556"/>
                            </a:lnTo>
                            <a:close/>
                          </a:path>
                          <a:path w="1925320" h="589279">
                            <a:moveTo>
                              <a:pt x="936764" y="388556"/>
                            </a:moveTo>
                            <a:lnTo>
                              <a:pt x="927963" y="388556"/>
                            </a:lnTo>
                            <a:lnTo>
                              <a:pt x="927963" y="463092"/>
                            </a:lnTo>
                            <a:lnTo>
                              <a:pt x="936764" y="463092"/>
                            </a:lnTo>
                            <a:lnTo>
                              <a:pt x="936764" y="388556"/>
                            </a:lnTo>
                            <a:close/>
                          </a:path>
                          <a:path w="1925320" h="589279">
                            <a:moveTo>
                              <a:pt x="982548" y="405574"/>
                            </a:moveTo>
                            <a:lnTo>
                              <a:pt x="973747" y="405574"/>
                            </a:lnTo>
                            <a:lnTo>
                              <a:pt x="973747" y="479526"/>
                            </a:lnTo>
                            <a:lnTo>
                              <a:pt x="982548" y="479526"/>
                            </a:lnTo>
                            <a:lnTo>
                              <a:pt x="982548" y="405574"/>
                            </a:lnTo>
                            <a:close/>
                          </a:path>
                          <a:path w="1925320" h="589279">
                            <a:moveTo>
                              <a:pt x="1112850" y="424942"/>
                            </a:moveTo>
                            <a:lnTo>
                              <a:pt x="1104049" y="424942"/>
                            </a:lnTo>
                            <a:lnTo>
                              <a:pt x="1104049" y="499491"/>
                            </a:lnTo>
                            <a:lnTo>
                              <a:pt x="1112850" y="499491"/>
                            </a:lnTo>
                            <a:lnTo>
                              <a:pt x="1112850" y="424942"/>
                            </a:lnTo>
                            <a:close/>
                          </a:path>
                          <a:path w="1925320" h="589279">
                            <a:moveTo>
                              <a:pt x="1167434" y="450176"/>
                            </a:moveTo>
                            <a:lnTo>
                              <a:pt x="1158633" y="450176"/>
                            </a:lnTo>
                            <a:lnTo>
                              <a:pt x="1158633" y="524725"/>
                            </a:lnTo>
                            <a:lnTo>
                              <a:pt x="1167434" y="524725"/>
                            </a:lnTo>
                            <a:lnTo>
                              <a:pt x="1167434" y="450176"/>
                            </a:lnTo>
                            <a:close/>
                          </a:path>
                          <a:path w="1925320" h="589279">
                            <a:moveTo>
                              <a:pt x="1189748" y="478358"/>
                            </a:moveTo>
                            <a:lnTo>
                              <a:pt x="1180934" y="478358"/>
                            </a:lnTo>
                            <a:lnTo>
                              <a:pt x="1180934" y="552894"/>
                            </a:lnTo>
                            <a:lnTo>
                              <a:pt x="1189748" y="552894"/>
                            </a:lnTo>
                            <a:lnTo>
                              <a:pt x="1189748" y="478358"/>
                            </a:lnTo>
                            <a:close/>
                          </a:path>
                          <a:path w="1925320" h="589279">
                            <a:moveTo>
                              <a:pt x="1245501" y="478358"/>
                            </a:moveTo>
                            <a:lnTo>
                              <a:pt x="1236700" y="478358"/>
                            </a:lnTo>
                            <a:lnTo>
                              <a:pt x="1236700" y="552894"/>
                            </a:lnTo>
                            <a:lnTo>
                              <a:pt x="1245501" y="552894"/>
                            </a:lnTo>
                            <a:lnTo>
                              <a:pt x="1245501" y="478358"/>
                            </a:lnTo>
                            <a:close/>
                          </a:path>
                          <a:path w="1925320" h="589279">
                            <a:moveTo>
                              <a:pt x="1371701" y="475424"/>
                            </a:moveTo>
                            <a:lnTo>
                              <a:pt x="1362887" y="475424"/>
                            </a:lnTo>
                            <a:lnTo>
                              <a:pt x="1362887" y="549960"/>
                            </a:lnTo>
                            <a:lnTo>
                              <a:pt x="1371701" y="549960"/>
                            </a:lnTo>
                            <a:lnTo>
                              <a:pt x="1371701" y="475424"/>
                            </a:lnTo>
                            <a:close/>
                          </a:path>
                          <a:path w="1925320" h="589279">
                            <a:moveTo>
                              <a:pt x="1387538" y="475424"/>
                            </a:moveTo>
                            <a:lnTo>
                              <a:pt x="1378737" y="475424"/>
                            </a:lnTo>
                            <a:lnTo>
                              <a:pt x="1378737" y="549960"/>
                            </a:lnTo>
                            <a:lnTo>
                              <a:pt x="1387538" y="549960"/>
                            </a:lnTo>
                            <a:lnTo>
                              <a:pt x="1387538" y="475424"/>
                            </a:lnTo>
                            <a:close/>
                          </a:path>
                          <a:path w="1925320" h="589279">
                            <a:moveTo>
                              <a:pt x="1404569" y="475424"/>
                            </a:moveTo>
                            <a:lnTo>
                              <a:pt x="1395755" y="475424"/>
                            </a:lnTo>
                            <a:lnTo>
                              <a:pt x="1395755" y="549960"/>
                            </a:lnTo>
                            <a:lnTo>
                              <a:pt x="1404569" y="549960"/>
                            </a:lnTo>
                            <a:lnTo>
                              <a:pt x="1404569" y="475424"/>
                            </a:lnTo>
                            <a:close/>
                          </a:path>
                          <a:path w="1925320" h="589279">
                            <a:moveTo>
                              <a:pt x="1598841" y="514743"/>
                            </a:moveTo>
                            <a:lnTo>
                              <a:pt x="1590040" y="514743"/>
                            </a:lnTo>
                            <a:lnTo>
                              <a:pt x="1590040" y="588708"/>
                            </a:lnTo>
                            <a:lnTo>
                              <a:pt x="1598841" y="588708"/>
                            </a:lnTo>
                            <a:lnTo>
                              <a:pt x="1598841" y="514743"/>
                            </a:lnTo>
                            <a:close/>
                          </a:path>
                          <a:path w="1925320" h="589279">
                            <a:moveTo>
                              <a:pt x="1627022" y="514743"/>
                            </a:moveTo>
                            <a:lnTo>
                              <a:pt x="1618208" y="514743"/>
                            </a:lnTo>
                            <a:lnTo>
                              <a:pt x="1618208" y="588708"/>
                            </a:lnTo>
                            <a:lnTo>
                              <a:pt x="1627022" y="588708"/>
                            </a:lnTo>
                            <a:lnTo>
                              <a:pt x="1627022" y="514743"/>
                            </a:lnTo>
                            <a:close/>
                          </a:path>
                          <a:path w="1925320" h="589279">
                            <a:moveTo>
                              <a:pt x="1660474" y="514743"/>
                            </a:moveTo>
                            <a:lnTo>
                              <a:pt x="1651673" y="514743"/>
                            </a:lnTo>
                            <a:lnTo>
                              <a:pt x="1651673" y="588708"/>
                            </a:lnTo>
                            <a:lnTo>
                              <a:pt x="1660474" y="588708"/>
                            </a:lnTo>
                            <a:lnTo>
                              <a:pt x="1660474" y="514743"/>
                            </a:lnTo>
                            <a:close/>
                          </a:path>
                          <a:path w="1925320" h="589279">
                            <a:moveTo>
                              <a:pt x="1851825" y="514743"/>
                            </a:moveTo>
                            <a:lnTo>
                              <a:pt x="1843011" y="514743"/>
                            </a:lnTo>
                            <a:lnTo>
                              <a:pt x="1843011" y="588708"/>
                            </a:lnTo>
                            <a:lnTo>
                              <a:pt x="1851825" y="588708"/>
                            </a:lnTo>
                            <a:lnTo>
                              <a:pt x="1851825" y="514743"/>
                            </a:lnTo>
                            <a:close/>
                          </a:path>
                          <a:path w="1925320" h="589279">
                            <a:moveTo>
                              <a:pt x="1875294" y="514743"/>
                            </a:moveTo>
                            <a:lnTo>
                              <a:pt x="1866493" y="514743"/>
                            </a:lnTo>
                            <a:lnTo>
                              <a:pt x="1866493" y="588708"/>
                            </a:lnTo>
                            <a:lnTo>
                              <a:pt x="1875294" y="588708"/>
                            </a:lnTo>
                            <a:lnTo>
                              <a:pt x="1875294" y="514743"/>
                            </a:lnTo>
                            <a:close/>
                          </a:path>
                          <a:path w="1925320" h="589279">
                            <a:moveTo>
                              <a:pt x="1925193" y="514743"/>
                            </a:moveTo>
                            <a:lnTo>
                              <a:pt x="1916379" y="514743"/>
                            </a:lnTo>
                            <a:lnTo>
                              <a:pt x="1916379" y="588708"/>
                            </a:lnTo>
                            <a:lnTo>
                              <a:pt x="1925193" y="588708"/>
                            </a:lnTo>
                            <a:lnTo>
                              <a:pt x="1925193" y="514743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4" name="object 381">
                        <a:extLst>
                          <a:ext uri="{FF2B5EF4-FFF2-40B4-BE49-F238E27FC236}">
                            <a16:creationId xmlns:a16="http://schemas.microsoft.com/office/drawing/2014/main" id="{B6CEE23B-A7C5-55AE-80E2-F9F367BFDDE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55661" y="5161108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89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CA7B78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5" name="object 382">
                        <a:extLst>
                          <a:ext uri="{FF2B5EF4-FFF2-40B4-BE49-F238E27FC236}">
                            <a16:creationId xmlns:a16="http://schemas.microsoft.com/office/drawing/2014/main" id="{761E79B3-6684-07C7-DAB9-18460C096AC7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41574" y="5137043"/>
                        <a:ext cx="8890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8889" h="74295">
                            <a:moveTo>
                              <a:pt x="8804" y="0"/>
                            </a:moveTo>
                            <a:lnTo>
                              <a:pt x="0" y="0"/>
                            </a:lnTo>
                            <a:lnTo>
                              <a:pt x="0" y="73955"/>
                            </a:lnTo>
                            <a:lnTo>
                              <a:pt x="8804" y="73955"/>
                            </a:lnTo>
                            <a:lnTo>
                              <a:pt x="8804" y="0"/>
                            </a:lnTo>
                            <a:close/>
                          </a:path>
                        </a:pathLst>
                      </a:custGeom>
                      <a:solidFill>
                        <a:srgbClr val="00A2C3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6" name="object 383">
                        <a:extLst>
                          <a:ext uri="{FF2B5EF4-FFF2-40B4-BE49-F238E27FC236}">
                            <a16:creationId xmlns:a16="http://schemas.microsoft.com/office/drawing/2014/main" id="{B2685614-46B5-7853-8B1D-E703BA7F8F04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6092494" y="5910055"/>
                        <a:ext cx="480695" cy="7429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480695" h="74295">
                            <a:moveTo>
                              <a:pt x="8813" y="0"/>
                            </a:moveTo>
                            <a:lnTo>
                              <a:pt x="0" y="0"/>
                            </a:lnTo>
                            <a:lnTo>
                              <a:pt x="0" y="73964"/>
                            </a:lnTo>
                            <a:lnTo>
                              <a:pt x="8813" y="73964"/>
                            </a:lnTo>
                            <a:lnTo>
                              <a:pt x="8813" y="0"/>
                            </a:lnTo>
                            <a:close/>
                          </a:path>
                          <a:path w="480695" h="74295">
                            <a:moveTo>
                              <a:pt x="480123" y="0"/>
                            </a:moveTo>
                            <a:lnTo>
                              <a:pt x="471322" y="0"/>
                            </a:lnTo>
                            <a:lnTo>
                              <a:pt x="471322" y="73964"/>
                            </a:lnTo>
                            <a:lnTo>
                              <a:pt x="480123" y="73964"/>
                            </a:lnTo>
                            <a:lnTo>
                              <a:pt x="480123" y="0"/>
                            </a:lnTo>
                            <a:close/>
                          </a:path>
                        </a:pathLst>
                      </a:custGeom>
                      <a:solidFill>
                        <a:srgbClr val="FFAC24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7" name="object 384">
                        <a:extLst>
                          <a:ext uri="{FF2B5EF4-FFF2-40B4-BE49-F238E27FC236}">
                            <a16:creationId xmlns:a16="http://schemas.microsoft.com/office/drawing/2014/main" id="{44858068-CDB4-1638-C1E2-6BA0D853E54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7238" y="5081577"/>
                        <a:ext cx="1962150" cy="86614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62150" h="866139">
                            <a:moveTo>
                              <a:pt x="0" y="0"/>
                            </a:moveTo>
                            <a:lnTo>
                              <a:pt x="9978" y="0"/>
                            </a:lnTo>
                            <a:lnTo>
                              <a:pt x="9978" y="89998"/>
                            </a:lnTo>
                            <a:lnTo>
                              <a:pt x="21961" y="89998"/>
                            </a:lnTo>
                            <a:lnTo>
                              <a:pt x="21961" y="345956"/>
                            </a:lnTo>
                            <a:lnTo>
                              <a:pt x="30570" y="345956"/>
                            </a:lnTo>
                            <a:lnTo>
                              <a:pt x="30570" y="434389"/>
                            </a:lnTo>
                            <a:lnTo>
                              <a:pt x="36586" y="434389"/>
                            </a:lnTo>
                            <a:lnTo>
                              <a:pt x="36586" y="602598"/>
                            </a:lnTo>
                            <a:lnTo>
                              <a:pt x="87846" y="602598"/>
                            </a:lnTo>
                            <a:lnTo>
                              <a:pt x="87846" y="691031"/>
                            </a:lnTo>
                            <a:lnTo>
                              <a:pt x="128412" y="692146"/>
                            </a:lnTo>
                            <a:lnTo>
                              <a:pt x="217659" y="692022"/>
                            </a:lnTo>
                            <a:lnTo>
                              <a:pt x="306905" y="691403"/>
                            </a:lnTo>
                            <a:lnTo>
                              <a:pt x="347472" y="691031"/>
                            </a:lnTo>
                            <a:lnTo>
                              <a:pt x="347472" y="777508"/>
                            </a:lnTo>
                            <a:lnTo>
                              <a:pt x="556474" y="777508"/>
                            </a:lnTo>
                            <a:lnTo>
                              <a:pt x="556474" y="865746"/>
                            </a:lnTo>
                            <a:lnTo>
                              <a:pt x="1961575" y="865746"/>
                            </a:lnTo>
                          </a:path>
                        </a:pathLst>
                      </a:custGeom>
                      <a:ln w="12700">
                        <a:solidFill>
                          <a:srgbClr val="FFAC24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8" name="object 385">
                        <a:extLst>
                          <a:ext uri="{FF2B5EF4-FFF2-40B4-BE49-F238E27FC236}">
                            <a16:creationId xmlns:a16="http://schemas.microsoft.com/office/drawing/2014/main" id="{D9E3991B-0889-068D-3B83-DFBBA35C4945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13107" y="5081577"/>
                        <a:ext cx="2217420" cy="103759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217420" h="1037589">
                            <a:moveTo>
                              <a:pt x="0" y="0"/>
                            </a:moveTo>
                            <a:lnTo>
                              <a:pt x="27928" y="0"/>
                            </a:lnTo>
                            <a:lnTo>
                              <a:pt x="27928" y="70482"/>
                            </a:lnTo>
                            <a:lnTo>
                              <a:pt x="45684" y="70482"/>
                            </a:lnTo>
                            <a:lnTo>
                              <a:pt x="45684" y="92230"/>
                            </a:lnTo>
                            <a:lnTo>
                              <a:pt x="45684" y="139693"/>
                            </a:lnTo>
                            <a:lnTo>
                              <a:pt x="45684" y="186202"/>
                            </a:lnTo>
                            <a:lnTo>
                              <a:pt x="45684" y="205088"/>
                            </a:lnTo>
                            <a:lnTo>
                              <a:pt x="50399" y="202942"/>
                            </a:lnTo>
                            <a:lnTo>
                              <a:pt x="60773" y="203181"/>
                            </a:lnTo>
                            <a:lnTo>
                              <a:pt x="71147" y="204373"/>
                            </a:lnTo>
                            <a:lnTo>
                              <a:pt x="75862" y="205088"/>
                            </a:lnTo>
                            <a:lnTo>
                              <a:pt x="75862" y="286919"/>
                            </a:lnTo>
                            <a:lnTo>
                              <a:pt x="88286" y="286919"/>
                            </a:lnTo>
                            <a:lnTo>
                              <a:pt x="88286" y="372075"/>
                            </a:lnTo>
                            <a:lnTo>
                              <a:pt x="116655" y="372075"/>
                            </a:lnTo>
                            <a:lnTo>
                              <a:pt x="116655" y="537105"/>
                            </a:lnTo>
                            <a:lnTo>
                              <a:pt x="125117" y="537105"/>
                            </a:lnTo>
                            <a:lnTo>
                              <a:pt x="125117" y="620109"/>
                            </a:lnTo>
                            <a:lnTo>
                              <a:pt x="131329" y="620109"/>
                            </a:lnTo>
                            <a:lnTo>
                              <a:pt x="131329" y="707711"/>
                            </a:lnTo>
                            <a:lnTo>
                              <a:pt x="254294" y="707711"/>
                            </a:lnTo>
                            <a:lnTo>
                              <a:pt x="254294" y="813654"/>
                            </a:lnTo>
                            <a:lnTo>
                              <a:pt x="372319" y="813654"/>
                            </a:lnTo>
                            <a:lnTo>
                              <a:pt x="372319" y="926739"/>
                            </a:lnTo>
                            <a:lnTo>
                              <a:pt x="737987" y="926739"/>
                            </a:lnTo>
                            <a:lnTo>
                              <a:pt x="737987" y="1037134"/>
                            </a:lnTo>
                            <a:lnTo>
                              <a:pt x="2216897" y="1037134"/>
                            </a:lnTo>
                          </a:path>
                        </a:pathLst>
                      </a:custGeom>
                      <a:ln w="12700">
                        <a:solidFill>
                          <a:srgbClr val="772A28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29" name="object 386">
                        <a:extLst>
                          <a:ext uri="{FF2B5EF4-FFF2-40B4-BE49-F238E27FC236}">
                            <a16:creationId xmlns:a16="http://schemas.microsoft.com/office/drawing/2014/main" id="{75638D16-2D7E-03BF-845D-ECBCA8E75F63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8703" y="5044308"/>
                        <a:ext cx="257810" cy="782320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57810" h="782320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64"/>
                            </a:lnTo>
                            <a:lnTo>
                              <a:pt x="8801" y="73964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257810" h="782320">
                            <a:moveTo>
                              <a:pt x="45783" y="66332"/>
                            </a:moveTo>
                            <a:lnTo>
                              <a:pt x="36969" y="66332"/>
                            </a:lnTo>
                            <a:lnTo>
                              <a:pt x="36969" y="139700"/>
                            </a:lnTo>
                            <a:lnTo>
                              <a:pt x="45783" y="139700"/>
                            </a:lnTo>
                            <a:lnTo>
                              <a:pt x="45783" y="66332"/>
                            </a:lnTo>
                            <a:close/>
                          </a:path>
                          <a:path w="257810" h="782320">
                            <a:moveTo>
                              <a:pt x="52819" y="206019"/>
                            </a:moveTo>
                            <a:lnTo>
                              <a:pt x="44018" y="206019"/>
                            </a:lnTo>
                            <a:lnTo>
                              <a:pt x="44018" y="279387"/>
                            </a:lnTo>
                            <a:lnTo>
                              <a:pt x="52819" y="279387"/>
                            </a:lnTo>
                            <a:lnTo>
                              <a:pt x="52819" y="206019"/>
                            </a:lnTo>
                            <a:close/>
                          </a:path>
                          <a:path w="257810" h="782320">
                            <a:moveTo>
                              <a:pt x="257670" y="708444"/>
                            </a:moveTo>
                            <a:lnTo>
                              <a:pt x="248856" y="708444"/>
                            </a:lnTo>
                            <a:lnTo>
                              <a:pt x="248856" y="781812"/>
                            </a:lnTo>
                            <a:lnTo>
                              <a:pt x="257670" y="781812"/>
                            </a:lnTo>
                            <a:lnTo>
                              <a:pt x="257670" y="708444"/>
                            </a:lnTo>
                            <a:close/>
                          </a:path>
                        </a:pathLst>
                      </a:custGeom>
                      <a:solidFill>
                        <a:srgbClr val="772A28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0" name="object 387">
                        <a:extLst>
                          <a:ext uri="{FF2B5EF4-FFF2-40B4-BE49-F238E27FC236}">
                            <a16:creationId xmlns:a16="http://schemas.microsoft.com/office/drawing/2014/main" id="{16F8096F-76EC-2358-8A64-5F4557FCE43C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04303" y="5081577"/>
                        <a:ext cx="2032000" cy="60642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2032000" h="606425">
                            <a:moveTo>
                              <a:pt x="2031422" y="606315"/>
                            </a:moveTo>
                            <a:lnTo>
                              <a:pt x="1577566" y="606315"/>
                            </a:lnTo>
                            <a:lnTo>
                              <a:pt x="1577566" y="546447"/>
                            </a:lnTo>
                            <a:lnTo>
                              <a:pt x="1356923" y="546447"/>
                            </a:lnTo>
                            <a:lnTo>
                              <a:pt x="1295049" y="546447"/>
                            </a:lnTo>
                            <a:lnTo>
                              <a:pt x="1295049" y="527469"/>
                            </a:lnTo>
                            <a:lnTo>
                              <a:pt x="1280717" y="527469"/>
                            </a:lnTo>
                            <a:lnTo>
                              <a:pt x="1280717" y="510545"/>
                            </a:lnTo>
                            <a:lnTo>
                              <a:pt x="1247897" y="510545"/>
                            </a:lnTo>
                            <a:lnTo>
                              <a:pt x="1247897" y="479486"/>
                            </a:lnTo>
                            <a:lnTo>
                              <a:pt x="1110014" y="479486"/>
                            </a:lnTo>
                            <a:lnTo>
                              <a:pt x="1110014" y="450237"/>
                            </a:lnTo>
                            <a:lnTo>
                              <a:pt x="1105025" y="450237"/>
                            </a:lnTo>
                            <a:lnTo>
                              <a:pt x="1105025" y="440454"/>
                            </a:lnTo>
                            <a:lnTo>
                              <a:pt x="1084628" y="440454"/>
                            </a:lnTo>
                            <a:lnTo>
                              <a:pt x="1084628" y="420058"/>
                            </a:lnTo>
                            <a:lnTo>
                              <a:pt x="918718" y="420058"/>
                            </a:lnTo>
                            <a:lnTo>
                              <a:pt x="918718" y="399612"/>
                            </a:lnTo>
                            <a:lnTo>
                              <a:pt x="878805" y="399612"/>
                            </a:lnTo>
                            <a:lnTo>
                              <a:pt x="878805" y="373004"/>
                            </a:lnTo>
                            <a:lnTo>
                              <a:pt x="745666" y="373004"/>
                            </a:lnTo>
                            <a:lnTo>
                              <a:pt x="745666" y="329521"/>
                            </a:lnTo>
                            <a:lnTo>
                              <a:pt x="555936" y="329521"/>
                            </a:lnTo>
                            <a:lnTo>
                              <a:pt x="555936" y="307364"/>
                            </a:lnTo>
                            <a:lnTo>
                              <a:pt x="503453" y="307364"/>
                            </a:lnTo>
                            <a:lnTo>
                              <a:pt x="503453" y="259479"/>
                            </a:lnTo>
                            <a:lnTo>
                              <a:pt x="498122" y="259479"/>
                            </a:lnTo>
                            <a:lnTo>
                              <a:pt x="498122" y="233751"/>
                            </a:lnTo>
                            <a:lnTo>
                              <a:pt x="433411" y="233751"/>
                            </a:lnTo>
                            <a:lnTo>
                              <a:pt x="433411" y="212474"/>
                            </a:lnTo>
                            <a:lnTo>
                              <a:pt x="396922" y="212474"/>
                            </a:lnTo>
                            <a:lnTo>
                              <a:pt x="396922" y="194719"/>
                            </a:lnTo>
                            <a:lnTo>
                              <a:pt x="387238" y="194719"/>
                            </a:lnTo>
                            <a:lnTo>
                              <a:pt x="387238" y="173442"/>
                            </a:lnTo>
                            <a:lnTo>
                              <a:pt x="275375" y="173442"/>
                            </a:lnTo>
                            <a:lnTo>
                              <a:pt x="275375" y="152117"/>
                            </a:lnTo>
                            <a:lnTo>
                              <a:pt x="267452" y="152117"/>
                            </a:lnTo>
                            <a:lnTo>
                              <a:pt x="267452" y="133530"/>
                            </a:lnTo>
                            <a:lnTo>
                              <a:pt x="243240" y="133530"/>
                            </a:lnTo>
                            <a:lnTo>
                              <a:pt x="243240" y="96259"/>
                            </a:lnTo>
                            <a:lnTo>
                              <a:pt x="235805" y="88775"/>
                            </a:lnTo>
                            <a:lnTo>
                              <a:pt x="235805" y="76743"/>
                            </a:lnTo>
                            <a:lnTo>
                              <a:pt x="199072" y="76743"/>
                            </a:lnTo>
                            <a:lnTo>
                              <a:pt x="199072" y="59868"/>
                            </a:lnTo>
                            <a:lnTo>
                              <a:pt x="160921" y="59868"/>
                            </a:lnTo>
                            <a:lnTo>
                              <a:pt x="160921" y="36830"/>
                            </a:lnTo>
                            <a:lnTo>
                              <a:pt x="114796" y="36830"/>
                            </a:lnTo>
                            <a:lnTo>
                              <a:pt x="114796" y="19515"/>
                            </a:lnTo>
                            <a:lnTo>
                              <a:pt x="104134" y="19515"/>
                            </a:lnTo>
                            <a:lnTo>
                              <a:pt x="104134" y="0"/>
                            </a:lnTo>
                            <a:lnTo>
                              <a:pt x="0" y="0"/>
                            </a:lnTo>
                          </a:path>
                        </a:pathLst>
                      </a:custGeom>
                      <a:ln w="12700">
                        <a:solidFill>
                          <a:srgbClr val="128867"/>
                        </a:solidFill>
                      </a:ln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  <p:sp>
                    <p:nvSpPr>
                      <p:cNvPr id="131" name="object 388">
                        <a:extLst>
                          <a:ext uri="{FF2B5EF4-FFF2-40B4-BE49-F238E27FC236}">
                            <a16:creationId xmlns:a16="http://schemas.microsoft.com/office/drawing/2014/main" id="{3F1B5655-A530-F3B7-244B-67C79E897649}"/>
                          </a:ext>
                        </a:extLst>
                      </p:cNvPr>
                      <p:cNvSpPr/>
                      <p:nvPr/>
                    </p:nvSpPr>
                    <p:spPr>
                      <a:xfrm>
                        <a:off x="4651552" y="5044308"/>
                        <a:ext cx="1993900" cy="680085"/>
                      </a:xfrm>
                      <a:custGeom>
                        <a:avLst/>
                        <a:gdLst/>
                        <a:ahLst/>
                        <a:cxnLst/>
                        <a:rect l="l" t="t" r="r" b="b"/>
                        <a:pathLst>
                          <a:path w="1993900" h="680085">
                            <a:moveTo>
                              <a:pt x="8801" y="0"/>
                            </a:moveTo>
                            <a:lnTo>
                              <a:pt x="0" y="0"/>
                            </a:lnTo>
                            <a:lnTo>
                              <a:pt x="0" y="73964"/>
                            </a:lnTo>
                            <a:lnTo>
                              <a:pt x="8801" y="73964"/>
                            </a:lnTo>
                            <a:lnTo>
                              <a:pt x="8801" y="0"/>
                            </a:lnTo>
                            <a:close/>
                          </a:path>
                          <a:path w="1993900" h="680085">
                            <a:moveTo>
                              <a:pt x="71018" y="34048"/>
                            </a:moveTo>
                            <a:lnTo>
                              <a:pt x="62204" y="34048"/>
                            </a:lnTo>
                            <a:lnTo>
                              <a:pt x="62204" y="107416"/>
                            </a:lnTo>
                            <a:lnTo>
                              <a:pt x="71018" y="107416"/>
                            </a:lnTo>
                            <a:lnTo>
                              <a:pt x="71018" y="34048"/>
                            </a:lnTo>
                            <a:close/>
                          </a:path>
                          <a:path w="1993900" h="680085">
                            <a:moveTo>
                              <a:pt x="92735" y="34048"/>
                            </a:moveTo>
                            <a:lnTo>
                              <a:pt x="83921" y="34048"/>
                            </a:lnTo>
                            <a:lnTo>
                              <a:pt x="83921" y="107416"/>
                            </a:lnTo>
                            <a:lnTo>
                              <a:pt x="92735" y="107416"/>
                            </a:lnTo>
                            <a:lnTo>
                              <a:pt x="92735" y="34048"/>
                            </a:lnTo>
                            <a:close/>
                          </a:path>
                          <a:path w="1993900" h="680085">
                            <a:moveTo>
                              <a:pt x="335724" y="171386"/>
                            </a:moveTo>
                            <a:lnTo>
                              <a:pt x="326923" y="171386"/>
                            </a:lnTo>
                            <a:lnTo>
                              <a:pt x="326923" y="244754"/>
                            </a:lnTo>
                            <a:lnTo>
                              <a:pt x="335724" y="244754"/>
                            </a:lnTo>
                            <a:lnTo>
                              <a:pt x="335724" y="171386"/>
                            </a:lnTo>
                            <a:close/>
                          </a:path>
                          <a:path w="1993900" h="680085">
                            <a:moveTo>
                              <a:pt x="488924" y="308152"/>
                            </a:moveTo>
                            <a:lnTo>
                              <a:pt x="480110" y="308152"/>
                            </a:lnTo>
                            <a:lnTo>
                              <a:pt x="480110" y="382104"/>
                            </a:lnTo>
                            <a:lnTo>
                              <a:pt x="488924" y="382104"/>
                            </a:lnTo>
                            <a:lnTo>
                              <a:pt x="488924" y="308152"/>
                            </a:lnTo>
                            <a:close/>
                          </a:path>
                          <a:path w="1993900" h="680085">
                            <a:moveTo>
                              <a:pt x="693178" y="325170"/>
                            </a:moveTo>
                            <a:lnTo>
                              <a:pt x="684377" y="325170"/>
                            </a:lnTo>
                            <a:lnTo>
                              <a:pt x="684377" y="399122"/>
                            </a:lnTo>
                            <a:lnTo>
                              <a:pt x="693178" y="399122"/>
                            </a:lnTo>
                            <a:lnTo>
                              <a:pt x="693178" y="325170"/>
                            </a:lnTo>
                            <a:close/>
                          </a:path>
                          <a:path w="1993900" h="680085">
                            <a:moveTo>
                              <a:pt x="710196" y="369189"/>
                            </a:moveTo>
                            <a:lnTo>
                              <a:pt x="701395" y="369189"/>
                            </a:lnTo>
                            <a:lnTo>
                              <a:pt x="701395" y="442556"/>
                            </a:lnTo>
                            <a:lnTo>
                              <a:pt x="710196" y="442556"/>
                            </a:lnTo>
                            <a:lnTo>
                              <a:pt x="710196" y="369189"/>
                            </a:lnTo>
                            <a:close/>
                          </a:path>
                          <a:path w="1993900" h="680085">
                            <a:moveTo>
                              <a:pt x="943216" y="416737"/>
                            </a:moveTo>
                            <a:lnTo>
                              <a:pt x="934415" y="416737"/>
                            </a:lnTo>
                            <a:lnTo>
                              <a:pt x="934415" y="490689"/>
                            </a:lnTo>
                            <a:lnTo>
                              <a:pt x="943216" y="490689"/>
                            </a:lnTo>
                            <a:lnTo>
                              <a:pt x="943216" y="416737"/>
                            </a:lnTo>
                            <a:close/>
                          </a:path>
                          <a:path w="1993900" h="680085">
                            <a:moveTo>
                              <a:pt x="964933" y="416737"/>
                            </a:moveTo>
                            <a:lnTo>
                              <a:pt x="956132" y="416737"/>
                            </a:lnTo>
                            <a:lnTo>
                              <a:pt x="956132" y="490689"/>
                            </a:lnTo>
                            <a:lnTo>
                              <a:pt x="964933" y="490689"/>
                            </a:lnTo>
                            <a:lnTo>
                              <a:pt x="964933" y="416737"/>
                            </a:lnTo>
                            <a:close/>
                          </a:path>
                          <a:path w="1993900" h="680085">
                            <a:moveTo>
                              <a:pt x="1002499" y="416737"/>
                            </a:moveTo>
                            <a:lnTo>
                              <a:pt x="993698" y="416737"/>
                            </a:lnTo>
                            <a:lnTo>
                              <a:pt x="993698" y="490689"/>
                            </a:lnTo>
                            <a:lnTo>
                              <a:pt x="1002499" y="490689"/>
                            </a:lnTo>
                            <a:lnTo>
                              <a:pt x="1002499" y="416737"/>
                            </a:lnTo>
                            <a:close/>
                          </a:path>
                          <a:path w="1993900" h="680085">
                            <a:moveTo>
                              <a:pt x="1046518" y="446087"/>
                            </a:moveTo>
                            <a:lnTo>
                              <a:pt x="1037717" y="446087"/>
                            </a:lnTo>
                            <a:lnTo>
                              <a:pt x="1037717" y="520039"/>
                            </a:lnTo>
                            <a:lnTo>
                              <a:pt x="1046518" y="520039"/>
                            </a:lnTo>
                            <a:lnTo>
                              <a:pt x="1046518" y="446087"/>
                            </a:lnTo>
                            <a:close/>
                          </a:path>
                          <a:path w="1993900" h="680085">
                            <a:moveTo>
                              <a:pt x="1180934" y="475424"/>
                            </a:moveTo>
                            <a:lnTo>
                              <a:pt x="1172121" y="475424"/>
                            </a:lnTo>
                            <a:lnTo>
                              <a:pt x="1172121" y="549389"/>
                            </a:lnTo>
                            <a:lnTo>
                              <a:pt x="1180934" y="549389"/>
                            </a:lnTo>
                            <a:lnTo>
                              <a:pt x="1180934" y="475424"/>
                            </a:lnTo>
                            <a:close/>
                          </a:path>
                          <a:path w="1993900" h="680085">
                            <a:moveTo>
                              <a:pt x="1237272" y="510641"/>
                            </a:moveTo>
                            <a:lnTo>
                              <a:pt x="1228471" y="510641"/>
                            </a:lnTo>
                            <a:lnTo>
                              <a:pt x="1228471" y="584606"/>
                            </a:lnTo>
                            <a:lnTo>
                              <a:pt x="1237272" y="584606"/>
                            </a:lnTo>
                            <a:lnTo>
                              <a:pt x="1237272" y="510641"/>
                            </a:lnTo>
                            <a:close/>
                          </a:path>
                          <a:path w="1993900" h="680085">
                            <a:moveTo>
                              <a:pt x="1259586" y="541756"/>
                            </a:moveTo>
                            <a:lnTo>
                              <a:pt x="1250772" y="541756"/>
                            </a:lnTo>
                            <a:lnTo>
                              <a:pt x="1250772" y="615708"/>
                            </a:lnTo>
                            <a:lnTo>
                              <a:pt x="1259586" y="615708"/>
                            </a:lnTo>
                            <a:lnTo>
                              <a:pt x="1259586" y="541756"/>
                            </a:lnTo>
                            <a:close/>
                          </a:path>
                          <a:path w="1993900" h="680085">
                            <a:moveTo>
                              <a:pt x="1315339" y="541756"/>
                            </a:moveTo>
                            <a:lnTo>
                              <a:pt x="1306537" y="541756"/>
                            </a:lnTo>
                            <a:lnTo>
                              <a:pt x="1306537" y="615708"/>
                            </a:lnTo>
                            <a:lnTo>
                              <a:pt x="1315339" y="615708"/>
                            </a:lnTo>
                            <a:lnTo>
                              <a:pt x="1315339" y="541756"/>
                            </a:lnTo>
                            <a:close/>
                          </a:path>
                          <a:path w="1993900" h="680085">
                            <a:moveTo>
                              <a:pt x="1440357" y="541756"/>
                            </a:moveTo>
                            <a:lnTo>
                              <a:pt x="1431556" y="541756"/>
                            </a:lnTo>
                            <a:lnTo>
                              <a:pt x="1431556" y="615708"/>
                            </a:lnTo>
                            <a:lnTo>
                              <a:pt x="1440357" y="615708"/>
                            </a:lnTo>
                            <a:lnTo>
                              <a:pt x="1440357" y="541756"/>
                            </a:lnTo>
                            <a:close/>
                          </a:path>
                          <a:path w="1993900" h="680085">
                            <a:moveTo>
                              <a:pt x="1462074" y="541756"/>
                            </a:moveTo>
                            <a:lnTo>
                              <a:pt x="1453273" y="541756"/>
                            </a:lnTo>
                            <a:lnTo>
                              <a:pt x="1453273" y="615708"/>
                            </a:lnTo>
                            <a:lnTo>
                              <a:pt x="1462074" y="615708"/>
                            </a:lnTo>
                            <a:lnTo>
                              <a:pt x="1462074" y="541756"/>
                            </a:lnTo>
                            <a:close/>
                          </a:path>
                          <a:path w="1993900" h="680085">
                            <a:moveTo>
                              <a:pt x="1475574" y="541756"/>
                            </a:moveTo>
                            <a:lnTo>
                              <a:pt x="1466773" y="541756"/>
                            </a:lnTo>
                            <a:lnTo>
                              <a:pt x="1466773" y="615708"/>
                            </a:lnTo>
                            <a:lnTo>
                              <a:pt x="1475574" y="615708"/>
                            </a:lnTo>
                            <a:lnTo>
                              <a:pt x="1475574" y="541756"/>
                            </a:lnTo>
                            <a:close/>
                          </a:path>
                          <a:path w="1993900" h="680085">
                            <a:moveTo>
                              <a:pt x="1664576" y="606323"/>
                            </a:moveTo>
                            <a:lnTo>
                              <a:pt x="1655775" y="606323"/>
                            </a:lnTo>
                            <a:lnTo>
                              <a:pt x="1655775" y="679691"/>
                            </a:lnTo>
                            <a:lnTo>
                              <a:pt x="1664576" y="679691"/>
                            </a:lnTo>
                            <a:lnTo>
                              <a:pt x="1664576" y="606323"/>
                            </a:lnTo>
                            <a:close/>
                          </a:path>
                          <a:path w="1993900" h="680085">
                            <a:moveTo>
                              <a:pt x="1695678" y="606323"/>
                            </a:moveTo>
                            <a:lnTo>
                              <a:pt x="1686877" y="606323"/>
                            </a:lnTo>
                            <a:lnTo>
                              <a:pt x="1686877" y="679691"/>
                            </a:lnTo>
                            <a:lnTo>
                              <a:pt x="1695678" y="679691"/>
                            </a:lnTo>
                            <a:lnTo>
                              <a:pt x="1695678" y="606323"/>
                            </a:lnTo>
                            <a:close/>
                          </a:path>
                          <a:path w="1993900" h="680085">
                            <a:moveTo>
                              <a:pt x="1728546" y="606323"/>
                            </a:moveTo>
                            <a:lnTo>
                              <a:pt x="1719745" y="606323"/>
                            </a:lnTo>
                            <a:lnTo>
                              <a:pt x="1719745" y="679691"/>
                            </a:lnTo>
                            <a:lnTo>
                              <a:pt x="1728546" y="679691"/>
                            </a:lnTo>
                            <a:lnTo>
                              <a:pt x="1728546" y="606323"/>
                            </a:lnTo>
                            <a:close/>
                          </a:path>
                          <a:path w="1993900" h="680085">
                            <a:moveTo>
                              <a:pt x="1939264" y="606323"/>
                            </a:moveTo>
                            <a:lnTo>
                              <a:pt x="1930463" y="606323"/>
                            </a:lnTo>
                            <a:lnTo>
                              <a:pt x="1930463" y="679691"/>
                            </a:lnTo>
                            <a:lnTo>
                              <a:pt x="1939264" y="679691"/>
                            </a:lnTo>
                            <a:lnTo>
                              <a:pt x="1939264" y="606323"/>
                            </a:lnTo>
                            <a:close/>
                          </a:path>
                          <a:path w="1993900" h="680085">
                            <a:moveTo>
                              <a:pt x="1993849" y="606323"/>
                            </a:moveTo>
                            <a:lnTo>
                              <a:pt x="1985048" y="606323"/>
                            </a:lnTo>
                            <a:lnTo>
                              <a:pt x="1985048" y="679691"/>
                            </a:lnTo>
                            <a:lnTo>
                              <a:pt x="1993849" y="679691"/>
                            </a:lnTo>
                            <a:lnTo>
                              <a:pt x="1993849" y="606323"/>
                            </a:lnTo>
                            <a:close/>
                          </a:path>
                        </a:pathLst>
                      </a:custGeom>
                      <a:solidFill>
                        <a:srgbClr val="128867"/>
                      </a:solidFill>
                    </p:spPr>
                    <p:txBody>
                      <a:bodyPr wrap="square" lIns="0" tIns="0" rIns="0" bIns="0" rtlCol="0"/>
                      <a:lstStyle/>
                      <a:p>
                        <a:pPr marL="0" marR="0" lvl="0" indent="0" algn="l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endParaRPr kumimoji="0" sz="36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595454"/>
                          </a:solidFill>
                          <a:effectLst/>
                          <a:uLnTx/>
                          <a:uFillTx/>
                          <a:latin typeface="Trebuchet MS" panose="020B0603020202020204"/>
                          <a:ea typeface="+mn-ea"/>
                          <a:cs typeface="+mn-cs"/>
                        </a:endParaRPr>
                      </a:p>
                    </p:txBody>
                  </p:sp>
                </p:grpSp>
                <p:grpSp>
                  <p:nvGrpSpPr>
                    <p:cNvPr id="454" name="Group 453">
                      <a:extLst>
                        <a:ext uri="{FF2B5EF4-FFF2-40B4-BE49-F238E27FC236}">
                          <a16:creationId xmlns:a16="http://schemas.microsoft.com/office/drawing/2014/main" id="{2EAEE928-B8A6-F4B6-3487-5FC16E9FE302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783122" y="5465670"/>
                      <a:ext cx="2355366" cy="86039"/>
                      <a:chOff x="3480816" y="3758930"/>
                      <a:chExt cx="2355366" cy="86039"/>
                    </a:xfrm>
                  </p:grpSpPr>
                  <p:sp>
                    <p:nvSpPr>
                      <p:cNvPr id="455" name="TextBox 454">
                        <a:extLst>
                          <a:ext uri="{FF2B5EF4-FFF2-40B4-BE49-F238E27FC236}">
                            <a16:creationId xmlns:a16="http://schemas.microsoft.com/office/drawing/2014/main" id="{DA63DBE4-CAD3-3F9A-BD31-BFBDAA4ADCA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480816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456" name="TextBox 455">
                        <a:extLst>
                          <a:ext uri="{FF2B5EF4-FFF2-40B4-BE49-F238E27FC236}">
                            <a16:creationId xmlns:a16="http://schemas.microsoft.com/office/drawing/2014/main" id="{3C266697-D5C2-F6CE-FAC2-D132E6561E4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727373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</a:t>
                        </a:r>
                      </a:p>
                    </p:txBody>
                  </p:sp>
                  <p:sp>
                    <p:nvSpPr>
                      <p:cNvPr id="457" name="TextBox 456">
                        <a:extLst>
                          <a:ext uri="{FF2B5EF4-FFF2-40B4-BE49-F238E27FC236}">
                            <a16:creationId xmlns:a16="http://schemas.microsoft.com/office/drawing/2014/main" id="{F9CB921B-9A08-B49E-89DD-4DEB919F5B9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9739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2</a:t>
                        </a:r>
                      </a:p>
                    </p:txBody>
                  </p:sp>
                  <p:sp>
                    <p:nvSpPr>
                      <p:cNvPr id="458" name="TextBox 457">
                        <a:extLst>
                          <a:ext uri="{FF2B5EF4-FFF2-40B4-BE49-F238E27FC236}">
                            <a16:creationId xmlns:a16="http://schemas.microsoft.com/office/drawing/2014/main" id="{6B5E895C-6786-2A60-58B7-1B5AC388C29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220487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8</a:t>
                        </a:r>
                      </a:p>
                    </p:txBody>
                  </p:sp>
                  <p:sp>
                    <p:nvSpPr>
                      <p:cNvPr id="459" name="TextBox 458">
                        <a:extLst>
                          <a:ext uri="{FF2B5EF4-FFF2-40B4-BE49-F238E27FC236}">
                            <a16:creationId xmlns:a16="http://schemas.microsoft.com/office/drawing/2014/main" id="{11B8F5E7-0C57-0949-5458-3D7F8A869563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467044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4</a:t>
                        </a:r>
                      </a:p>
                    </p:txBody>
                  </p:sp>
                  <p:sp>
                    <p:nvSpPr>
                      <p:cNvPr id="460" name="TextBox 459">
                        <a:extLst>
                          <a:ext uri="{FF2B5EF4-FFF2-40B4-BE49-F238E27FC236}">
                            <a16:creationId xmlns:a16="http://schemas.microsoft.com/office/drawing/2014/main" id="{C6EA080B-D90E-A373-9CE6-238CEE380F0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713601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461" name="TextBox 460">
                        <a:extLst>
                          <a:ext uri="{FF2B5EF4-FFF2-40B4-BE49-F238E27FC236}">
                            <a16:creationId xmlns:a16="http://schemas.microsoft.com/office/drawing/2014/main" id="{E797DD12-7C1C-E3F0-D96E-ADE26F951FD4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4960158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6</a:t>
                        </a:r>
                      </a:p>
                    </p:txBody>
                  </p:sp>
                  <p:sp>
                    <p:nvSpPr>
                      <p:cNvPr id="462" name="TextBox 461">
                        <a:extLst>
                          <a:ext uri="{FF2B5EF4-FFF2-40B4-BE49-F238E27FC236}">
                            <a16:creationId xmlns:a16="http://schemas.microsoft.com/office/drawing/2014/main" id="{27485426-3A38-0C88-B8AE-243E1CA1C3C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206715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2</a:t>
                        </a:r>
                      </a:p>
                    </p:txBody>
                  </p:sp>
                  <p:sp>
                    <p:nvSpPr>
                      <p:cNvPr id="463" name="TextBox 462">
                        <a:extLst>
                          <a:ext uri="{FF2B5EF4-FFF2-40B4-BE49-F238E27FC236}">
                            <a16:creationId xmlns:a16="http://schemas.microsoft.com/office/drawing/2014/main" id="{120ED9E7-0AE6-1563-289E-761E21293EC1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453272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8</a:t>
                        </a:r>
                      </a:p>
                    </p:txBody>
                  </p:sp>
                  <p:sp>
                    <p:nvSpPr>
                      <p:cNvPr id="464" name="TextBox 463">
                        <a:extLst>
                          <a:ext uri="{FF2B5EF4-FFF2-40B4-BE49-F238E27FC236}">
                            <a16:creationId xmlns:a16="http://schemas.microsoft.com/office/drawing/2014/main" id="{853AD589-1513-2AC3-F404-822D34BACBD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5699830" y="3758930"/>
                        <a:ext cx="1363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>
                        <a:spAutoFit/>
                      </a:bodyPr>
                      <a:lstStyle/>
                      <a:p>
                        <a:pPr marL="0" marR="0" lvl="0" indent="0" algn="ct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54</a:t>
                        </a:r>
                      </a:p>
                    </p:txBody>
                  </p:sp>
                </p:grpSp>
                <p:grpSp>
                  <p:nvGrpSpPr>
                    <p:cNvPr id="465" name="Group 464">
                      <a:extLst>
                        <a:ext uri="{FF2B5EF4-FFF2-40B4-BE49-F238E27FC236}">
                          <a16:creationId xmlns:a16="http://schemas.microsoft.com/office/drawing/2014/main" id="{E53BA5E9-989C-269D-5A86-278511123A4E}"/>
                        </a:ext>
                      </a:extLst>
                    </p:cNvPr>
                    <p:cNvGrpSpPr/>
                    <p:nvPr/>
                  </p:nvGrpSpPr>
                  <p:grpSpPr>
                    <a:xfrm>
                      <a:off x="611996" y="4329829"/>
                      <a:ext cx="107452" cy="1126653"/>
                      <a:chOff x="3302547" y="2627851"/>
                      <a:chExt cx="107452" cy="1126653"/>
                    </a:xfrm>
                  </p:grpSpPr>
                  <p:sp>
                    <p:nvSpPr>
                      <p:cNvPr id="466" name="TextBox 465">
                        <a:extLst>
                          <a:ext uri="{FF2B5EF4-FFF2-40B4-BE49-F238E27FC236}">
                            <a16:creationId xmlns:a16="http://schemas.microsoft.com/office/drawing/2014/main" id="{15703112-BFCA-1CA3-2ABD-115F99113575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668465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0</a:t>
                        </a:r>
                      </a:p>
                    </p:txBody>
                  </p:sp>
                  <p:sp>
                    <p:nvSpPr>
                      <p:cNvPr id="467" name="TextBox 466">
                        <a:extLst>
                          <a:ext uri="{FF2B5EF4-FFF2-40B4-BE49-F238E27FC236}">
                            <a16:creationId xmlns:a16="http://schemas.microsoft.com/office/drawing/2014/main" id="{DFE305CD-6CA9-37EF-4CFC-7FB867EFC6E6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564400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</a:t>
                        </a:r>
                      </a:p>
                    </p:txBody>
                  </p:sp>
                  <p:sp>
                    <p:nvSpPr>
                      <p:cNvPr id="468" name="TextBox 467">
                        <a:extLst>
                          <a:ext uri="{FF2B5EF4-FFF2-40B4-BE49-F238E27FC236}">
                            <a16:creationId xmlns:a16="http://schemas.microsoft.com/office/drawing/2014/main" id="{6073573E-076B-98AA-5A13-829F911E596F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460339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20</a:t>
                        </a:r>
                      </a:p>
                    </p:txBody>
                  </p:sp>
                  <p:sp>
                    <p:nvSpPr>
                      <p:cNvPr id="469" name="TextBox 468">
                        <a:extLst>
                          <a:ext uri="{FF2B5EF4-FFF2-40B4-BE49-F238E27FC236}">
                            <a16:creationId xmlns:a16="http://schemas.microsoft.com/office/drawing/2014/main" id="{346251EF-92E2-156A-6FC3-C5A342A52C98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356278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30</a:t>
                        </a:r>
                      </a:p>
                    </p:txBody>
                  </p:sp>
                  <p:sp>
                    <p:nvSpPr>
                      <p:cNvPr id="470" name="TextBox 469">
                        <a:extLst>
                          <a:ext uri="{FF2B5EF4-FFF2-40B4-BE49-F238E27FC236}">
                            <a16:creationId xmlns:a16="http://schemas.microsoft.com/office/drawing/2014/main" id="{34C9A681-68FE-863A-1BD9-E47E3B644E0E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252217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40</a:t>
                        </a:r>
                      </a:p>
                    </p:txBody>
                  </p:sp>
                  <p:sp>
                    <p:nvSpPr>
                      <p:cNvPr id="471" name="TextBox 470">
                        <a:extLst>
                          <a:ext uri="{FF2B5EF4-FFF2-40B4-BE49-F238E27FC236}">
                            <a16:creationId xmlns:a16="http://schemas.microsoft.com/office/drawing/2014/main" id="{AABCA6AA-371A-CDE7-DCEF-91EC44063AF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9404" y="3148156"/>
                        <a:ext cx="100595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50</a:t>
                        </a:r>
                      </a:p>
                    </p:txBody>
                  </p:sp>
                  <p:sp>
                    <p:nvSpPr>
                      <p:cNvPr id="472" name="TextBox 471">
                        <a:extLst>
                          <a:ext uri="{FF2B5EF4-FFF2-40B4-BE49-F238E27FC236}">
                            <a16:creationId xmlns:a16="http://schemas.microsoft.com/office/drawing/2014/main" id="{92A5743B-4136-B1C3-94CC-B847C89E8627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304409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60</a:t>
                        </a:r>
                      </a:p>
                    </p:txBody>
                  </p:sp>
                  <p:sp>
                    <p:nvSpPr>
                      <p:cNvPr id="473" name="TextBox 472">
                        <a:extLst>
                          <a:ext uri="{FF2B5EF4-FFF2-40B4-BE49-F238E27FC236}">
                            <a16:creationId xmlns:a16="http://schemas.microsoft.com/office/drawing/2014/main" id="{25482310-3C8B-592D-AD83-889F1203ED0A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835973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80</a:t>
                        </a:r>
                      </a:p>
                    </p:txBody>
                  </p:sp>
                  <p:sp>
                    <p:nvSpPr>
                      <p:cNvPr id="474" name="TextBox 473">
                        <a:extLst>
                          <a:ext uri="{FF2B5EF4-FFF2-40B4-BE49-F238E27FC236}">
                            <a16:creationId xmlns:a16="http://schemas.microsoft.com/office/drawing/2014/main" id="{03C886AC-DDF0-6A4A-7E26-6A03D6050D32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731912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90</a:t>
                        </a:r>
                      </a:p>
                    </p:txBody>
                  </p:sp>
                  <p:sp>
                    <p:nvSpPr>
                      <p:cNvPr id="475" name="TextBox 474">
                        <a:extLst>
                          <a:ext uri="{FF2B5EF4-FFF2-40B4-BE49-F238E27FC236}">
                            <a16:creationId xmlns:a16="http://schemas.microsoft.com/office/drawing/2014/main" id="{817105EC-7D39-F8C1-E99D-7076EE67DE6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02547" y="2627851"/>
                        <a:ext cx="107452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100</a:t>
                        </a:r>
                      </a:p>
                    </p:txBody>
                  </p:sp>
                  <p:sp>
                    <p:nvSpPr>
                      <p:cNvPr id="476" name="TextBox 475">
                        <a:extLst>
                          <a:ext uri="{FF2B5EF4-FFF2-40B4-BE49-F238E27FC236}">
                            <a16:creationId xmlns:a16="http://schemas.microsoft.com/office/drawing/2014/main" id="{1260F6FE-3983-C447-B813-AE6C404917CC}"/>
                          </a:ext>
                        </a:extLst>
                      </p:cNvPr>
                      <p:cNvSpPr txBox="1"/>
                      <p:nvPr/>
                    </p:nvSpPr>
                    <p:spPr>
                      <a:xfrm>
                        <a:off x="3313575" y="2940034"/>
                        <a:ext cx="96424" cy="86039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square" lIns="0" tIns="0" rIns="0" bIns="0" rtlCol="0" anchor="ctr" anchorCtr="0">
                        <a:spAutoFit/>
                      </a:bodyPr>
                      <a:lstStyle/>
                      <a:p>
                        <a:pPr marL="0" marR="0" lvl="0" indent="0" algn="r" defTabSz="914400" rtl="0" eaLnBrk="1" fontAlgn="auto" latinLnBrk="0" hangingPunct="1">
                          <a:lnSpc>
                            <a:spcPct val="100000"/>
                          </a:lnSpc>
                          <a:spcBef>
                            <a:spcPts val="0"/>
                          </a:spcBef>
                          <a:spcAft>
                            <a:spcPts val="0"/>
                          </a:spcAft>
                          <a:buClrTx/>
                          <a:buSzTx/>
                          <a:buFontTx/>
                          <a:buNone/>
                          <a:tabLst/>
                          <a:defRPr/>
                        </a:pPr>
                        <a:r>
                          <a:rPr kumimoji="0" lang="en-US" sz="1000" b="1" i="0" u="none" strike="noStrike" kern="1200" cap="none" spc="0" normalizeH="0" baseline="0" noProof="0" dirty="0">
                            <a:ln>
                              <a:noFill/>
                            </a:ln>
                            <a:solidFill>
                              <a:srgbClr val="595454"/>
                            </a:solidFill>
                            <a:effectLst/>
                            <a:uLnTx/>
                            <a:uFillTx/>
                            <a:latin typeface="Trebuchet MS" panose="020B0603020202020204"/>
                            <a:ea typeface="+mn-ea"/>
                            <a:cs typeface="+mn-cs"/>
                          </a:rPr>
                          <a:t>70</a:t>
                        </a:r>
                      </a:p>
                    </p:txBody>
                  </p:sp>
                </p:grpSp>
              </p:grpSp>
            </p:grpSp>
          </p:grpSp>
          <p:sp>
            <p:nvSpPr>
              <p:cNvPr id="544" name="TextBox 543">
                <a:extLst>
                  <a:ext uri="{FF2B5EF4-FFF2-40B4-BE49-F238E27FC236}">
                    <a16:creationId xmlns:a16="http://schemas.microsoft.com/office/drawing/2014/main" id="{92DC2EE8-91FA-D7FB-360F-F321A97BD73B}"/>
                  </a:ext>
                </a:extLst>
              </p:cNvPr>
              <p:cNvSpPr txBox="1"/>
              <p:nvPr/>
            </p:nvSpPr>
            <p:spPr>
              <a:xfrm>
                <a:off x="1829132" y="6378875"/>
                <a:ext cx="3392776" cy="276999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Time From </a:t>
                </a:r>
                <a:r>
                  <a:rPr kumimoji="0" lang="en-US" sz="12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liso</a:t>
                </a: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cel Infusion, Months</a:t>
                </a:r>
                <a:endPara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8471B42-E59E-E415-D985-CB160CA251DE}"/>
              </a:ext>
            </a:extLst>
          </p:cNvPr>
          <p:cNvSpPr txBox="1"/>
          <p:nvPr/>
        </p:nvSpPr>
        <p:spPr>
          <a:xfrm>
            <a:off x="-24680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3107271380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66D469-91A0-5441-B1A5-7067C423484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55FF3A-C33B-B793-A722-A94753F67F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Update on Liso-cel in CL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026C65-88C1-136F-E776-696BEC16E32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052426"/>
            <a:ext cx="9753600" cy="5674769"/>
          </a:xfrm>
        </p:spPr>
        <p:txBody>
          <a:bodyPr>
            <a:norm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CR is more predictive than </a:t>
            </a:r>
            <a:r>
              <a:rPr lang="en-US" sz="2400" b="1" dirty="0" err="1"/>
              <a:t>uMRD</a:t>
            </a:r>
            <a:r>
              <a:rPr lang="en-US" sz="2400" b="1" dirty="0"/>
              <a:t>  (unlike every other situation)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b="1" dirty="0"/>
              <a:t>CR rate only 20%</a:t>
            </a: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Double refractory population has worse outcome than full population (similar to </a:t>
            </a:r>
            <a:r>
              <a:rPr lang="en-US" b="1" dirty="0" err="1"/>
              <a:t>pirtobrutinib</a:t>
            </a:r>
            <a:r>
              <a:rPr lang="en-US" b="1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b="1" dirty="0"/>
              <a:t>&lt;=3 prior regimens and absence of bulky disease associated with response (PR or C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036106E-7FF2-F072-1480-5538513BB560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86546256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91891-9F8E-833E-4158-6D3D3B017C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5937"/>
            <a:ext cx="10972800" cy="713539"/>
          </a:xfrm>
        </p:spPr>
        <p:txBody>
          <a:bodyPr/>
          <a:lstStyle/>
          <a:p>
            <a:pPr algn="ctr"/>
            <a:r>
              <a:rPr lang="en-US" dirty="0"/>
              <a:t>Liso-cel + Ibrutinib Outcomes</a:t>
            </a:r>
          </a:p>
        </p:txBody>
      </p:sp>
      <p:sp>
        <p:nvSpPr>
          <p:cNvPr id="244" name="TextBox 243">
            <a:extLst>
              <a:ext uri="{FF2B5EF4-FFF2-40B4-BE49-F238E27FC236}">
                <a16:creationId xmlns:a16="http://schemas.microsoft.com/office/drawing/2014/main" id="{5DE23063-628D-D115-493A-1A49028E0B07}"/>
              </a:ext>
            </a:extLst>
          </p:cNvPr>
          <p:cNvSpPr txBox="1"/>
          <p:nvPr/>
        </p:nvSpPr>
        <p:spPr>
          <a:xfrm>
            <a:off x="4859217" y="6476147"/>
            <a:ext cx="7332783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ierda W, et al. ASH 2024 TRANSCEND CLL 004: </a:t>
            </a: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iso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-cel + Ibrutinib Cohort [Abstract #887]</a:t>
            </a:r>
          </a:p>
        </p:txBody>
      </p:sp>
      <p:grpSp>
        <p:nvGrpSpPr>
          <p:cNvPr id="267" name="Group 266">
            <a:extLst>
              <a:ext uri="{FF2B5EF4-FFF2-40B4-BE49-F238E27FC236}">
                <a16:creationId xmlns:a16="http://schemas.microsoft.com/office/drawing/2014/main" id="{2607DF82-C187-F000-78AB-2120A1771A72}"/>
              </a:ext>
            </a:extLst>
          </p:cNvPr>
          <p:cNvGrpSpPr/>
          <p:nvPr/>
        </p:nvGrpSpPr>
        <p:grpSpPr>
          <a:xfrm>
            <a:off x="5210959" y="931624"/>
            <a:ext cx="7071016" cy="4732963"/>
            <a:chOff x="5210959" y="1274524"/>
            <a:chExt cx="7071016" cy="4732963"/>
          </a:xfrm>
        </p:grpSpPr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7E66875-6A4C-9992-31DF-64EC13D60D33}"/>
                </a:ext>
              </a:extLst>
            </p:cNvPr>
            <p:cNvSpPr txBox="1"/>
            <p:nvPr/>
          </p:nvSpPr>
          <p:spPr>
            <a:xfrm>
              <a:off x="6024073" y="5652907"/>
              <a:ext cx="6184360" cy="354580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edian (95% CI) follow-up for PFS: 24.3 months (23.7—35.5)</a:t>
              </a:r>
            </a:p>
          </p:txBody>
        </p:sp>
        <p:grpSp>
          <p:nvGrpSpPr>
            <p:cNvPr id="265" name="Group 264">
              <a:extLst>
                <a:ext uri="{FF2B5EF4-FFF2-40B4-BE49-F238E27FC236}">
                  <a16:creationId xmlns:a16="http://schemas.microsoft.com/office/drawing/2014/main" id="{CA8E9884-7AEE-D7B3-11FC-E51B20A818F5}"/>
                </a:ext>
              </a:extLst>
            </p:cNvPr>
            <p:cNvGrpSpPr/>
            <p:nvPr/>
          </p:nvGrpSpPr>
          <p:grpSpPr>
            <a:xfrm>
              <a:off x="5210959" y="1274524"/>
              <a:ext cx="7071016" cy="4268483"/>
              <a:chOff x="5259901" y="792024"/>
              <a:chExt cx="7071016" cy="4268483"/>
            </a:xfrm>
          </p:grpSpPr>
          <p:sp>
            <p:nvSpPr>
              <p:cNvPr id="40" name="Title 1">
                <a:extLst>
                  <a:ext uri="{FF2B5EF4-FFF2-40B4-BE49-F238E27FC236}">
                    <a16:creationId xmlns:a16="http://schemas.microsoft.com/office/drawing/2014/main" id="{52D2D433-36DD-DD06-C8EB-EFE218A9B81D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631925" y="792024"/>
                <a:ext cx="6528562" cy="276999"/>
              </a:xfrm>
              <a:prstGeom prst="rect">
                <a:avLst/>
              </a:prstGeom>
            </p:spPr>
            <p:txBody>
              <a:bodyPr wrap="square" lIns="0" tIns="0" rIns="0" bIns="0" anchor="b" anchorCtr="0">
                <a:spAutoFit/>
              </a:bodyPr>
              <a:lstStyle>
                <a:lvl1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 b="1" kern="1200">
                    <a:solidFill>
                      <a:srgbClr val="CD113B"/>
                    </a:solidFill>
                    <a:latin typeface="Arial"/>
                    <a:ea typeface="Geneva" pitchFamily="37" charset="-128"/>
                    <a:cs typeface="Arial"/>
                  </a:defRPr>
                </a:lvl1pPr>
                <a:lvl2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2pPr>
                <a:lvl3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3pPr>
                <a:lvl4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4pPr>
                <a:lvl5pPr algn="l" defTabSz="609585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  <a:cs typeface="Times New Roman" pitchFamily="18" charset="0"/>
                  </a:defRPr>
                </a:lvl5pPr>
                <a:lvl6pPr marL="609585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6pPr>
                <a:lvl7pPr marL="1219170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7pPr>
                <a:lvl8pPr marL="1828754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8pPr>
                <a:lvl9pPr marL="2438339" algn="l" defTabSz="609585" rtl="0" fontAlgn="base">
                  <a:spcBef>
                    <a:spcPct val="0"/>
                  </a:spcBef>
                  <a:spcAft>
                    <a:spcPct val="0"/>
                  </a:spcAft>
                  <a:defRPr sz="4267">
                    <a:solidFill>
                      <a:srgbClr val="800000"/>
                    </a:solidFill>
                    <a:latin typeface="Times New Roman" pitchFamily="37" charset="0"/>
                    <a:ea typeface="Geneva" pitchFamily="37" charset="-128"/>
                  </a:defRPr>
                </a:lvl9pPr>
              </a:lstStyle>
              <a:p>
                <a:pPr marL="0" marR="0" lvl="0" indent="0" algn="ctr" defTabSz="609585" rtl="0" eaLnBrk="0" fontAlgn="base" latinLnBrk="0" hangingPunct="0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Geneva" pitchFamily="37" charset="-128"/>
                    <a:cs typeface="Arial"/>
                  </a:rPr>
                  <a:t>Progression-Free Survival by Best Overall Response at DL2</a:t>
                </a:r>
                <a:endParaRPr kumimoji="0" lang="en-US" sz="1800" b="1" i="0" u="none" strike="sng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endParaRPr>
              </a:p>
            </p:txBody>
          </p:sp>
          <p:grpSp>
            <p:nvGrpSpPr>
              <p:cNvPr id="43" name="Group 42">
                <a:extLst>
                  <a:ext uri="{FF2B5EF4-FFF2-40B4-BE49-F238E27FC236}">
                    <a16:creationId xmlns:a16="http://schemas.microsoft.com/office/drawing/2014/main" id="{9397BE18-B344-B887-3782-49FFCAA8ED47}"/>
                  </a:ext>
                </a:extLst>
              </p:cNvPr>
              <p:cNvGrpSpPr/>
              <p:nvPr/>
            </p:nvGrpSpPr>
            <p:grpSpPr>
              <a:xfrm>
                <a:off x="6381194" y="1201837"/>
                <a:ext cx="4939572" cy="2706624"/>
                <a:chOff x="1914451" y="1646197"/>
                <a:chExt cx="4939572" cy="2706624"/>
              </a:xfrm>
            </p:grpSpPr>
            <p:sp>
              <p:nvSpPr>
                <p:cNvPr id="44" name="Rectangle 43">
                  <a:extLst>
                    <a:ext uri="{FF2B5EF4-FFF2-40B4-BE49-F238E27FC236}">
                      <a16:creationId xmlns:a16="http://schemas.microsoft.com/office/drawing/2014/main" id="{3F9CFCF8-66E3-9658-C152-B42905E60180}"/>
                    </a:ext>
                  </a:extLst>
                </p:cNvPr>
                <p:cNvSpPr/>
                <p:nvPr/>
              </p:nvSpPr>
              <p:spPr>
                <a:xfrm>
                  <a:off x="3514356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1E22E9F0-70C0-57E9-0E57-645D5B10956D}"/>
                    </a:ext>
                  </a:extLst>
                </p:cNvPr>
                <p:cNvSpPr/>
                <p:nvPr/>
              </p:nvSpPr>
              <p:spPr>
                <a:xfrm>
                  <a:off x="4187042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6" name="Rectangle 45">
                  <a:extLst>
                    <a:ext uri="{FF2B5EF4-FFF2-40B4-BE49-F238E27FC236}">
                      <a16:creationId xmlns:a16="http://schemas.microsoft.com/office/drawing/2014/main" id="{A8881F49-F9F6-A075-8A76-AB24FE79CA34}"/>
                    </a:ext>
                  </a:extLst>
                </p:cNvPr>
                <p:cNvSpPr/>
                <p:nvPr/>
              </p:nvSpPr>
              <p:spPr>
                <a:xfrm>
                  <a:off x="4895722" y="3396756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Rectangle 46">
                  <a:extLst>
                    <a:ext uri="{FF2B5EF4-FFF2-40B4-BE49-F238E27FC236}">
                      <a16:creationId xmlns:a16="http://schemas.microsoft.com/office/drawing/2014/main" id="{B16C4D6C-8196-998F-C555-272E57AB904A}"/>
                    </a:ext>
                  </a:extLst>
                </p:cNvPr>
                <p:cNvSpPr/>
                <p:nvPr/>
              </p:nvSpPr>
              <p:spPr>
                <a:xfrm>
                  <a:off x="5589903" y="3740605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8" name="Rectangle 47">
                  <a:extLst>
                    <a:ext uri="{FF2B5EF4-FFF2-40B4-BE49-F238E27FC236}">
                      <a16:creationId xmlns:a16="http://schemas.microsoft.com/office/drawing/2014/main" id="{EA22267C-3B1E-2BD6-3075-D43F3857EFAC}"/>
                    </a:ext>
                  </a:extLst>
                </p:cNvPr>
                <p:cNvSpPr/>
                <p:nvPr/>
              </p:nvSpPr>
              <p:spPr>
                <a:xfrm>
                  <a:off x="6803765" y="426144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49" name="Rectangle 48">
                  <a:extLst>
                    <a:ext uri="{FF2B5EF4-FFF2-40B4-BE49-F238E27FC236}">
                      <a16:creationId xmlns:a16="http://schemas.microsoft.com/office/drawing/2014/main" id="{C101E10E-DA49-398C-C60F-F6C449300A3E}"/>
                    </a:ext>
                  </a:extLst>
                </p:cNvPr>
                <p:cNvSpPr/>
                <p:nvPr/>
              </p:nvSpPr>
              <p:spPr>
                <a:xfrm>
                  <a:off x="3205549" y="2946152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0" name="Rectangle 49">
                  <a:extLst>
                    <a:ext uri="{FF2B5EF4-FFF2-40B4-BE49-F238E27FC236}">
                      <a16:creationId xmlns:a16="http://schemas.microsoft.com/office/drawing/2014/main" id="{7190E60E-EE8B-9B5C-C8B9-4B8AF2536482}"/>
                    </a:ext>
                  </a:extLst>
                </p:cNvPr>
                <p:cNvSpPr/>
                <p:nvPr/>
              </p:nvSpPr>
              <p:spPr>
                <a:xfrm>
                  <a:off x="2599890" y="226466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1" name="Rectangle 50">
                  <a:extLst>
                    <a:ext uri="{FF2B5EF4-FFF2-40B4-BE49-F238E27FC236}">
                      <a16:creationId xmlns:a16="http://schemas.microsoft.com/office/drawing/2014/main" id="{64179715-0D18-77D8-9BC6-11745231F76A}"/>
                    </a:ext>
                  </a:extLst>
                </p:cNvPr>
                <p:cNvSpPr/>
                <p:nvPr/>
              </p:nvSpPr>
              <p:spPr>
                <a:xfrm>
                  <a:off x="1955566" y="1646197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2" name="Rectangle 51">
                  <a:extLst>
                    <a:ext uri="{FF2B5EF4-FFF2-40B4-BE49-F238E27FC236}">
                      <a16:creationId xmlns:a16="http://schemas.microsoft.com/office/drawing/2014/main" id="{C872C2EA-1268-6780-AE89-272B1AC07E35}"/>
                    </a:ext>
                  </a:extLst>
                </p:cNvPr>
                <p:cNvSpPr/>
                <p:nvPr/>
              </p:nvSpPr>
              <p:spPr>
                <a:xfrm rot="5400000">
                  <a:off x="3514356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3" name="Rectangle 52">
                  <a:extLst>
                    <a:ext uri="{FF2B5EF4-FFF2-40B4-BE49-F238E27FC236}">
                      <a16:creationId xmlns:a16="http://schemas.microsoft.com/office/drawing/2014/main" id="{21CAFD7C-C701-D05D-80EE-3D8F95F676F9}"/>
                    </a:ext>
                  </a:extLst>
                </p:cNvPr>
                <p:cNvSpPr/>
                <p:nvPr/>
              </p:nvSpPr>
              <p:spPr>
                <a:xfrm rot="5400000">
                  <a:off x="4187042" y="3126951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4" name="Rectangle 53">
                  <a:extLst>
                    <a:ext uri="{FF2B5EF4-FFF2-40B4-BE49-F238E27FC236}">
                      <a16:creationId xmlns:a16="http://schemas.microsoft.com/office/drawing/2014/main" id="{FEE0A68E-0AE6-D432-B36F-9B5BADF37782}"/>
                    </a:ext>
                  </a:extLst>
                </p:cNvPr>
                <p:cNvSpPr/>
                <p:nvPr/>
              </p:nvSpPr>
              <p:spPr>
                <a:xfrm rot="5400000">
                  <a:off x="4895722" y="3396756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5" name="Rectangle 54">
                  <a:extLst>
                    <a:ext uri="{FF2B5EF4-FFF2-40B4-BE49-F238E27FC236}">
                      <a16:creationId xmlns:a16="http://schemas.microsoft.com/office/drawing/2014/main" id="{9B7218D5-CBE5-5130-C3DA-46DB6C8D5F39}"/>
                    </a:ext>
                  </a:extLst>
                </p:cNvPr>
                <p:cNvSpPr/>
                <p:nvPr/>
              </p:nvSpPr>
              <p:spPr>
                <a:xfrm rot="5400000">
                  <a:off x="5589903" y="3740605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6" name="Rectangle 55">
                  <a:extLst>
                    <a:ext uri="{FF2B5EF4-FFF2-40B4-BE49-F238E27FC236}">
                      <a16:creationId xmlns:a16="http://schemas.microsoft.com/office/drawing/2014/main" id="{4D311ABA-CB4E-1E5C-812C-2ED99738FC94}"/>
                    </a:ext>
                  </a:extLst>
                </p:cNvPr>
                <p:cNvSpPr/>
                <p:nvPr/>
              </p:nvSpPr>
              <p:spPr>
                <a:xfrm rot="5400000">
                  <a:off x="6803765" y="426144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7" name="Rectangle 56">
                  <a:extLst>
                    <a:ext uri="{FF2B5EF4-FFF2-40B4-BE49-F238E27FC236}">
                      <a16:creationId xmlns:a16="http://schemas.microsoft.com/office/drawing/2014/main" id="{408A5BAB-7536-EAD4-C862-BA664E372C0F}"/>
                    </a:ext>
                  </a:extLst>
                </p:cNvPr>
                <p:cNvSpPr/>
                <p:nvPr/>
              </p:nvSpPr>
              <p:spPr>
                <a:xfrm rot="5400000">
                  <a:off x="3205549" y="2946152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376E586E-07BC-C68B-382E-07490DC42252}"/>
                    </a:ext>
                  </a:extLst>
                </p:cNvPr>
                <p:cNvSpPr/>
                <p:nvPr/>
              </p:nvSpPr>
              <p:spPr>
                <a:xfrm rot="5400000">
                  <a:off x="2599890" y="2264668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59" name="Rectangle 58">
                  <a:extLst>
                    <a:ext uri="{FF2B5EF4-FFF2-40B4-BE49-F238E27FC236}">
                      <a16:creationId xmlns:a16="http://schemas.microsoft.com/office/drawing/2014/main" id="{8FD738DF-36D9-962F-E82D-996CA9FF573D}"/>
                    </a:ext>
                  </a:extLst>
                </p:cNvPr>
                <p:cNvSpPr/>
                <p:nvPr/>
              </p:nvSpPr>
              <p:spPr>
                <a:xfrm rot="5400000">
                  <a:off x="1955566" y="1646197"/>
                  <a:ext cx="9144" cy="91373"/>
                </a:xfrm>
                <a:prstGeom prst="rect">
                  <a:avLst/>
                </a:prstGeom>
                <a:solidFill>
                  <a:srgbClr val="138967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FAD84176-EB59-BEED-C8B3-00104513B209}"/>
                  </a:ext>
                </a:extLst>
              </p:cNvPr>
              <p:cNvSpPr txBox="1"/>
              <p:nvPr/>
            </p:nvSpPr>
            <p:spPr>
              <a:xfrm rot="16200000">
                <a:off x="4032878" y="2581947"/>
                <a:ext cx="276182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Progression-Free S</a:t>
                </a:r>
                <a:r>
                  <a:rPr kumimoji="0" lang="en-US" sz="1400" b="1" i="0" u="none" strike="noStrike" kern="1200" cap="none" spc="0" normalizeH="0" baseline="0" noProof="0" dirty="0" err="1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urvival</a:t>
                </a: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 %</a:t>
                </a:r>
              </a:p>
            </p:txBody>
          </p:sp>
          <p:sp>
            <p:nvSpPr>
              <p:cNvPr id="63" name="TextBox 62">
                <a:extLst>
                  <a:ext uri="{FF2B5EF4-FFF2-40B4-BE49-F238E27FC236}">
                    <a16:creationId xmlns:a16="http://schemas.microsoft.com/office/drawing/2014/main" id="{4681FE06-CD4E-6653-80F2-746976172055}"/>
                  </a:ext>
                </a:extLst>
              </p:cNvPr>
              <p:cNvSpPr txBox="1"/>
              <p:nvPr/>
            </p:nvSpPr>
            <p:spPr>
              <a:xfrm>
                <a:off x="6002935" y="4563069"/>
                <a:ext cx="99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0</a:t>
                </a: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652CD250-62B1-EEDC-8CBF-34B1D9C529DE}"/>
                  </a:ext>
                </a:extLst>
              </p:cNvPr>
              <p:cNvSpPr txBox="1"/>
              <p:nvPr/>
            </p:nvSpPr>
            <p:spPr>
              <a:xfrm>
                <a:off x="6655170" y="4563069"/>
                <a:ext cx="99387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6</a:t>
                </a:r>
              </a:p>
            </p:txBody>
          </p:sp>
          <p:sp>
            <p:nvSpPr>
              <p:cNvPr id="65" name="TextBox 64">
                <a:extLst>
                  <a:ext uri="{FF2B5EF4-FFF2-40B4-BE49-F238E27FC236}">
                    <a16:creationId xmlns:a16="http://schemas.microsoft.com/office/drawing/2014/main" id="{F2E2F951-AD53-E591-5532-B55781FB3A21}"/>
                  </a:ext>
                </a:extLst>
              </p:cNvPr>
              <p:cNvSpPr txBox="1"/>
              <p:nvPr/>
            </p:nvSpPr>
            <p:spPr>
              <a:xfrm>
                <a:off x="7254992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12</a:t>
                </a:r>
              </a:p>
            </p:txBody>
          </p:sp>
          <p:sp>
            <p:nvSpPr>
              <p:cNvPr id="66" name="TextBox 65">
                <a:extLst>
                  <a:ext uri="{FF2B5EF4-FFF2-40B4-BE49-F238E27FC236}">
                    <a16:creationId xmlns:a16="http://schemas.microsoft.com/office/drawing/2014/main" id="{A6BCE93D-6B95-C96C-7D94-EE39E7DEC866}"/>
                  </a:ext>
                </a:extLst>
              </p:cNvPr>
              <p:cNvSpPr txBox="1"/>
              <p:nvPr/>
            </p:nvSpPr>
            <p:spPr>
              <a:xfrm>
                <a:off x="7911386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18</a:t>
                </a: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C16F302F-8484-A1E7-AEC0-975D36740CBB}"/>
                  </a:ext>
                </a:extLst>
              </p:cNvPr>
              <p:cNvSpPr txBox="1"/>
              <p:nvPr/>
            </p:nvSpPr>
            <p:spPr>
              <a:xfrm>
                <a:off x="8555493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24</a:t>
                </a:r>
              </a:p>
            </p:txBody>
          </p:sp>
          <p:sp>
            <p:nvSpPr>
              <p:cNvPr id="68" name="TextBox 67">
                <a:extLst>
                  <a:ext uri="{FF2B5EF4-FFF2-40B4-BE49-F238E27FC236}">
                    <a16:creationId xmlns:a16="http://schemas.microsoft.com/office/drawing/2014/main" id="{28E92242-10D0-5C2C-90E5-72C8CDF6CB69}"/>
                  </a:ext>
                </a:extLst>
              </p:cNvPr>
              <p:cNvSpPr txBox="1"/>
              <p:nvPr/>
            </p:nvSpPr>
            <p:spPr>
              <a:xfrm>
                <a:off x="9215019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30</a:t>
                </a:r>
              </a:p>
            </p:txBody>
          </p:sp>
          <p:sp>
            <p:nvSpPr>
              <p:cNvPr id="69" name="TextBox 68">
                <a:extLst>
                  <a:ext uri="{FF2B5EF4-FFF2-40B4-BE49-F238E27FC236}">
                    <a16:creationId xmlns:a16="http://schemas.microsoft.com/office/drawing/2014/main" id="{3342D75B-3648-86B2-B01A-09FC910B1623}"/>
                  </a:ext>
                </a:extLst>
              </p:cNvPr>
              <p:cNvSpPr txBox="1"/>
              <p:nvPr/>
            </p:nvSpPr>
            <p:spPr>
              <a:xfrm>
                <a:off x="9856578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36</a:t>
                </a: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48A0F2D3-8B7F-C5C1-78EF-3B686807145E}"/>
                  </a:ext>
                </a:extLst>
              </p:cNvPr>
              <p:cNvSpPr txBox="1"/>
              <p:nvPr/>
            </p:nvSpPr>
            <p:spPr>
              <a:xfrm>
                <a:off x="10520078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42</a:t>
                </a:r>
              </a:p>
            </p:txBody>
          </p:sp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DB2935B9-8739-602C-F3DB-B1F47CA1085E}"/>
                  </a:ext>
                </a:extLst>
              </p:cNvPr>
              <p:cNvSpPr txBox="1"/>
              <p:nvPr/>
            </p:nvSpPr>
            <p:spPr>
              <a:xfrm>
                <a:off x="11809315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54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61DBC834-90ED-80BA-E6A4-E0BB4B7A0000}"/>
                  </a:ext>
                </a:extLst>
              </p:cNvPr>
              <p:cNvSpPr txBox="1"/>
              <p:nvPr/>
            </p:nvSpPr>
            <p:spPr>
              <a:xfrm>
                <a:off x="7136408" y="4752730"/>
                <a:ext cx="326889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Time from liso-cel infusion, months</a:t>
                </a:r>
              </a:p>
            </p:txBody>
          </p:sp>
          <p:sp>
            <p:nvSpPr>
              <p:cNvPr id="93" name="Freeform 1242">
                <a:extLst>
                  <a:ext uri="{FF2B5EF4-FFF2-40B4-BE49-F238E27FC236}">
                    <a16:creationId xmlns:a16="http://schemas.microsoft.com/office/drawing/2014/main" id="{8B19D7A5-0CD3-17FE-E204-AFDC03BA896E}"/>
                  </a:ext>
                </a:extLst>
              </p:cNvPr>
              <p:cNvSpPr/>
              <p:nvPr/>
            </p:nvSpPr>
            <p:spPr>
              <a:xfrm>
                <a:off x="5904891" y="4451969"/>
                <a:ext cx="6174874" cy="12688"/>
              </a:xfrm>
              <a:custGeom>
                <a:avLst/>
                <a:gdLst>
                  <a:gd name="connsiteX0" fmla="*/ 0 w 6174874"/>
                  <a:gd name="connsiteY0" fmla="*/ 0 h 12688"/>
                  <a:gd name="connsiteX1" fmla="*/ 6174875 w 6174874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74874" h="12688">
                    <a:moveTo>
                      <a:pt x="0" y="0"/>
                    </a:moveTo>
                    <a:lnTo>
                      <a:pt x="6174875" y="0"/>
                    </a:lnTo>
                  </a:path>
                </a:pathLst>
              </a:custGeom>
              <a:ln w="12712" cap="rnd">
                <a:solidFill>
                  <a:srgbClr val="595454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4" name="Freeform 1243">
                <a:extLst>
                  <a:ext uri="{FF2B5EF4-FFF2-40B4-BE49-F238E27FC236}">
                    <a16:creationId xmlns:a16="http://schemas.microsoft.com/office/drawing/2014/main" id="{D23FC850-D924-18DC-550E-F96B0ED2AC13}"/>
                  </a:ext>
                </a:extLst>
              </p:cNvPr>
              <p:cNvSpPr/>
              <p:nvPr/>
            </p:nvSpPr>
            <p:spPr>
              <a:xfrm>
                <a:off x="5904891" y="4451969"/>
                <a:ext cx="6174874" cy="12688"/>
              </a:xfrm>
              <a:custGeom>
                <a:avLst/>
                <a:gdLst>
                  <a:gd name="connsiteX0" fmla="*/ 0 w 6174874"/>
                  <a:gd name="connsiteY0" fmla="*/ 0 h 12688"/>
                  <a:gd name="connsiteX1" fmla="*/ 6174875 w 6174874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174874" h="12688">
                    <a:moveTo>
                      <a:pt x="0" y="0"/>
                    </a:moveTo>
                    <a:lnTo>
                      <a:pt x="6174875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5" name="Freeform 1244">
                <a:extLst>
                  <a:ext uri="{FF2B5EF4-FFF2-40B4-BE49-F238E27FC236}">
                    <a16:creationId xmlns:a16="http://schemas.microsoft.com/office/drawing/2014/main" id="{C5B2ABA3-1A7C-DBB6-573C-49D40CCEECDD}"/>
                  </a:ext>
                </a:extLst>
              </p:cNvPr>
              <p:cNvSpPr/>
              <p:nvPr/>
            </p:nvSpPr>
            <p:spPr>
              <a:xfrm>
                <a:off x="5898532" y="1249622"/>
                <a:ext cx="12718" cy="3202347"/>
              </a:xfrm>
              <a:custGeom>
                <a:avLst/>
                <a:gdLst>
                  <a:gd name="connsiteX0" fmla="*/ 0 w 12718"/>
                  <a:gd name="connsiteY0" fmla="*/ 3202347 h 3202347"/>
                  <a:gd name="connsiteX1" fmla="*/ 0 w 12718"/>
                  <a:gd name="connsiteY1" fmla="*/ 0 h 32023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3202347">
                    <a:moveTo>
                      <a:pt x="0" y="3202347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6" name="Freeform 1245">
                <a:extLst>
                  <a:ext uri="{FF2B5EF4-FFF2-40B4-BE49-F238E27FC236}">
                    <a16:creationId xmlns:a16="http://schemas.microsoft.com/office/drawing/2014/main" id="{D0E08A0A-7C28-DB99-15AA-E086D76ECC1C}"/>
                  </a:ext>
                </a:extLst>
              </p:cNvPr>
              <p:cNvSpPr/>
              <p:nvPr/>
            </p:nvSpPr>
            <p:spPr>
              <a:xfrm>
                <a:off x="6051155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7" name="Freeform 1246">
                <a:extLst>
                  <a:ext uri="{FF2B5EF4-FFF2-40B4-BE49-F238E27FC236}">
                    <a16:creationId xmlns:a16="http://schemas.microsoft.com/office/drawing/2014/main" id="{EA45F508-242E-F27D-B88B-3900C9CCFD4D}"/>
                  </a:ext>
                </a:extLst>
              </p:cNvPr>
              <p:cNvSpPr/>
              <p:nvPr/>
            </p:nvSpPr>
            <p:spPr>
              <a:xfrm>
                <a:off x="6706162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8" name="Freeform 1247">
                <a:extLst>
                  <a:ext uri="{FF2B5EF4-FFF2-40B4-BE49-F238E27FC236}">
                    <a16:creationId xmlns:a16="http://schemas.microsoft.com/office/drawing/2014/main" id="{B0106D06-619D-34D5-43FB-18E6BBE715D5}"/>
                  </a:ext>
                </a:extLst>
              </p:cNvPr>
              <p:cNvSpPr/>
              <p:nvPr/>
            </p:nvSpPr>
            <p:spPr>
              <a:xfrm>
                <a:off x="7354810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99" name="Freeform 1248">
                <a:extLst>
                  <a:ext uri="{FF2B5EF4-FFF2-40B4-BE49-F238E27FC236}">
                    <a16:creationId xmlns:a16="http://schemas.microsoft.com/office/drawing/2014/main" id="{62C2BE83-4062-1B60-FDDA-A71CEA60F8A2}"/>
                  </a:ext>
                </a:extLst>
              </p:cNvPr>
              <p:cNvSpPr/>
              <p:nvPr/>
            </p:nvSpPr>
            <p:spPr>
              <a:xfrm>
                <a:off x="8009817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0" name="Freeform 1249">
                <a:extLst>
                  <a:ext uri="{FF2B5EF4-FFF2-40B4-BE49-F238E27FC236}">
                    <a16:creationId xmlns:a16="http://schemas.microsoft.com/office/drawing/2014/main" id="{EF09551E-4DAD-FEEF-F720-9E23A4055191}"/>
                  </a:ext>
                </a:extLst>
              </p:cNvPr>
              <p:cNvSpPr/>
              <p:nvPr/>
            </p:nvSpPr>
            <p:spPr>
              <a:xfrm>
                <a:off x="8658465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1" name="Freeform 1250">
                <a:extLst>
                  <a:ext uri="{FF2B5EF4-FFF2-40B4-BE49-F238E27FC236}">
                    <a16:creationId xmlns:a16="http://schemas.microsoft.com/office/drawing/2014/main" id="{1CBAAA83-E11E-BF90-7B37-63C3505CEF49}"/>
                  </a:ext>
                </a:extLst>
              </p:cNvPr>
              <p:cNvSpPr/>
              <p:nvPr/>
            </p:nvSpPr>
            <p:spPr>
              <a:xfrm>
                <a:off x="9313473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2" name="Freeform 1251">
                <a:extLst>
                  <a:ext uri="{FF2B5EF4-FFF2-40B4-BE49-F238E27FC236}">
                    <a16:creationId xmlns:a16="http://schemas.microsoft.com/office/drawing/2014/main" id="{77D3CCE7-AA04-2E52-76C2-52876A818092}"/>
                  </a:ext>
                </a:extLst>
              </p:cNvPr>
              <p:cNvSpPr/>
              <p:nvPr/>
            </p:nvSpPr>
            <p:spPr>
              <a:xfrm>
                <a:off x="9962121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3" name="Freeform 1252">
                <a:extLst>
                  <a:ext uri="{FF2B5EF4-FFF2-40B4-BE49-F238E27FC236}">
                    <a16:creationId xmlns:a16="http://schemas.microsoft.com/office/drawing/2014/main" id="{2B1A8C77-A89C-CEF0-B1F9-70A52D3AFA42}"/>
                  </a:ext>
                </a:extLst>
              </p:cNvPr>
              <p:cNvSpPr/>
              <p:nvPr/>
            </p:nvSpPr>
            <p:spPr>
              <a:xfrm>
                <a:off x="10617128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4" name="Freeform 1253">
                <a:extLst>
                  <a:ext uri="{FF2B5EF4-FFF2-40B4-BE49-F238E27FC236}">
                    <a16:creationId xmlns:a16="http://schemas.microsoft.com/office/drawing/2014/main" id="{C5DC20BA-6F4C-2A72-60BA-D713472874E0}"/>
                  </a:ext>
                </a:extLst>
              </p:cNvPr>
              <p:cNvSpPr/>
              <p:nvPr/>
            </p:nvSpPr>
            <p:spPr>
              <a:xfrm>
                <a:off x="11265776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5" name="Freeform 1254">
                <a:extLst>
                  <a:ext uri="{FF2B5EF4-FFF2-40B4-BE49-F238E27FC236}">
                    <a16:creationId xmlns:a16="http://schemas.microsoft.com/office/drawing/2014/main" id="{60AAE093-BCD7-B479-DC1C-F3E8535480BF}"/>
                  </a:ext>
                </a:extLst>
              </p:cNvPr>
              <p:cNvSpPr/>
              <p:nvPr/>
            </p:nvSpPr>
            <p:spPr>
              <a:xfrm>
                <a:off x="11914424" y="4451969"/>
                <a:ext cx="12718" cy="95160"/>
              </a:xfrm>
              <a:custGeom>
                <a:avLst/>
                <a:gdLst>
                  <a:gd name="connsiteX0" fmla="*/ 0 w 12718"/>
                  <a:gd name="connsiteY0" fmla="*/ 95161 h 95160"/>
                  <a:gd name="connsiteX1" fmla="*/ 0 w 12718"/>
                  <a:gd name="connsiteY1" fmla="*/ 0 h 9516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718" h="95160">
                    <a:moveTo>
                      <a:pt x="0" y="95161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6" name="Freeform 1255">
                <a:extLst>
                  <a:ext uri="{FF2B5EF4-FFF2-40B4-BE49-F238E27FC236}">
                    <a16:creationId xmlns:a16="http://schemas.microsoft.com/office/drawing/2014/main" id="{CFB84B85-6611-F64B-444B-72C75AA90C1B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226703" cy="2617172"/>
              </a:xfrm>
              <a:custGeom>
                <a:avLst/>
                <a:gdLst>
                  <a:gd name="connsiteX0" fmla="*/ 0 w 5226703"/>
                  <a:gd name="connsiteY0" fmla="*/ 0 h 2617172"/>
                  <a:gd name="connsiteX1" fmla="*/ 375580 w 5226703"/>
                  <a:gd name="connsiteY1" fmla="*/ 0 h 2617172"/>
                  <a:gd name="connsiteX2" fmla="*/ 375580 w 5226703"/>
                  <a:gd name="connsiteY2" fmla="*/ 165072 h 2617172"/>
                  <a:gd name="connsiteX3" fmla="*/ 558600 w 5226703"/>
                  <a:gd name="connsiteY3" fmla="*/ 165072 h 2617172"/>
                  <a:gd name="connsiteX4" fmla="*/ 558600 w 5226703"/>
                  <a:gd name="connsiteY4" fmla="*/ 309336 h 2617172"/>
                  <a:gd name="connsiteX5" fmla="*/ 654371 w 5226703"/>
                  <a:gd name="connsiteY5" fmla="*/ 309336 h 2617172"/>
                  <a:gd name="connsiteX6" fmla="*/ 654371 w 5226703"/>
                  <a:gd name="connsiteY6" fmla="*/ 471743 h 2617172"/>
                  <a:gd name="connsiteX7" fmla="*/ 937487 w 5226703"/>
                  <a:gd name="connsiteY7" fmla="*/ 471743 h 2617172"/>
                  <a:gd name="connsiteX8" fmla="*/ 937487 w 5226703"/>
                  <a:gd name="connsiteY8" fmla="*/ 618925 h 2617172"/>
                  <a:gd name="connsiteX9" fmla="*/ 1294625 w 5226703"/>
                  <a:gd name="connsiteY9" fmla="*/ 618925 h 2617172"/>
                  <a:gd name="connsiteX10" fmla="*/ 1294625 w 5226703"/>
                  <a:gd name="connsiteY10" fmla="*/ 772959 h 2617172"/>
                  <a:gd name="connsiteX11" fmla="*/ 1317137 w 5226703"/>
                  <a:gd name="connsiteY11" fmla="*/ 772959 h 2617172"/>
                  <a:gd name="connsiteX12" fmla="*/ 1317137 w 5226703"/>
                  <a:gd name="connsiteY12" fmla="*/ 961377 h 2617172"/>
                  <a:gd name="connsiteX13" fmla="*/ 1377042 w 5226703"/>
                  <a:gd name="connsiteY13" fmla="*/ 961377 h 2617172"/>
                  <a:gd name="connsiteX14" fmla="*/ 1377042 w 5226703"/>
                  <a:gd name="connsiteY14" fmla="*/ 1134823 h 2617172"/>
                  <a:gd name="connsiteX15" fmla="*/ 1400953 w 5226703"/>
                  <a:gd name="connsiteY15" fmla="*/ 1134823 h 2617172"/>
                  <a:gd name="connsiteX16" fmla="*/ 1400953 w 5226703"/>
                  <a:gd name="connsiteY16" fmla="*/ 1300910 h 2617172"/>
                  <a:gd name="connsiteX17" fmla="*/ 1795992 w 5226703"/>
                  <a:gd name="connsiteY17" fmla="*/ 1300910 h 2617172"/>
                  <a:gd name="connsiteX18" fmla="*/ 1795992 w 5226703"/>
                  <a:gd name="connsiteY18" fmla="*/ 1481842 h 2617172"/>
                  <a:gd name="connsiteX19" fmla="*/ 2633893 w 5226703"/>
                  <a:gd name="connsiteY19" fmla="*/ 1481842 h 2617172"/>
                  <a:gd name="connsiteX20" fmla="*/ 2633893 w 5226703"/>
                  <a:gd name="connsiteY20" fmla="*/ 1754509 h 2617172"/>
                  <a:gd name="connsiteX21" fmla="*/ 3414305 w 5226703"/>
                  <a:gd name="connsiteY21" fmla="*/ 1754509 h 2617172"/>
                  <a:gd name="connsiteX22" fmla="*/ 3414305 w 5226703"/>
                  <a:gd name="connsiteY22" fmla="*/ 2096580 h 2617172"/>
                  <a:gd name="connsiteX23" fmla="*/ 4599424 w 5226703"/>
                  <a:gd name="connsiteY23" fmla="*/ 2096580 h 2617172"/>
                  <a:gd name="connsiteX24" fmla="*/ 4599424 w 5226703"/>
                  <a:gd name="connsiteY24" fmla="*/ 2617172 h 2617172"/>
                  <a:gd name="connsiteX25" fmla="*/ 5226704 w 5226703"/>
                  <a:gd name="connsiteY25" fmla="*/ 2617172 h 261717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</a:cxnLst>
                <a:rect l="l" t="t" r="r" b="b"/>
                <a:pathLst>
                  <a:path w="5226703" h="2617172">
                    <a:moveTo>
                      <a:pt x="0" y="0"/>
                    </a:moveTo>
                    <a:lnTo>
                      <a:pt x="375580" y="0"/>
                    </a:lnTo>
                    <a:lnTo>
                      <a:pt x="375580" y="165072"/>
                    </a:lnTo>
                    <a:lnTo>
                      <a:pt x="558600" y="165072"/>
                    </a:lnTo>
                    <a:lnTo>
                      <a:pt x="558600" y="309336"/>
                    </a:lnTo>
                    <a:lnTo>
                      <a:pt x="654371" y="309336"/>
                    </a:lnTo>
                    <a:lnTo>
                      <a:pt x="654371" y="471743"/>
                    </a:lnTo>
                    <a:lnTo>
                      <a:pt x="937487" y="471743"/>
                    </a:lnTo>
                    <a:lnTo>
                      <a:pt x="937487" y="618925"/>
                    </a:lnTo>
                    <a:lnTo>
                      <a:pt x="1294625" y="618925"/>
                    </a:lnTo>
                    <a:lnTo>
                      <a:pt x="1294625" y="772959"/>
                    </a:lnTo>
                    <a:lnTo>
                      <a:pt x="1317137" y="772959"/>
                    </a:lnTo>
                    <a:lnTo>
                      <a:pt x="1317137" y="961377"/>
                    </a:lnTo>
                    <a:lnTo>
                      <a:pt x="1377042" y="961377"/>
                    </a:lnTo>
                    <a:lnTo>
                      <a:pt x="1377042" y="1134823"/>
                    </a:lnTo>
                    <a:lnTo>
                      <a:pt x="1400953" y="1134823"/>
                    </a:lnTo>
                    <a:lnTo>
                      <a:pt x="1400953" y="1300910"/>
                    </a:lnTo>
                    <a:lnTo>
                      <a:pt x="1795992" y="1300910"/>
                    </a:lnTo>
                    <a:lnTo>
                      <a:pt x="1795992" y="1481842"/>
                    </a:lnTo>
                    <a:lnTo>
                      <a:pt x="2633893" y="1481842"/>
                    </a:lnTo>
                    <a:lnTo>
                      <a:pt x="2633893" y="1754509"/>
                    </a:lnTo>
                    <a:lnTo>
                      <a:pt x="3414305" y="1754509"/>
                    </a:lnTo>
                    <a:lnTo>
                      <a:pt x="3414305" y="2096580"/>
                    </a:lnTo>
                    <a:lnTo>
                      <a:pt x="4599424" y="2096580"/>
                    </a:lnTo>
                    <a:lnTo>
                      <a:pt x="4599424" y="2617172"/>
                    </a:lnTo>
                    <a:lnTo>
                      <a:pt x="5226704" y="2617172"/>
                    </a:lnTo>
                  </a:path>
                </a:pathLst>
              </a:custGeom>
              <a:noFill/>
              <a:ln w="19050" cap="rnd">
                <a:solidFill>
                  <a:srgbClr val="138967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7" name="Freeform 1256">
                <a:extLst>
                  <a:ext uri="{FF2B5EF4-FFF2-40B4-BE49-F238E27FC236}">
                    <a16:creationId xmlns:a16="http://schemas.microsoft.com/office/drawing/2014/main" id="{E65700C9-CC81-E7E7-F750-4974F0DF6690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226703" cy="1870985"/>
              </a:xfrm>
              <a:custGeom>
                <a:avLst/>
                <a:gdLst>
                  <a:gd name="connsiteX0" fmla="*/ 0 w 5226703"/>
                  <a:gd name="connsiteY0" fmla="*/ 0 h 1870985"/>
                  <a:gd name="connsiteX1" fmla="*/ 91319 w 5226703"/>
                  <a:gd name="connsiteY1" fmla="*/ 0 h 1870985"/>
                  <a:gd name="connsiteX2" fmla="*/ 91319 w 5226703"/>
                  <a:gd name="connsiteY2" fmla="*/ 62806 h 1870985"/>
                  <a:gd name="connsiteX3" fmla="*/ 306772 w 5226703"/>
                  <a:gd name="connsiteY3" fmla="*/ 62806 h 1870985"/>
                  <a:gd name="connsiteX4" fmla="*/ 306772 w 5226703"/>
                  <a:gd name="connsiteY4" fmla="*/ 196665 h 1870985"/>
                  <a:gd name="connsiteX5" fmla="*/ 364260 w 5226703"/>
                  <a:gd name="connsiteY5" fmla="*/ 196665 h 1870985"/>
                  <a:gd name="connsiteX6" fmla="*/ 364260 w 5226703"/>
                  <a:gd name="connsiteY6" fmla="*/ 256173 h 1870985"/>
                  <a:gd name="connsiteX7" fmla="*/ 387027 w 5226703"/>
                  <a:gd name="connsiteY7" fmla="*/ 256173 h 1870985"/>
                  <a:gd name="connsiteX8" fmla="*/ 387027 w 5226703"/>
                  <a:gd name="connsiteY8" fmla="*/ 315680 h 1870985"/>
                  <a:gd name="connsiteX9" fmla="*/ 475548 w 5226703"/>
                  <a:gd name="connsiteY9" fmla="*/ 315680 h 1870985"/>
                  <a:gd name="connsiteX10" fmla="*/ 475548 w 5226703"/>
                  <a:gd name="connsiteY10" fmla="*/ 382546 h 1870985"/>
                  <a:gd name="connsiteX11" fmla="*/ 555802 w 5226703"/>
                  <a:gd name="connsiteY11" fmla="*/ 382546 h 1870985"/>
                  <a:gd name="connsiteX12" fmla="*/ 555802 w 5226703"/>
                  <a:gd name="connsiteY12" fmla="*/ 443322 h 1870985"/>
                  <a:gd name="connsiteX13" fmla="*/ 642034 w 5226703"/>
                  <a:gd name="connsiteY13" fmla="*/ 443322 h 1870985"/>
                  <a:gd name="connsiteX14" fmla="*/ 642034 w 5226703"/>
                  <a:gd name="connsiteY14" fmla="*/ 507777 h 1870985"/>
                  <a:gd name="connsiteX15" fmla="*/ 653990 w 5226703"/>
                  <a:gd name="connsiteY15" fmla="*/ 507777 h 1870985"/>
                  <a:gd name="connsiteX16" fmla="*/ 653990 w 5226703"/>
                  <a:gd name="connsiteY16" fmla="*/ 573502 h 1870985"/>
                  <a:gd name="connsiteX17" fmla="*/ 937487 w 5226703"/>
                  <a:gd name="connsiteY17" fmla="*/ 573502 h 1870985"/>
                  <a:gd name="connsiteX18" fmla="*/ 937487 w 5226703"/>
                  <a:gd name="connsiteY18" fmla="*/ 640368 h 1870985"/>
                  <a:gd name="connsiteX19" fmla="*/ 1039363 w 5226703"/>
                  <a:gd name="connsiteY19" fmla="*/ 640368 h 1870985"/>
                  <a:gd name="connsiteX20" fmla="*/ 1039363 w 5226703"/>
                  <a:gd name="connsiteY20" fmla="*/ 709772 h 1870985"/>
                  <a:gd name="connsiteX21" fmla="*/ 1288393 w 5226703"/>
                  <a:gd name="connsiteY21" fmla="*/ 709772 h 1870985"/>
                  <a:gd name="connsiteX22" fmla="*/ 1288393 w 5226703"/>
                  <a:gd name="connsiteY22" fmla="*/ 772959 h 1870985"/>
                  <a:gd name="connsiteX23" fmla="*/ 1317137 w 5226703"/>
                  <a:gd name="connsiteY23" fmla="*/ 772959 h 1870985"/>
                  <a:gd name="connsiteX24" fmla="*/ 1317137 w 5226703"/>
                  <a:gd name="connsiteY24" fmla="*/ 830055 h 1870985"/>
                  <a:gd name="connsiteX25" fmla="*/ 1372209 w 5226703"/>
                  <a:gd name="connsiteY25" fmla="*/ 830055 h 1870985"/>
                  <a:gd name="connsiteX26" fmla="*/ 1372209 w 5226703"/>
                  <a:gd name="connsiteY26" fmla="*/ 901869 h 1870985"/>
                  <a:gd name="connsiteX27" fmla="*/ 1406930 w 5226703"/>
                  <a:gd name="connsiteY27" fmla="*/ 901869 h 1870985"/>
                  <a:gd name="connsiteX28" fmla="*/ 1406930 w 5226703"/>
                  <a:gd name="connsiteY28" fmla="*/ 968736 h 1870985"/>
                  <a:gd name="connsiteX29" fmla="*/ 1805531 w 5226703"/>
                  <a:gd name="connsiteY29" fmla="*/ 968736 h 1870985"/>
                  <a:gd name="connsiteX30" fmla="*/ 1805531 w 5226703"/>
                  <a:gd name="connsiteY30" fmla="*/ 1038140 h 1870985"/>
                  <a:gd name="connsiteX31" fmla="*/ 2187343 w 5226703"/>
                  <a:gd name="connsiteY31" fmla="*/ 1038140 h 1870985"/>
                  <a:gd name="connsiteX32" fmla="*/ 2187343 w 5226703"/>
                  <a:gd name="connsiteY32" fmla="*/ 1119978 h 1870985"/>
                  <a:gd name="connsiteX33" fmla="*/ 2304736 w 5226703"/>
                  <a:gd name="connsiteY33" fmla="*/ 1119978 h 1870985"/>
                  <a:gd name="connsiteX34" fmla="*/ 2304736 w 5226703"/>
                  <a:gd name="connsiteY34" fmla="*/ 1204227 h 1870985"/>
                  <a:gd name="connsiteX35" fmla="*/ 2632621 w 5226703"/>
                  <a:gd name="connsiteY35" fmla="*/ 1204227 h 1870985"/>
                  <a:gd name="connsiteX36" fmla="*/ 2632621 w 5226703"/>
                  <a:gd name="connsiteY36" fmla="*/ 1324510 h 1870985"/>
                  <a:gd name="connsiteX37" fmla="*/ 3219202 w 5226703"/>
                  <a:gd name="connsiteY37" fmla="*/ 1324510 h 1870985"/>
                  <a:gd name="connsiteX38" fmla="*/ 3219202 w 5226703"/>
                  <a:gd name="connsiteY38" fmla="*/ 1452152 h 1870985"/>
                  <a:gd name="connsiteX39" fmla="*/ 3411889 w 5226703"/>
                  <a:gd name="connsiteY39" fmla="*/ 1452152 h 1870985"/>
                  <a:gd name="connsiteX40" fmla="*/ 3411889 w 5226703"/>
                  <a:gd name="connsiteY40" fmla="*/ 1628136 h 1870985"/>
                  <a:gd name="connsiteX41" fmla="*/ 4597007 w 5226703"/>
                  <a:gd name="connsiteY41" fmla="*/ 1628136 h 1870985"/>
                  <a:gd name="connsiteX42" fmla="*/ 4597007 w 5226703"/>
                  <a:gd name="connsiteY42" fmla="*/ 1870986 h 1870985"/>
                  <a:gd name="connsiteX43" fmla="*/ 5226704 w 5226703"/>
                  <a:gd name="connsiteY43" fmla="*/ 1870986 h 18709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226703" h="1870985">
                    <a:moveTo>
                      <a:pt x="0" y="0"/>
                    </a:moveTo>
                    <a:lnTo>
                      <a:pt x="91319" y="0"/>
                    </a:lnTo>
                    <a:lnTo>
                      <a:pt x="91319" y="62806"/>
                    </a:lnTo>
                    <a:lnTo>
                      <a:pt x="306772" y="62806"/>
                    </a:lnTo>
                    <a:lnTo>
                      <a:pt x="306772" y="196665"/>
                    </a:lnTo>
                    <a:lnTo>
                      <a:pt x="364260" y="196665"/>
                    </a:lnTo>
                    <a:lnTo>
                      <a:pt x="364260" y="256173"/>
                    </a:lnTo>
                    <a:lnTo>
                      <a:pt x="387027" y="256173"/>
                    </a:lnTo>
                    <a:lnTo>
                      <a:pt x="387027" y="315680"/>
                    </a:lnTo>
                    <a:lnTo>
                      <a:pt x="475548" y="315680"/>
                    </a:lnTo>
                    <a:lnTo>
                      <a:pt x="475548" y="382546"/>
                    </a:lnTo>
                    <a:lnTo>
                      <a:pt x="555802" y="382546"/>
                    </a:lnTo>
                    <a:lnTo>
                      <a:pt x="555802" y="443322"/>
                    </a:lnTo>
                    <a:lnTo>
                      <a:pt x="642034" y="443322"/>
                    </a:lnTo>
                    <a:lnTo>
                      <a:pt x="642034" y="507777"/>
                    </a:lnTo>
                    <a:lnTo>
                      <a:pt x="653990" y="507777"/>
                    </a:lnTo>
                    <a:lnTo>
                      <a:pt x="653990" y="573502"/>
                    </a:lnTo>
                    <a:lnTo>
                      <a:pt x="937487" y="573502"/>
                    </a:lnTo>
                    <a:lnTo>
                      <a:pt x="937487" y="640368"/>
                    </a:lnTo>
                    <a:lnTo>
                      <a:pt x="1039363" y="640368"/>
                    </a:lnTo>
                    <a:lnTo>
                      <a:pt x="1039363" y="709772"/>
                    </a:lnTo>
                    <a:lnTo>
                      <a:pt x="1288393" y="709772"/>
                    </a:lnTo>
                    <a:lnTo>
                      <a:pt x="1288393" y="772959"/>
                    </a:lnTo>
                    <a:lnTo>
                      <a:pt x="1317137" y="772959"/>
                    </a:lnTo>
                    <a:lnTo>
                      <a:pt x="1317137" y="830055"/>
                    </a:lnTo>
                    <a:lnTo>
                      <a:pt x="1372209" y="830055"/>
                    </a:lnTo>
                    <a:lnTo>
                      <a:pt x="1372209" y="901869"/>
                    </a:lnTo>
                    <a:lnTo>
                      <a:pt x="1406930" y="901869"/>
                    </a:lnTo>
                    <a:lnTo>
                      <a:pt x="1406930" y="968736"/>
                    </a:lnTo>
                    <a:lnTo>
                      <a:pt x="1805531" y="968736"/>
                    </a:lnTo>
                    <a:lnTo>
                      <a:pt x="1805531" y="1038140"/>
                    </a:lnTo>
                    <a:lnTo>
                      <a:pt x="2187343" y="1038140"/>
                    </a:lnTo>
                    <a:lnTo>
                      <a:pt x="2187343" y="1119978"/>
                    </a:lnTo>
                    <a:lnTo>
                      <a:pt x="2304736" y="1119978"/>
                    </a:lnTo>
                    <a:lnTo>
                      <a:pt x="2304736" y="1204227"/>
                    </a:lnTo>
                    <a:lnTo>
                      <a:pt x="2632621" y="1204227"/>
                    </a:lnTo>
                    <a:lnTo>
                      <a:pt x="2632621" y="1324510"/>
                    </a:lnTo>
                    <a:lnTo>
                      <a:pt x="3219202" y="1324510"/>
                    </a:lnTo>
                    <a:lnTo>
                      <a:pt x="3219202" y="1452152"/>
                    </a:lnTo>
                    <a:lnTo>
                      <a:pt x="3411889" y="1452152"/>
                    </a:lnTo>
                    <a:lnTo>
                      <a:pt x="3411889" y="1628136"/>
                    </a:lnTo>
                    <a:lnTo>
                      <a:pt x="4597007" y="1628136"/>
                    </a:lnTo>
                    <a:lnTo>
                      <a:pt x="4597007" y="1870986"/>
                    </a:lnTo>
                    <a:lnTo>
                      <a:pt x="5226704" y="1870986"/>
                    </a:lnTo>
                  </a:path>
                </a:pathLst>
              </a:custGeom>
              <a:noFill/>
              <a:ln w="19050" cap="rnd">
                <a:solidFill>
                  <a:srgbClr val="009FBA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8" name="Freeform 1257">
                <a:extLst>
                  <a:ext uri="{FF2B5EF4-FFF2-40B4-BE49-F238E27FC236}">
                    <a16:creationId xmlns:a16="http://schemas.microsoft.com/office/drawing/2014/main" id="{F1BB8599-3649-3509-1AC5-BCB450F5080E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226703" cy="771182"/>
              </a:xfrm>
              <a:custGeom>
                <a:avLst/>
                <a:gdLst>
                  <a:gd name="connsiteX0" fmla="*/ 0 w 5226703"/>
                  <a:gd name="connsiteY0" fmla="*/ 0 h 771182"/>
                  <a:gd name="connsiteX1" fmla="*/ 1043052 w 5226703"/>
                  <a:gd name="connsiteY1" fmla="*/ 0 h 771182"/>
                  <a:gd name="connsiteX2" fmla="*/ 1043052 w 5226703"/>
                  <a:gd name="connsiteY2" fmla="*/ 142741 h 771182"/>
                  <a:gd name="connsiteX3" fmla="*/ 2186834 w 5226703"/>
                  <a:gd name="connsiteY3" fmla="*/ 142741 h 771182"/>
                  <a:gd name="connsiteX4" fmla="*/ 2186834 w 5226703"/>
                  <a:gd name="connsiteY4" fmla="*/ 308194 h 771182"/>
                  <a:gd name="connsiteX5" fmla="*/ 2298122 w 5226703"/>
                  <a:gd name="connsiteY5" fmla="*/ 308194 h 771182"/>
                  <a:gd name="connsiteX6" fmla="*/ 2298122 w 5226703"/>
                  <a:gd name="connsiteY6" fmla="*/ 475550 h 771182"/>
                  <a:gd name="connsiteX7" fmla="*/ 3220983 w 5226703"/>
                  <a:gd name="connsiteY7" fmla="*/ 475550 h 771182"/>
                  <a:gd name="connsiteX8" fmla="*/ 3220983 w 5226703"/>
                  <a:gd name="connsiteY8" fmla="*/ 771182 h 771182"/>
                  <a:gd name="connsiteX9" fmla="*/ 5226704 w 5226703"/>
                  <a:gd name="connsiteY9" fmla="*/ 771182 h 7711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5226703" h="771182">
                    <a:moveTo>
                      <a:pt x="0" y="0"/>
                    </a:moveTo>
                    <a:lnTo>
                      <a:pt x="1043052" y="0"/>
                    </a:lnTo>
                    <a:lnTo>
                      <a:pt x="1043052" y="142741"/>
                    </a:lnTo>
                    <a:lnTo>
                      <a:pt x="2186834" y="142741"/>
                    </a:lnTo>
                    <a:lnTo>
                      <a:pt x="2186834" y="308194"/>
                    </a:lnTo>
                    <a:lnTo>
                      <a:pt x="2298122" y="308194"/>
                    </a:lnTo>
                    <a:lnTo>
                      <a:pt x="2298122" y="475550"/>
                    </a:lnTo>
                    <a:lnTo>
                      <a:pt x="3220983" y="475550"/>
                    </a:lnTo>
                    <a:lnTo>
                      <a:pt x="3220983" y="771182"/>
                    </a:lnTo>
                    <a:lnTo>
                      <a:pt x="5226704" y="771182"/>
                    </a:lnTo>
                  </a:path>
                </a:pathLst>
              </a:custGeom>
              <a:noFill/>
              <a:ln w="19050" cap="rnd">
                <a:solidFill>
                  <a:srgbClr val="C37900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09" name="Freeform 1258">
                <a:extLst>
                  <a:ext uri="{FF2B5EF4-FFF2-40B4-BE49-F238E27FC236}">
                    <a16:creationId xmlns:a16="http://schemas.microsoft.com/office/drawing/2014/main" id="{BE067887-4D04-136A-6B18-CD1941D73C1E}"/>
                  </a:ext>
                </a:extLst>
              </p:cNvPr>
              <p:cNvSpPr/>
              <p:nvPr/>
            </p:nvSpPr>
            <p:spPr>
              <a:xfrm>
                <a:off x="6051155" y="1249622"/>
                <a:ext cx="5863269" cy="3120889"/>
              </a:xfrm>
              <a:custGeom>
                <a:avLst/>
                <a:gdLst>
                  <a:gd name="connsiteX0" fmla="*/ 0 w 5863269"/>
                  <a:gd name="connsiteY0" fmla="*/ 0 h 3120889"/>
                  <a:gd name="connsiteX1" fmla="*/ 91319 w 5863269"/>
                  <a:gd name="connsiteY1" fmla="*/ 0 h 3120889"/>
                  <a:gd name="connsiteX2" fmla="*/ 91319 w 5863269"/>
                  <a:gd name="connsiteY2" fmla="*/ 456898 h 3120889"/>
                  <a:gd name="connsiteX3" fmla="*/ 310461 w 5863269"/>
                  <a:gd name="connsiteY3" fmla="*/ 456898 h 3120889"/>
                  <a:gd name="connsiteX4" fmla="*/ 310461 w 5863269"/>
                  <a:gd name="connsiteY4" fmla="*/ 1351155 h 3120889"/>
                  <a:gd name="connsiteX5" fmla="*/ 355357 w 5863269"/>
                  <a:gd name="connsiteY5" fmla="*/ 1351155 h 3120889"/>
                  <a:gd name="connsiteX6" fmla="*/ 355357 w 5863269"/>
                  <a:gd name="connsiteY6" fmla="*/ 1801074 h 3120889"/>
                  <a:gd name="connsiteX7" fmla="*/ 473767 w 5863269"/>
                  <a:gd name="connsiteY7" fmla="*/ 1801074 h 3120889"/>
                  <a:gd name="connsiteX8" fmla="*/ 473767 w 5863269"/>
                  <a:gd name="connsiteY8" fmla="*/ 2462885 h 3120889"/>
                  <a:gd name="connsiteX9" fmla="*/ 642543 w 5863269"/>
                  <a:gd name="connsiteY9" fmla="*/ 2462885 h 3120889"/>
                  <a:gd name="connsiteX10" fmla="*/ 642543 w 5863269"/>
                  <a:gd name="connsiteY10" fmla="*/ 3120890 h 3120889"/>
                  <a:gd name="connsiteX11" fmla="*/ 5863270 w 5863269"/>
                  <a:gd name="connsiteY11" fmla="*/ 3120890 h 3120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5863269" h="3120889">
                    <a:moveTo>
                      <a:pt x="0" y="0"/>
                    </a:moveTo>
                    <a:lnTo>
                      <a:pt x="91319" y="0"/>
                    </a:lnTo>
                    <a:lnTo>
                      <a:pt x="91319" y="456898"/>
                    </a:lnTo>
                    <a:lnTo>
                      <a:pt x="310461" y="456898"/>
                    </a:lnTo>
                    <a:lnTo>
                      <a:pt x="310461" y="1351155"/>
                    </a:lnTo>
                    <a:lnTo>
                      <a:pt x="355357" y="1351155"/>
                    </a:lnTo>
                    <a:lnTo>
                      <a:pt x="355357" y="1801074"/>
                    </a:lnTo>
                    <a:lnTo>
                      <a:pt x="473767" y="1801074"/>
                    </a:lnTo>
                    <a:lnTo>
                      <a:pt x="473767" y="2462885"/>
                    </a:lnTo>
                    <a:lnTo>
                      <a:pt x="642543" y="2462885"/>
                    </a:lnTo>
                    <a:lnTo>
                      <a:pt x="642543" y="3120890"/>
                    </a:lnTo>
                    <a:lnTo>
                      <a:pt x="5863270" y="3120890"/>
                    </a:lnTo>
                  </a:path>
                </a:pathLst>
              </a:custGeom>
              <a:noFill/>
              <a:ln w="19050" cap="rnd">
                <a:solidFill>
                  <a:srgbClr val="BA4422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0" name="Freeform 1307">
                <a:extLst>
                  <a:ext uri="{FF2B5EF4-FFF2-40B4-BE49-F238E27FC236}">
                    <a16:creationId xmlns:a16="http://schemas.microsoft.com/office/drawing/2014/main" id="{F1464213-CCEF-69FF-831B-10F330350B28}"/>
                  </a:ext>
                </a:extLst>
              </p:cNvPr>
              <p:cNvSpPr/>
              <p:nvPr/>
            </p:nvSpPr>
            <p:spPr>
              <a:xfrm>
                <a:off x="5834939" y="4255304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1" name="Freeform 1308">
                <a:extLst>
                  <a:ext uri="{FF2B5EF4-FFF2-40B4-BE49-F238E27FC236}">
                    <a16:creationId xmlns:a16="http://schemas.microsoft.com/office/drawing/2014/main" id="{70AC8407-D8B3-3348-1BA1-4DB534DBBDDC}"/>
                  </a:ext>
                </a:extLst>
              </p:cNvPr>
              <p:cNvSpPr/>
              <p:nvPr/>
            </p:nvSpPr>
            <p:spPr>
              <a:xfrm>
                <a:off x="5834939" y="3653889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2" name="Freeform 1309">
                <a:extLst>
                  <a:ext uri="{FF2B5EF4-FFF2-40B4-BE49-F238E27FC236}">
                    <a16:creationId xmlns:a16="http://schemas.microsoft.com/office/drawing/2014/main" id="{D0DF046A-0A0A-9A15-2F4A-4DEA6F9D45A4}"/>
                  </a:ext>
                </a:extLst>
              </p:cNvPr>
              <p:cNvSpPr/>
              <p:nvPr/>
            </p:nvSpPr>
            <p:spPr>
              <a:xfrm>
                <a:off x="5834939" y="3052473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3" name="Freeform 1310">
                <a:extLst>
                  <a:ext uri="{FF2B5EF4-FFF2-40B4-BE49-F238E27FC236}">
                    <a16:creationId xmlns:a16="http://schemas.microsoft.com/office/drawing/2014/main" id="{833C0F10-7A0A-DCD7-9553-404271988C9F}"/>
                  </a:ext>
                </a:extLst>
              </p:cNvPr>
              <p:cNvSpPr/>
              <p:nvPr/>
            </p:nvSpPr>
            <p:spPr>
              <a:xfrm>
                <a:off x="5834939" y="2451058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4" name="Freeform 1311">
                <a:extLst>
                  <a:ext uri="{FF2B5EF4-FFF2-40B4-BE49-F238E27FC236}">
                    <a16:creationId xmlns:a16="http://schemas.microsoft.com/office/drawing/2014/main" id="{5B99A494-DFA1-DB02-AC7F-3CA9D86598CA}"/>
                  </a:ext>
                </a:extLst>
              </p:cNvPr>
              <p:cNvSpPr/>
              <p:nvPr/>
            </p:nvSpPr>
            <p:spPr>
              <a:xfrm>
                <a:off x="5834939" y="1849642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5" name="Freeform 1312">
                <a:extLst>
                  <a:ext uri="{FF2B5EF4-FFF2-40B4-BE49-F238E27FC236}">
                    <a16:creationId xmlns:a16="http://schemas.microsoft.com/office/drawing/2014/main" id="{A1F01B82-BE9D-28F0-06AE-8DC164E2C6C5}"/>
                  </a:ext>
                </a:extLst>
              </p:cNvPr>
              <p:cNvSpPr/>
              <p:nvPr/>
            </p:nvSpPr>
            <p:spPr>
              <a:xfrm>
                <a:off x="5834939" y="3954596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6" name="Freeform 1313">
                <a:extLst>
                  <a:ext uri="{FF2B5EF4-FFF2-40B4-BE49-F238E27FC236}">
                    <a16:creationId xmlns:a16="http://schemas.microsoft.com/office/drawing/2014/main" id="{E2D4B445-3454-F3EA-E8D4-3EAEA8CEA4D8}"/>
                  </a:ext>
                </a:extLst>
              </p:cNvPr>
              <p:cNvSpPr/>
              <p:nvPr/>
            </p:nvSpPr>
            <p:spPr>
              <a:xfrm>
                <a:off x="5834939" y="3353181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7" name="Freeform 1314">
                <a:extLst>
                  <a:ext uri="{FF2B5EF4-FFF2-40B4-BE49-F238E27FC236}">
                    <a16:creationId xmlns:a16="http://schemas.microsoft.com/office/drawing/2014/main" id="{0FBF57CB-063A-BD49-C776-FD46142980E6}"/>
                  </a:ext>
                </a:extLst>
              </p:cNvPr>
              <p:cNvSpPr/>
              <p:nvPr/>
            </p:nvSpPr>
            <p:spPr>
              <a:xfrm>
                <a:off x="5834939" y="2751765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8" name="Freeform 1315">
                <a:extLst>
                  <a:ext uri="{FF2B5EF4-FFF2-40B4-BE49-F238E27FC236}">
                    <a16:creationId xmlns:a16="http://schemas.microsoft.com/office/drawing/2014/main" id="{085DAE08-E59C-CFB7-B0BF-2BCD8CE62B08}"/>
                  </a:ext>
                </a:extLst>
              </p:cNvPr>
              <p:cNvSpPr/>
              <p:nvPr/>
            </p:nvSpPr>
            <p:spPr>
              <a:xfrm>
                <a:off x="5834939" y="2150350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19" name="Freeform 1316">
                <a:extLst>
                  <a:ext uri="{FF2B5EF4-FFF2-40B4-BE49-F238E27FC236}">
                    <a16:creationId xmlns:a16="http://schemas.microsoft.com/office/drawing/2014/main" id="{1F5C0F86-CDFB-6F52-58E4-DB7E2E0E8683}"/>
                  </a:ext>
                </a:extLst>
              </p:cNvPr>
              <p:cNvSpPr/>
              <p:nvPr/>
            </p:nvSpPr>
            <p:spPr>
              <a:xfrm>
                <a:off x="5834939" y="1548934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120" name="Freeform 1317">
                <a:extLst>
                  <a:ext uri="{FF2B5EF4-FFF2-40B4-BE49-F238E27FC236}">
                    <a16:creationId xmlns:a16="http://schemas.microsoft.com/office/drawing/2014/main" id="{E27082CD-A192-8371-0CE7-69BC1A02DE3E}"/>
                  </a:ext>
                </a:extLst>
              </p:cNvPr>
              <p:cNvSpPr/>
              <p:nvPr/>
            </p:nvSpPr>
            <p:spPr>
              <a:xfrm>
                <a:off x="5834939" y="1248227"/>
                <a:ext cx="63592" cy="12688"/>
              </a:xfrm>
              <a:custGeom>
                <a:avLst/>
                <a:gdLst>
                  <a:gd name="connsiteX0" fmla="*/ 63593 w 63592"/>
                  <a:gd name="connsiteY0" fmla="*/ 0 h 12688"/>
                  <a:gd name="connsiteX1" fmla="*/ 0 w 63592"/>
                  <a:gd name="connsiteY1" fmla="*/ 0 h 1268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63592" h="12688">
                    <a:moveTo>
                      <a:pt x="63593" y="0"/>
                    </a:moveTo>
                    <a:lnTo>
                      <a:pt x="0" y="0"/>
                    </a:lnTo>
                  </a:path>
                </a:pathLst>
              </a:custGeom>
              <a:ln w="12712" cap="rnd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grpSp>
            <p:nvGrpSpPr>
              <p:cNvPr id="121" name="Group 120">
                <a:extLst>
                  <a:ext uri="{FF2B5EF4-FFF2-40B4-BE49-F238E27FC236}">
                    <a16:creationId xmlns:a16="http://schemas.microsoft.com/office/drawing/2014/main" id="{94376F5A-F777-849A-8BD4-F26BE9615936}"/>
                  </a:ext>
                </a:extLst>
              </p:cNvPr>
              <p:cNvGrpSpPr/>
              <p:nvPr/>
            </p:nvGrpSpPr>
            <p:grpSpPr>
              <a:xfrm>
                <a:off x="8646943" y="2235054"/>
                <a:ext cx="1795595" cy="398186"/>
                <a:chOff x="5185119" y="2990687"/>
                <a:chExt cx="1246924" cy="262268"/>
              </a:xfrm>
            </p:grpSpPr>
            <p:sp>
              <p:nvSpPr>
                <p:cNvPr id="122" name="Rectangle: Rounded Corners 9">
                  <a:extLst>
                    <a:ext uri="{FF2B5EF4-FFF2-40B4-BE49-F238E27FC236}">
                      <a16:creationId xmlns:a16="http://schemas.microsoft.com/office/drawing/2014/main" id="{F5F39091-D802-7D8D-FE17-AC37297367C8}"/>
                    </a:ext>
                  </a:extLst>
                </p:cNvPr>
                <p:cNvSpPr/>
                <p:nvPr/>
              </p:nvSpPr>
              <p:spPr>
                <a:xfrm>
                  <a:off x="5185119" y="2990687"/>
                  <a:ext cx="1246924" cy="192730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31.4 (20.1—NR) </a:t>
                  </a:r>
                  <a:endParaRPr kumimoji="0" lang="en-US" sz="1600" b="1" i="0" u="none" strike="sng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3" name="Isosceles Triangle 10">
                  <a:extLst>
                    <a:ext uri="{FF2B5EF4-FFF2-40B4-BE49-F238E27FC236}">
                      <a16:creationId xmlns:a16="http://schemas.microsoft.com/office/drawing/2014/main" id="{C2C08EDA-2A11-65F5-ACB5-8A1A1E65E87F}"/>
                    </a:ext>
                  </a:extLst>
                </p:cNvPr>
                <p:cNvSpPr/>
                <p:nvPr/>
              </p:nvSpPr>
              <p:spPr>
                <a:xfrm rot="10800000">
                  <a:off x="5700756" y="3182649"/>
                  <a:ext cx="103586" cy="70306"/>
                </a:xfrm>
                <a:prstGeom prst="triangle">
                  <a:avLst/>
                </a:prstGeom>
                <a:solidFill>
                  <a:srgbClr val="009FBA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4" name="Group 123">
                <a:extLst>
                  <a:ext uri="{FF2B5EF4-FFF2-40B4-BE49-F238E27FC236}">
                    <a16:creationId xmlns:a16="http://schemas.microsoft.com/office/drawing/2014/main" id="{B5E376BF-87FB-E42B-90D8-24A9EFB4F08D}"/>
                  </a:ext>
                </a:extLst>
              </p:cNvPr>
              <p:cNvGrpSpPr/>
              <p:nvPr/>
            </p:nvGrpSpPr>
            <p:grpSpPr>
              <a:xfrm>
                <a:off x="7433568" y="3048280"/>
                <a:ext cx="2320573" cy="399291"/>
                <a:chOff x="2981427" y="2850532"/>
                <a:chExt cx="2320573" cy="399291"/>
              </a:xfrm>
            </p:grpSpPr>
            <p:sp>
              <p:nvSpPr>
                <p:cNvPr id="125" name="Rectangle: Rounded Corners 14">
                  <a:extLst>
                    <a:ext uri="{FF2B5EF4-FFF2-40B4-BE49-F238E27FC236}">
                      <a16:creationId xmlns:a16="http://schemas.microsoft.com/office/drawing/2014/main" id="{F6390B4E-E16B-9EF9-4262-86C455D440FC}"/>
                    </a:ext>
                  </a:extLst>
                </p:cNvPr>
                <p:cNvSpPr/>
                <p:nvPr/>
              </p:nvSpPr>
              <p:spPr>
                <a:xfrm>
                  <a:off x="2981427" y="2957215"/>
                  <a:ext cx="2320573" cy="292608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24.2 (11.9—42.3)</a:t>
                  </a:r>
                </a:p>
              </p:txBody>
            </p:sp>
            <p:sp>
              <p:nvSpPr>
                <p:cNvPr id="126" name="Isosceles Triangle 15">
                  <a:extLst>
                    <a:ext uri="{FF2B5EF4-FFF2-40B4-BE49-F238E27FC236}">
                      <a16:creationId xmlns:a16="http://schemas.microsoft.com/office/drawing/2014/main" id="{2E4C35CA-5F35-C159-08DF-5360424BEB67}"/>
                    </a:ext>
                  </a:extLst>
                </p:cNvPr>
                <p:cNvSpPr/>
                <p:nvPr/>
              </p:nvSpPr>
              <p:spPr>
                <a:xfrm>
                  <a:off x="4158688" y="2850532"/>
                  <a:ext cx="149166" cy="106741"/>
                </a:xfrm>
                <a:prstGeom prst="triangle">
                  <a:avLst/>
                </a:prstGeom>
                <a:solidFill>
                  <a:srgbClr val="138967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27" name="Group 126">
                <a:extLst>
                  <a:ext uri="{FF2B5EF4-FFF2-40B4-BE49-F238E27FC236}">
                    <a16:creationId xmlns:a16="http://schemas.microsoft.com/office/drawing/2014/main" id="{83175321-B31F-AB95-4182-094E1D191DD6}"/>
                  </a:ext>
                </a:extLst>
              </p:cNvPr>
              <p:cNvGrpSpPr/>
              <p:nvPr/>
            </p:nvGrpSpPr>
            <p:grpSpPr>
              <a:xfrm>
                <a:off x="9857702" y="1518148"/>
                <a:ext cx="1897343" cy="423312"/>
                <a:chOff x="5565713" y="3038967"/>
                <a:chExt cx="1317581" cy="278820"/>
              </a:xfrm>
            </p:grpSpPr>
            <p:sp>
              <p:nvSpPr>
                <p:cNvPr id="128" name="Rectangle: Rounded Corners 17">
                  <a:extLst>
                    <a:ext uri="{FF2B5EF4-FFF2-40B4-BE49-F238E27FC236}">
                      <a16:creationId xmlns:a16="http://schemas.microsoft.com/office/drawing/2014/main" id="{17461441-E316-A698-0CE2-D69CF93FAB68}"/>
                    </a:ext>
                  </a:extLst>
                </p:cNvPr>
                <p:cNvSpPr/>
                <p:nvPr/>
              </p:nvSpPr>
              <p:spPr>
                <a:xfrm>
                  <a:off x="5565713" y="3038967"/>
                  <a:ext cx="1317581" cy="192730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/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  <a:rtl val="0"/>
                    </a:rPr>
                    <a:t>NR (29.6</a:t>
                  </a: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—</a:t>
                  </a:r>
                  <a:r>
                    <a:rPr kumimoji="0" lang="en-US" sz="1600" b="1" i="0" u="none" strike="noStrike" kern="1200" cap="none" spc="0" normalizeH="0" baseline="0" noProof="0" dirty="0">
                      <a:ln/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  <a:rtl val="0"/>
                    </a:rPr>
                    <a:t>NR)</a:t>
                  </a:r>
                </a:p>
              </p:txBody>
            </p:sp>
            <p:sp>
              <p:nvSpPr>
                <p:cNvPr id="129" name="Isosceles Triangle 18">
                  <a:extLst>
                    <a:ext uri="{FF2B5EF4-FFF2-40B4-BE49-F238E27FC236}">
                      <a16:creationId xmlns:a16="http://schemas.microsoft.com/office/drawing/2014/main" id="{6B448900-48D9-9B65-24AE-3FB9068628DE}"/>
                    </a:ext>
                  </a:extLst>
                </p:cNvPr>
                <p:cNvSpPr/>
                <p:nvPr/>
              </p:nvSpPr>
              <p:spPr>
                <a:xfrm rot="10800000">
                  <a:off x="6489604" y="3247481"/>
                  <a:ext cx="103586" cy="70306"/>
                </a:xfrm>
                <a:prstGeom prst="triangle">
                  <a:avLst/>
                </a:prstGeom>
                <a:solidFill>
                  <a:srgbClr val="F3E4C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30" name="Group 129">
                <a:extLst>
                  <a:ext uri="{FF2B5EF4-FFF2-40B4-BE49-F238E27FC236}">
                    <a16:creationId xmlns:a16="http://schemas.microsoft.com/office/drawing/2014/main" id="{B4A020B9-2464-FFFC-ED90-AC66FCA9F991}"/>
                  </a:ext>
                </a:extLst>
              </p:cNvPr>
              <p:cNvGrpSpPr/>
              <p:nvPr/>
            </p:nvGrpSpPr>
            <p:grpSpPr>
              <a:xfrm>
                <a:off x="6387550" y="2574424"/>
                <a:ext cx="1402039" cy="398090"/>
                <a:chOff x="5935133" y="3855938"/>
                <a:chExt cx="973625" cy="262205"/>
              </a:xfrm>
            </p:grpSpPr>
            <p:sp>
              <p:nvSpPr>
                <p:cNvPr id="131" name="Isosceles Triangle 22">
                  <a:extLst>
                    <a:ext uri="{FF2B5EF4-FFF2-40B4-BE49-F238E27FC236}">
                      <a16:creationId xmlns:a16="http://schemas.microsoft.com/office/drawing/2014/main" id="{FC0803F5-B4E8-8FD3-AD39-7DD01A18BD04}"/>
                    </a:ext>
                  </a:extLst>
                </p:cNvPr>
                <p:cNvSpPr/>
                <p:nvPr/>
              </p:nvSpPr>
              <p:spPr>
                <a:xfrm rot="10800000">
                  <a:off x="5985491" y="4047837"/>
                  <a:ext cx="103586" cy="70306"/>
                </a:xfrm>
                <a:prstGeom prst="triangle">
                  <a:avLst/>
                </a:prstGeom>
                <a:solidFill>
                  <a:srgbClr val="BA4422">
                    <a:alpha val="20000"/>
                  </a:srgb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32" name="Rectangle: Rounded Corners 21">
                  <a:extLst>
                    <a:ext uri="{FF2B5EF4-FFF2-40B4-BE49-F238E27FC236}">
                      <a16:creationId xmlns:a16="http://schemas.microsoft.com/office/drawing/2014/main" id="{43C89EA6-9DC1-CBB7-A2A7-036BD98880D7}"/>
                    </a:ext>
                  </a:extLst>
                </p:cNvPr>
                <p:cNvSpPr/>
                <p:nvPr/>
              </p:nvSpPr>
              <p:spPr>
                <a:xfrm>
                  <a:off x="5935133" y="3855938"/>
                  <a:ext cx="973625" cy="192729"/>
                </a:xfrm>
                <a:prstGeom prst="round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0" bIns="0"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3.2 (0.8—NR)</a:t>
                  </a:r>
                </a:p>
              </p:txBody>
            </p:sp>
          </p:grpSp>
          <p:sp>
            <p:nvSpPr>
              <p:cNvPr id="133" name="TextBox 132">
                <a:extLst>
                  <a:ext uri="{FF2B5EF4-FFF2-40B4-BE49-F238E27FC236}">
                    <a16:creationId xmlns:a16="http://schemas.microsoft.com/office/drawing/2014/main" id="{36A21A27-EEE8-4DCC-9EA5-3E8FD4834A08}"/>
                  </a:ext>
                </a:extLst>
              </p:cNvPr>
              <p:cNvSpPr txBox="1"/>
              <p:nvPr/>
            </p:nvSpPr>
            <p:spPr>
              <a:xfrm>
                <a:off x="5600346" y="4136526"/>
                <a:ext cx="28405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B1512455-0536-AE97-14A2-8509717EEE0B}"/>
                  </a:ext>
                </a:extLst>
              </p:cNvPr>
              <p:cNvSpPr txBox="1"/>
              <p:nvPr/>
            </p:nvSpPr>
            <p:spPr>
              <a:xfrm>
                <a:off x="5500960" y="3833273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135" name="TextBox 134">
                <a:extLst>
                  <a:ext uri="{FF2B5EF4-FFF2-40B4-BE49-F238E27FC236}">
                    <a16:creationId xmlns:a16="http://schemas.microsoft.com/office/drawing/2014/main" id="{B62F26B5-45D0-3A29-4D4B-63A9FB95CD62}"/>
                  </a:ext>
                </a:extLst>
              </p:cNvPr>
              <p:cNvSpPr txBox="1"/>
              <p:nvPr/>
            </p:nvSpPr>
            <p:spPr>
              <a:xfrm>
                <a:off x="5500960" y="3530021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136" name="TextBox 135">
                <a:extLst>
                  <a:ext uri="{FF2B5EF4-FFF2-40B4-BE49-F238E27FC236}">
                    <a16:creationId xmlns:a16="http://schemas.microsoft.com/office/drawing/2014/main" id="{6316E59A-FFDB-6991-0EDE-9382EEEE92BA}"/>
                  </a:ext>
                </a:extLst>
              </p:cNvPr>
              <p:cNvSpPr txBox="1"/>
              <p:nvPr/>
            </p:nvSpPr>
            <p:spPr>
              <a:xfrm>
                <a:off x="5500960" y="3226769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1E49C605-E2E1-057E-05E7-62FDE5B8D929}"/>
                  </a:ext>
                </a:extLst>
              </p:cNvPr>
              <p:cNvSpPr txBox="1"/>
              <p:nvPr/>
            </p:nvSpPr>
            <p:spPr>
              <a:xfrm>
                <a:off x="5500960" y="2923516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138" name="TextBox 137">
                <a:extLst>
                  <a:ext uri="{FF2B5EF4-FFF2-40B4-BE49-F238E27FC236}">
                    <a16:creationId xmlns:a16="http://schemas.microsoft.com/office/drawing/2014/main" id="{A03FB03F-8AD6-60DF-8781-30535687CE6F}"/>
                  </a:ext>
                </a:extLst>
              </p:cNvPr>
              <p:cNvSpPr txBox="1"/>
              <p:nvPr/>
            </p:nvSpPr>
            <p:spPr>
              <a:xfrm>
                <a:off x="5500960" y="2620265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50</a:t>
                </a:r>
              </a:p>
            </p:txBody>
          </p:sp>
          <p:sp>
            <p:nvSpPr>
              <p:cNvPr id="139" name="TextBox 138">
                <a:extLst>
                  <a:ext uri="{FF2B5EF4-FFF2-40B4-BE49-F238E27FC236}">
                    <a16:creationId xmlns:a16="http://schemas.microsoft.com/office/drawing/2014/main" id="{82B740EA-E9C3-EE48-8A28-A5D4C6A30399}"/>
                  </a:ext>
                </a:extLst>
              </p:cNvPr>
              <p:cNvSpPr txBox="1"/>
              <p:nvPr/>
            </p:nvSpPr>
            <p:spPr>
              <a:xfrm>
                <a:off x="5500960" y="2317013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60</a:t>
                </a:r>
              </a:p>
            </p:txBody>
          </p:sp>
          <p:sp>
            <p:nvSpPr>
              <p:cNvPr id="140" name="TextBox 139">
                <a:extLst>
                  <a:ext uri="{FF2B5EF4-FFF2-40B4-BE49-F238E27FC236}">
                    <a16:creationId xmlns:a16="http://schemas.microsoft.com/office/drawing/2014/main" id="{1EEE2BE1-0F6C-A643-D375-592478142E94}"/>
                  </a:ext>
                </a:extLst>
              </p:cNvPr>
              <p:cNvSpPr txBox="1"/>
              <p:nvPr/>
            </p:nvSpPr>
            <p:spPr>
              <a:xfrm>
                <a:off x="5500960" y="2013761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70</a:t>
                </a:r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3A44FA58-D4A5-50BD-21F6-ACECF238D7B0}"/>
                  </a:ext>
                </a:extLst>
              </p:cNvPr>
              <p:cNvSpPr txBox="1"/>
              <p:nvPr/>
            </p:nvSpPr>
            <p:spPr>
              <a:xfrm>
                <a:off x="5500960" y="1710508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80</a:t>
                </a:r>
              </a:p>
            </p:txBody>
          </p:sp>
          <p:sp>
            <p:nvSpPr>
              <p:cNvPr id="142" name="TextBox 141">
                <a:extLst>
                  <a:ext uri="{FF2B5EF4-FFF2-40B4-BE49-F238E27FC236}">
                    <a16:creationId xmlns:a16="http://schemas.microsoft.com/office/drawing/2014/main" id="{75F8FEDE-13B5-2171-1DB7-953E7C2E09A4}"/>
                  </a:ext>
                </a:extLst>
              </p:cNvPr>
              <p:cNvSpPr txBox="1"/>
              <p:nvPr/>
            </p:nvSpPr>
            <p:spPr>
              <a:xfrm>
                <a:off x="5500960" y="1407257"/>
                <a:ext cx="383438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0</a:t>
                </a:r>
              </a:p>
            </p:txBody>
          </p:sp>
          <p:sp>
            <p:nvSpPr>
              <p:cNvPr id="143" name="TextBox 142">
                <a:extLst>
                  <a:ext uri="{FF2B5EF4-FFF2-40B4-BE49-F238E27FC236}">
                    <a16:creationId xmlns:a16="http://schemas.microsoft.com/office/drawing/2014/main" id="{5EC07C4A-FA18-58CD-C304-F2DBC47A5D1C}"/>
                  </a:ext>
                </a:extLst>
              </p:cNvPr>
              <p:cNvSpPr txBox="1"/>
              <p:nvPr/>
            </p:nvSpPr>
            <p:spPr>
              <a:xfrm>
                <a:off x="5401573" y="1104005"/>
                <a:ext cx="482825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00</a:t>
                </a:r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193BE2C3-09EF-634F-27A0-A40A42B65725}"/>
                  </a:ext>
                </a:extLst>
              </p:cNvPr>
              <p:cNvSpPr txBox="1"/>
              <p:nvPr/>
            </p:nvSpPr>
            <p:spPr>
              <a:xfrm>
                <a:off x="11160243" y="4563069"/>
                <a:ext cx="198772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/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sym typeface="Arial"/>
                    <a:rtl val="0"/>
                  </a:rPr>
                  <a:t>48</a:t>
                </a:r>
              </a:p>
            </p:txBody>
          </p:sp>
          <p:grpSp>
            <p:nvGrpSpPr>
              <p:cNvPr id="147" name="Group 146">
                <a:extLst>
                  <a:ext uri="{FF2B5EF4-FFF2-40B4-BE49-F238E27FC236}">
                    <a16:creationId xmlns:a16="http://schemas.microsoft.com/office/drawing/2014/main" id="{F8080264-F9E1-4764-58C5-7BA88ADF09A0}"/>
                  </a:ext>
                </a:extLst>
              </p:cNvPr>
              <p:cNvGrpSpPr/>
              <p:nvPr/>
            </p:nvGrpSpPr>
            <p:grpSpPr>
              <a:xfrm>
                <a:off x="7682449" y="1344516"/>
                <a:ext cx="3648452" cy="723687"/>
                <a:chOff x="3206608" y="1757031"/>
                <a:chExt cx="3648452" cy="723687"/>
              </a:xfrm>
            </p:grpSpPr>
            <p:sp>
              <p:nvSpPr>
                <p:cNvPr id="148" name="Rectangle 147">
                  <a:extLst>
                    <a:ext uri="{FF2B5EF4-FFF2-40B4-BE49-F238E27FC236}">
                      <a16:creationId xmlns:a16="http://schemas.microsoft.com/office/drawing/2014/main" id="{1AFB7B1F-D120-E7F1-D9D4-0D357C6BF650}"/>
                    </a:ext>
                  </a:extLst>
                </p:cNvPr>
                <p:cNvSpPr/>
                <p:nvPr/>
              </p:nvSpPr>
              <p:spPr>
                <a:xfrm>
                  <a:off x="3247754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49" name="Rectangle 148">
                  <a:extLst>
                    <a:ext uri="{FF2B5EF4-FFF2-40B4-BE49-F238E27FC236}">
                      <a16:creationId xmlns:a16="http://schemas.microsoft.com/office/drawing/2014/main" id="{21BC5E6D-588A-3A55-954E-8CA1EE824EAF}"/>
                    </a:ext>
                  </a:extLst>
                </p:cNvPr>
                <p:cNvSpPr/>
                <p:nvPr/>
              </p:nvSpPr>
              <p:spPr>
                <a:xfrm>
                  <a:off x="3311626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0" name="Rectangle 149">
                  <a:extLst>
                    <a:ext uri="{FF2B5EF4-FFF2-40B4-BE49-F238E27FC236}">
                      <a16:creationId xmlns:a16="http://schemas.microsoft.com/office/drawing/2014/main" id="{277370CA-D93C-5ACC-C9D5-69AF300509F6}"/>
                    </a:ext>
                  </a:extLst>
                </p:cNvPr>
                <p:cNvSpPr/>
                <p:nvPr/>
              </p:nvSpPr>
              <p:spPr>
                <a:xfrm>
                  <a:off x="3531999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1" name="Rectangle 150">
                  <a:extLst>
                    <a:ext uri="{FF2B5EF4-FFF2-40B4-BE49-F238E27FC236}">
                      <a16:creationId xmlns:a16="http://schemas.microsoft.com/office/drawing/2014/main" id="{16425AE1-BD22-3B2C-6914-C1A1352400B1}"/>
                    </a:ext>
                  </a:extLst>
                </p:cNvPr>
                <p:cNvSpPr/>
                <p:nvPr/>
              </p:nvSpPr>
              <p:spPr>
                <a:xfrm>
                  <a:off x="3615720" y="175703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2" name="Rectangle 151">
                  <a:extLst>
                    <a:ext uri="{FF2B5EF4-FFF2-40B4-BE49-F238E27FC236}">
                      <a16:creationId xmlns:a16="http://schemas.microsoft.com/office/drawing/2014/main" id="{BC52784D-16D5-77C2-4AA4-7F3391CF50B8}"/>
                    </a:ext>
                  </a:extLst>
                </p:cNvPr>
                <p:cNvSpPr/>
                <p:nvPr/>
              </p:nvSpPr>
              <p:spPr>
                <a:xfrm>
                  <a:off x="3949970" y="208819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3" name="Rectangle 152">
                  <a:extLst>
                    <a:ext uri="{FF2B5EF4-FFF2-40B4-BE49-F238E27FC236}">
                      <a16:creationId xmlns:a16="http://schemas.microsoft.com/office/drawing/2014/main" id="{691E48F4-C04A-39D9-F2FA-6B6F4EEE3CAD}"/>
                    </a:ext>
                  </a:extLst>
                </p:cNvPr>
                <p:cNvSpPr/>
                <p:nvPr/>
              </p:nvSpPr>
              <p:spPr>
                <a:xfrm>
                  <a:off x="4153548" y="208819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4" name="Rectangle 153">
                  <a:extLst>
                    <a:ext uri="{FF2B5EF4-FFF2-40B4-BE49-F238E27FC236}">
                      <a16:creationId xmlns:a16="http://schemas.microsoft.com/office/drawing/2014/main" id="{A5777C65-D173-9349-5B74-AFF4AFDFFC92}"/>
                    </a:ext>
                  </a:extLst>
                </p:cNvPr>
                <p:cNvSpPr/>
                <p:nvPr/>
              </p:nvSpPr>
              <p:spPr>
                <a:xfrm>
                  <a:off x="4194645" y="208819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5" name="Rectangle 154">
                  <a:extLst>
                    <a:ext uri="{FF2B5EF4-FFF2-40B4-BE49-F238E27FC236}">
                      <a16:creationId xmlns:a16="http://schemas.microsoft.com/office/drawing/2014/main" id="{73DBA97E-F16B-03F3-1735-604227CF095A}"/>
                    </a:ext>
                  </a:extLst>
                </p:cNvPr>
                <p:cNvSpPr/>
                <p:nvPr/>
              </p:nvSpPr>
              <p:spPr>
                <a:xfrm>
                  <a:off x="4820901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6" name="Rectangle 155">
                  <a:extLst>
                    <a:ext uri="{FF2B5EF4-FFF2-40B4-BE49-F238E27FC236}">
                      <a16:creationId xmlns:a16="http://schemas.microsoft.com/office/drawing/2014/main" id="{05C4E06E-1A36-9558-2202-869E140E80CE}"/>
                    </a:ext>
                  </a:extLst>
                </p:cNvPr>
                <p:cNvSpPr/>
                <p:nvPr/>
              </p:nvSpPr>
              <p:spPr>
                <a:xfrm>
                  <a:off x="4970149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7" name="Rectangle 156">
                  <a:extLst>
                    <a:ext uri="{FF2B5EF4-FFF2-40B4-BE49-F238E27FC236}">
                      <a16:creationId xmlns:a16="http://schemas.microsoft.com/office/drawing/2014/main" id="{D5B49439-3942-050A-8B26-0BE811AED33A}"/>
                    </a:ext>
                  </a:extLst>
                </p:cNvPr>
                <p:cNvSpPr/>
                <p:nvPr/>
              </p:nvSpPr>
              <p:spPr>
                <a:xfrm>
                  <a:off x="5431380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8" name="Rectangle 157">
                  <a:extLst>
                    <a:ext uri="{FF2B5EF4-FFF2-40B4-BE49-F238E27FC236}">
                      <a16:creationId xmlns:a16="http://schemas.microsoft.com/office/drawing/2014/main" id="{AC98C1F2-8125-9C1D-5D0F-4D94A116A3A6}"/>
                    </a:ext>
                  </a:extLst>
                </p:cNvPr>
                <p:cNvSpPr/>
                <p:nvPr/>
              </p:nvSpPr>
              <p:spPr>
                <a:xfrm>
                  <a:off x="5524771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59" name="Rectangle 158">
                  <a:extLst>
                    <a:ext uri="{FF2B5EF4-FFF2-40B4-BE49-F238E27FC236}">
                      <a16:creationId xmlns:a16="http://schemas.microsoft.com/office/drawing/2014/main" id="{BD36FD3F-DA8B-0C2D-E123-402D6FFE7C67}"/>
                    </a:ext>
                  </a:extLst>
                </p:cNvPr>
                <p:cNvSpPr/>
                <p:nvPr/>
              </p:nvSpPr>
              <p:spPr>
                <a:xfrm>
                  <a:off x="6226351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0" name="Rectangle 159">
                  <a:extLst>
                    <a:ext uri="{FF2B5EF4-FFF2-40B4-BE49-F238E27FC236}">
                      <a16:creationId xmlns:a16="http://schemas.microsoft.com/office/drawing/2014/main" id="{D24232B6-60F8-87F1-2910-19FDFA66E43F}"/>
                    </a:ext>
                  </a:extLst>
                </p:cNvPr>
                <p:cNvSpPr/>
                <p:nvPr/>
              </p:nvSpPr>
              <p:spPr>
                <a:xfrm>
                  <a:off x="6770286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1" name="Rectangle 160">
                  <a:extLst>
                    <a:ext uri="{FF2B5EF4-FFF2-40B4-BE49-F238E27FC236}">
                      <a16:creationId xmlns:a16="http://schemas.microsoft.com/office/drawing/2014/main" id="{FD52B5CE-992D-3049-0A42-F7AF08F878CD}"/>
                    </a:ext>
                  </a:extLst>
                </p:cNvPr>
                <p:cNvSpPr/>
                <p:nvPr/>
              </p:nvSpPr>
              <p:spPr>
                <a:xfrm>
                  <a:off x="6804766" y="238927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2" name="Rectangle 161">
                  <a:extLst>
                    <a:ext uri="{FF2B5EF4-FFF2-40B4-BE49-F238E27FC236}">
                      <a16:creationId xmlns:a16="http://schemas.microsoft.com/office/drawing/2014/main" id="{7100623D-5F47-EFD2-8FCE-E1A7FC63A78E}"/>
                    </a:ext>
                  </a:extLst>
                </p:cNvPr>
                <p:cNvSpPr/>
                <p:nvPr/>
              </p:nvSpPr>
              <p:spPr>
                <a:xfrm rot="5400000">
                  <a:off x="3247754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3" name="Rectangle 162">
                  <a:extLst>
                    <a:ext uri="{FF2B5EF4-FFF2-40B4-BE49-F238E27FC236}">
                      <a16:creationId xmlns:a16="http://schemas.microsoft.com/office/drawing/2014/main" id="{A3B31614-4A23-4E6C-7088-435B24A07865}"/>
                    </a:ext>
                  </a:extLst>
                </p:cNvPr>
                <p:cNvSpPr/>
                <p:nvPr/>
              </p:nvSpPr>
              <p:spPr>
                <a:xfrm rot="5400000">
                  <a:off x="3311626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4" name="Rectangle 163">
                  <a:extLst>
                    <a:ext uri="{FF2B5EF4-FFF2-40B4-BE49-F238E27FC236}">
                      <a16:creationId xmlns:a16="http://schemas.microsoft.com/office/drawing/2014/main" id="{C67FE0BC-17F6-C65F-8B91-003A745E788E}"/>
                    </a:ext>
                  </a:extLst>
                </p:cNvPr>
                <p:cNvSpPr/>
                <p:nvPr/>
              </p:nvSpPr>
              <p:spPr>
                <a:xfrm rot="5400000">
                  <a:off x="3531999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5" name="Rectangle 164">
                  <a:extLst>
                    <a:ext uri="{FF2B5EF4-FFF2-40B4-BE49-F238E27FC236}">
                      <a16:creationId xmlns:a16="http://schemas.microsoft.com/office/drawing/2014/main" id="{A3780E08-E9F2-206A-C337-C036E3ECBDDD}"/>
                    </a:ext>
                  </a:extLst>
                </p:cNvPr>
                <p:cNvSpPr/>
                <p:nvPr/>
              </p:nvSpPr>
              <p:spPr>
                <a:xfrm rot="5400000">
                  <a:off x="3615720" y="1762111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6" name="Rectangle 165">
                  <a:extLst>
                    <a:ext uri="{FF2B5EF4-FFF2-40B4-BE49-F238E27FC236}">
                      <a16:creationId xmlns:a16="http://schemas.microsoft.com/office/drawing/2014/main" id="{894E20E8-22BE-9FFA-9789-248F80EF2845}"/>
                    </a:ext>
                  </a:extLst>
                </p:cNvPr>
                <p:cNvSpPr/>
                <p:nvPr/>
              </p:nvSpPr>
              <p:spPr>
                <a:xfrm rot="5400000">
                  <a:off x="3949970" y="209327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7" name="Rectangle 166">
                  <a:extLst>
                    <a:ext uri="{FF2B5EF4-FFF2-40B4-BE49-F238E27FC236}">
                      <a16:creationId xmlns:a16="http://schemas.microsoft.com/office/drawing/2014/main" id="{904120E3-42E7-ED19-24F9-B968613F6A7C}"/>
                    </a:ext>
                  </a:extLst>
                </p:cNvPr>
                <p:cNvSpPr/>
                <p:nvPr/>
              </p:nvSpPr>
              <p:spPr>
                <a:xfrm rot="5400000">
                  <a:off x="4153548" y="209327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8" name="Rectangle 167">
                  <a:extLst>
                    <a:ext uri="{FF2B5EF4-FFF2-40B4-BE49-F238E27FC236}">
                      <a16:creationId xmlns:a16="http://schemas.microsoft.com/office/drawing/2014/main" id="{D53A52FF-7318-90C1-11F2-D0B3E98413B8}"/>
                    </a:ext>
                  </a:extLst>
                </p:cNvPr>
                <p:cNvSpPr/>
                <p:nvPr/>
              </p:nvSpPr>
              <p:spPr>
                <a:xfrm rot="5400000">
                  <a:off x="4194645" y="2093270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69" name="Rectangle 168">
                  <a:extLst>
                    <a:ext uri="{FF2B5EF4-FFF2-40B4-BE49-F238E27FC236}">
                      <a16:creationId xmlns:a16="http://schemas.microsoft.com/office/drawing/2014/main" id="{D3A00B44-6689-5048-F5DA-EA7ED4E6746E}"/>
                    </a:ext>
                  </a:extLst>
                </p:cNvPr>
                <p:cNvSpPr/>
                <p:nvPr/>
              </p:nvSpPr>
              <p:spPr>
                <a:xfrm rot="5400000">
                  <a:off x="4820901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0" name="Rectangle 169">
                  <a:extLst>
                    <a:ext uri="{FF2B5EF4-FFF2-40B4-BE49-F238E27FC236}">
                      <a16:creationId xmlns:a16="http://schemas.microsoft.com/office/drawing/2014/main" id="{F462DF31-C890-8C12-3E9A-C0D4A40BE970}"/>
                    </a:ext>
                  </a:extLst>
                </p:cNvPr>
                <p:cNvSpPr/>
                <p:nvPr/>
              </p:nvSpPr>
              <p:spPr>
                <a:xfrm rot="5400000">
                  <a:off x="4970149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1" name="Rectangle 170">
                  <a:extLst>
                    <a:ext uri="{FF2B5EF4-FFF2-40B4-BE49-F238E27FC236}">
                      <a16:creationId xmlns:a16="http://schemas.microsoft.com/office/drawing/2014/main" id="{36965AD8-AC9D-12A4-816E-A07CC382AF8C}"/>
                    </a:ext>
                  </a:extLst>
                </p:cNvPr>
                <p:cNvSpPr/>
                <p:nvPr/>
              </p:nvSpPr>
              <p:spPr>
                <a:xfrm rot="5400000">
                  <a:off x="5431380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2" name="Rectangle 171">
                  <a:extLst>
                    <a:ext uri="{FF2B5EF4-FFF2-40B4-BE49-F238E27FC236}">
                      <a16:creationId xmlns:a16="http://schemas.microsoft.com/office/drawing/2014/main" id="{022C75AD-CF8B-E115-7935-EA30999D062F}"/>
                    </a:ext>
                  </a:extLst>
                </p:cNvPr>
                <p:cNvSpPr/>
                <p:nvPr/>
              </p:nvSpPr>
              <p:spPr>
                <a:xfrm rot="5400000">
                  <a:off x="5524771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3" name="Rectangle 172">
                  <a:extLst>
                    <a:ext uri="{FF2B5EF4-FFF2-40B4-BE49-F238E27FC236}">
                      <a16:creationId xmlns:a16="http://schemas.microsoft.com/office/drawing/2014/main" id="{D8A17672-159F-1328-52B1-106EF6584BB9}"/>
                    </a:ext>
                  </a:extLst>
                </p:cNvPr>
                <p:cNvSpPr/>
                <p:nvPr/>
              </p:nvSpPr>
              <p:spPr>
                <a:xfrm rot="5400000">
                  <a:off x="6226351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4" name="Rectangle 173">
                  <a:extLst>
                    <a:ext uri="{FF2B5EF4-FFF2-40B4-BE49-F238E27FC236}">
                      <a16:creationId xmlns:a16="http://schemas.microsoft.com/office/drawing/2014/main" id="{83AF3F90-ED9D-2FBC-F3AD-8D7E69E336C1}"/>
                    </a:ext>
                  </a:extLst>
                </p:cNvPr>
                <p:cNvSpPr/>
                <p:nvPr/>
              </p:nvSpPr>
              <p:spPr>
                <a:xfrm rot="5400000">
                  <a:off x="6770286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5" name="Rectangle 174">
                  <a:extLst>
                    <a:ext uri="{FF2B5EF4-FFF2-40B4-BE49-F238E27FC236}">
                      <a16:creationId xmlns:a16="http://schemas.microsoft.com/office/drawing/2014/main" id="{EF872CB5-92C9-4269-4584-242E5AF1AA1B}"/>
                    </a:ext>
                  </a:extLst>
                </p:cNvPr>
                <p:cNvSpPr/>
                <p:nvPr/>
              </p:nvSpPr>
              <p:spPr>
                <a:xfrm rot="5400000">
                  <a:off x="6804766" y="2394358"/>
                  <a:ext cx="9148" cy="91440"/>
                </a:xfrm>
                <a:prstGeom prst="rect">
                  <a:avLst/>
                </a:prstGeom>
                <a:solidFill>
                  <a:srgbClr val="C37900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176" name="Group 175">
                <a:extLst>
                  <a:ext uri="{FF2B5EF4-FFF2-40B4-BE49-F238E27FC236}">
                    <a16:creationId xmlns:a16="http://schemas.microsoft.com/office/drawing/2014/main" id="{3E1CD79A-1C7B-B23B-CF70-BD2EE3138FF4}"/>
                  </a:ext>
                </a:extLst>
              </p:cNvPr>
              <p:cNvGrpSpPr/>
              <p:nvPr/>
            </p:nvGrpSpPr>
            <p:grpSpPr>
              <a:xfrm>
                <a:off x="6376797" y="1462402"/>
                <a:ext cx="4946902" cy="1705365"/>
                <a:chOff x="1900956" y="1874917"/>
                <a:chExt cx="4946902" cy="1705365"/>
              </a:xfrm>
            </p:grpSpPr>
            <p:sp>
              <p:nvSpPr>
                <p:cNvPr id="177" name="Freeform 1270">
                  <a:extLst>
                    <a:ext uri="{FF2B5EF4-FFF2-40B4-BE49-F238E27FC236}">
                      <a16:creationId xmlns:a16="http://schemas.microsoft.com/office/drawing/2014/main" id="{AB95FFDC-254F-0D5F-6A30-80BB2EECCA9C}"/>
                    </a:ext>
                  </a:extLst>
                </p:cNvPr>
                <p:cNvSpPr/>
                <p:nvPr/>
              </p:nvSpPr>
              <p:spPr>
                <a:xfrm>
                  <a:off x="1942103" y="187491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8" name="Freeform 1271">
                  <a:extLst>
                    <a:ext uri="{FF2B5EF4-FFF2-40B4-BE49-F238E27FC236}">
                      <a16:creationId xmlns:a16="http://schemas.microsoft.com/office/drawing/2014/main" id="{C0ABBEB6-9694-75C3-2C24-A67040140CBA}"/>
                    </a:ext>
                  </a:extLst>
                </p:cNvPr>
                <p:cNvSpPr/>
                <p:nvPr/>
              </p:nvSpPr>
              <p:spPr>
                <a:xfrm>
                  <a:off x="2580601" y="226786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79" name="Freeform 1272">
                  <a:extLst>
                    <a:ext uri="{FF2B5EF4-FFF2-40B4-BE49-F238E27FC236}">
                      <a16:creationId xmlns:a16="http://schemas.microsoft.com/office/drawing/2014/main" id="{6532C13B-9636-1CBA-CBB7-7724925EC474}"/>
                    </a:ext>
                  </a:extLst>
                </p:cNvPr>
                <p:cNvSpPr/>
                <p:nvPr/>
              </p:nvSpPr>
              <p:spPr>
                <a:xfrm>
                  <a:off x="3186405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0" name="Freeform 1273">
                  <a:extLst>
                    <a:ext uri="{FF2B5EF4-FFF2-40B4-BE49-F238E27FC236}">
                      <a16:creationId xmlns:a16="http://schemas.microsoft.com/office/drawing/2014/main" id="{64E34837-0B59-6F9C-D27E-253B53C0F794}"/>
                    </a:ext>
                  </a:extLst>
                </p:cNvPr>
                <p:cNvSpPr/>
                <p:nvPr/>
              </p:nvSpPr>
              <p:spPr>
                <a:xfrm>
                  <a:off x="3250140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1" name="Freeform 1274">
                  <a:extLst>
                    <a:ext uri="{FF2B5EF4-FFF2-40B4-BE49-F238E27FC236}">
                      <a16:creationId xmlns:a16="http://schemas.microsoft.com/office/drawing/2014/main" id="{662F82C7-F451-C687-5A0F-7A4C91529FB4}"/>
                    </a:ext>
                  </a:extLst>
                </p:cNvPr>
                <p:cNvSpPr/>
                <p:nvPr/>
              </p:nvSpPr>
              <p:spPr>
                <a:xfrm>
                  <a:off x="3313748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2" name="Freeform 1275">
                  <a:extLst>
                    <a:ext uri="{FF2B5EF4-FFF2-40B4-BE49-F238E27FC236}">
                      <a16:creationId xmlns:a16="http://schemas.microsoft.com/office/drawing/2014/main" id="{4535A586-58C2-F8E7-3A05-5C1259016A1B}"/>
                    </a:ext>
                  </a:extLst>
                </p:cNvPr>
                <p:cNvSpPr/>
                <p:nvPr/>
              </p:nvSpPr>
              <p:spPr>
                <a:xfrm>
                  <a:off x="3479766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3" name="Freeform 1276">
                  <a:extLst>
                    <a:ext uri="{FF2B5EF4-FFF2-40B4-BE49-F238E27FC236}">
                      <a16:creationId xmlns:a16="http://schemas.microsoft.com/office/drawing/2014/main" id="{2D56B240-C7F2-0674-F3DB-D5D775172081}"/>
                    </a:ext>
                  </a:extLst>
                </p:cNvPr>
                <p:cNvSpPr/>
                <p:nvPr/>
              </p:nvSpPr>
              <p:spPr>
                <a:xfrm>
                  <a:off x="3506099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4" name="Freeform 1277">
                  <a:extLst>
                    <a:ext uri="{FF2B5EF4-FFF2-40B4-BE49-F238E27FC236}">
                      <a16:creationId xmlns:a16="http://schemas.microsoft.com/office/drawing/2014/main" id="{38EA08DD-A468-E39C-3075-55F3D22C2BF6}"/>
                    </a:ext>
                  </a:extLst>
                </p:cNvPr>
                <p:cNvSpPr/>
                <p:nvPr/>
              </p:nvSpPr>
              <p:spPr>
                <a:xfrm>
                  <a:off x="353370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5" name="Freeform 1278">
                  <a:extLst>
                    <a:ext uri="{FF2B5EF4-FFF2-40B4-BE49-F238E27FC236}">
                      <a16:creationId xmlns:a16="http://schemas.microsoft.com/office/drawing/2014/main" id="{9FAFA6EC-8691-0C23-48B8-E54AC472F49A}"/>
                    </a:ext>
                  </a:extLst>
                </p:cNvPr>
                <p:cNvSpPr/>
                <p:nvPr/>
              </p:nvSpPr>
              <p:spPr>
                <a:xfrm>
                  <a:off x="361461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6" name="Freeform 1279">
                  <a:extLst>
                    <a:ext uri="{FF2B5EF4-FFF2-40B4-BE49-F238E27FC236}">
                      <a16:creationId xmlns:a16="http://schemas.microsoft.com/office/drawing/2014/main" id="{768D27A3-3118-447B-8382-8FE01065959B}"/>
                    </a:ext>
                  </a:extLst>
                </p:cNvPr>
                <p:cNvSpPr/>
                <p:nvPr/>
              </p:nvSpPr>
              <p:spPr>
                <a:xfrm>
                  <a:off x="395148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7" name="Freeform 1280">
                  <a:extLst>
                    <a:ext uri="{FF2B5EF4-FFF2-40B4-BE49-F238E27FC236}">
                      <a16:creationId xmlns:a16="http://schemas.microsoft.com/office/drawing/2014/main" id="{75B288F7-20B6-5D60-D91F-01BF775CABD6}"/>
                    </a:ext>
                  </a:extLst>
                </p:cNvPr>
                <p:cNvSpPr/>
                <p:nvPr/>
              </p:nvSpPr>
              <p:spPr>
                <a:xfrm>
                  <a:off x="4157446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8" name="Freeform 1281">
                  <a:extLst>
                    <a:ext uri="{FF2B5EF4-FFF2-40B4-BE49-F238E27FC236}">
                      <a16:creationId xmlns:a16="http://schemas.microsoft.com/office/drawing/2014/main" id="{2C56AD79-01D5-A729-0339-6FCEFB60C059}"/>
                    </a:ext>
                  </a:extLst>
                </p:cNvPr>
                <p:cNvSpPr/>
                <p:nvPr/>
              </p:nvSpPr>
              <p:spPr>
                <a:xfrm>
                  <a:off x="418365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89" name="Freeform 1282">
                  <a:extLst>
                    <a:ext uri="{FF2B5EF4-FFF2-40B4-BE49-F238E27FC236}">
                      <a16:creationId xmlns:a16="http://schemas.microsoft.com/office/drawing/2014/main" id="{C16789E3-BE7B-372B-BB19-9E1874491B66}"/>
                    </a:ext>
                  </a:extLst>
                </p:cNvPr>
                <p:cNvSpPr/>
                <p:nvPr/>
              </p:nvSpPr>
              <p:spPr>
                <a:xfrm>
                  <a:off x="4202099" y="294579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0" name="Freeform 1283">
                  <a:extLst>
                    <a:ext uri="{FF2B5EF4-FFF2-40B4-BE49-F238E27FC236}">
                      <a16:creationId xmlns:a16="http://schemas.microsoft.com/office/drawing/2014/main" id="{E57F93D9-E49F-B8CB-E303-83CDFAA87DB0}"/>
                    </a:ext>
                  </a:extLst>
                </p:cNvPr>
                <p:cNvSpPr/>
                <p:nvPr/>
              </p:nvSpPr>
              <p:spPr>
                <a:xfrm>
                  <a:off x="482202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1" name="Freeform 1284">
                  <a:extLst>
                    <a:ext uri="{FF2B5EF4-FFF2-40B4-BE49-F238E27FC236}">
                      <a16:creationId xmlns:a16="http://schemas.microsoft.com/office/drawing/2014/main" id="{81E59A4C-8CAE-5CEB-BDDF-C6943A847095}"/>
                    </a:ext>
                  </a:extLst>
                </p:cNvPr>
                <p:cNvSpPr/>
                <p:nvPr/>
              </p:nvSpPr>
              <p:spPr>
                <a:xfrm>
                  <a:off x="4871129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2" name="Freeform 1285">
                  <a:extLst>
                    <a:ext uri="{FF2B5EF4-FFF2-40B4-BE49-F238E27FC236}">
                      <a16:creationId xmlns:a16="http://schemas.microsoft.com/office/drawing/2014/main" id="{59B54480-937D-CBA5-E8A6-CEEF16CB00AD}"/>
                    </a:ext>
                  </a:extLst>
                </p:cNvPr>
                <p:cNvSpPr/>
                <p:nvPr/>
              </p:nvSpPr>
              <p:spPr>
                <a:xfrm>
                  <a:off x="497188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3" name="Freeform 1286">
                  <a:extLst>
                    <a:ext uri="{FF2B5EF4-FFF2-40B4-BE49-F238E27FC236}">
                      <a16:creationId xmlns:a16="http://schemas.microsoft.com/office/drawing/2014/main" id="{4E7676AF-3B22-A493-DEC3-5A825CC27071}"/>
                    </a:ext>
                  </a:extLst>
                </p:cNvPr>
                <p:cNvSpPr/>
                <p:nvPr/>
              </p:nvSpPr>
              <p:spPr>
                <a:xfrm>
                  <a:off x="5428081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4" name="Freeform 1287">
                  <a:extLst>
                    <a:ext uri="{FF2B5EF4-FFF2-40B4-BE49-F238E27FC236}">
                      <a16:creationId xmlns:a16="http://schemas.microsoft.com/office/drawing/2014/main" id="{F4D2DA6F-C9C7-C453-288C-A86208526742}"/>
                    </a:ext>
                  </a:extLst>
                </p:cNvPr>
                <p:cNvSpPr/>
                <p:nvPr/>
              </p:nvSpPr>
              <p:spPr>
                <a:xfrm>
                  <a:off x="5526802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5" name="Freeform 1288">
                  <a:extLst>
                    <a:ext uri="{FF2B5EF4-FFF2-40B4-BE49-F238E27FC236}">
                      <a16:creationId xmlns:a16="http://schemas.microsoft.com/office/drawing/2014/main" id="{6788EE5A-AD8E-4D6F-DC1D-D95F134E7C13}"/>
                    </a:ext>
                  </a:extLst>
                </p:cNvPr>
                <p:cNvSpPr/>
                <p:nvPr/>
              </p:nvSpPr>
              <p:spPr>
                <a:xfrm>
                  <a:off x="5565475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6" name="Freeform 1289">
                  <a:extLst>
                    <a:ext uri="{FF2B5EF4-FFF2-40B4-BE49-F238E27FC236}">
                      <a16:creationId xmlns:a16="http://schemas.microsoft.com/office/drawing/2014/main" id="{33D8CED3-36A4-E4A4-C66B-97D24EB3FD11}"/>
                    </a:ext>
                  </a:extLst>
                </p:cNvPr>
                <p:cNvSpPr/>
                <p:nvPr/>
              </p:nvSpPr>
              <p:spPr>
                <a:xfrm>
                  <a:off x="6226364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7" name="Freeform 1290">
                  <a:extLst>
                    <a:ext uri="{FF2B5EF4-FFF2-40B4-BE49-F238E27FC236}">
                      <a16:creationId xmlns:a16="http://schemas.microsoft.com/office/drawing/2014/main" id="{30CE81AE-33FC-25F7-6EC8-0AEA1CB9F021}"/>
                    </a:ext>
                  </a:extLst>
                </p:cNvPr>
                <p:cNvSpPr/>
                <p:nvPr/>
              </p:nvSpPr>
              <p:spPr>
                <a:xfrm>
                  <a:off x="6773266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8" name="Freeform 1291">
                  <a:extLst>
                    <a:ext uri="{FF2B5EF4-FFF2-40B4-BE49-F238E27FC236}">
                      <a16:creationId xmlns:a16="http://schemas.microsoft.com/office/drawing/2014/main" id="{C61B4974-E498-F97A-403F-F59976BD29A9}"/>
                    </a:ext>
                  </a:extLst>
                </p:cNvPr>
                <p:cNvSpPr/>
                <p:nvPr/>
              </p:nvSpPr>
              <p:spPr>
                <a:xfrm>
                  <a:off x="6797565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199" name="Freeform 1270">
                  <a:extLst>
                    <a:ext uri="{FF2B5EF4-FFF2-40B4-BE49-F238E27FC236}">
                      <a16:creationId xmlns:a16="http://schemas.microsoft.com/office/drawing/2014/main" id="{0B2180A3-A704-CF66-25CF-A924B01669A5}"/>
                    </a:ext>
                  </a:extLst>
                </p:cNvPr>
                <p:cNvSpPr/>
                <p:nvPr/>
              </p:nvSpPr>
              <p:spPr>
                <a:xfrm rot="5400000">
                  <a:off x="1942103" y="187491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0" name="Freeform 1271">
                  <a:extLst>
                    <a:ext uri="{FF2B5EF4-FFF2-40B4-BE49-F238E27FC236}">
                      <a16:creationId xmlns:a16="http://schemas.microsoft.com/office/drawing/2014/main" id="{DABFD5B8-89A8-D075-06AD-393B0CD9E0F7}"/>
                    </a:ext>
                  </a:extLst>
                </p:cNvPr>
                <p:cNvSpPr/>
                <p:nvPr/>
              </p:nvSpPr>
              <p:spPr>
                <a:xfrm rot="5400000">
                  <a:off x="2580601" y="226786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1" name="Freeform 1272">
                  <a:extLst>
                    <a:ext uri="{FF2B5EF4-FFF2-40B4-BE49-F238E27FC236}">
                      <a16:creationId xmlns:a16="http://schemas.microsoft.com/office/drawing/2014/main" id="{C8E00943-F553-927D-30F2-26800D688E04}"/>
                    </a:ext>
                  </a:extLst>
                </p:cNvPr>
                <p:cNvSpPr/>
                <p:nvPr/>
              </p:nvSpPr>
              <p:spPr>
                <a:xfrm rot="5400000">
                  <a:off x="3186405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2" name="Freeform 1273">
                  <a:extLst>
                    <a:ext uri="{FF2B5EF4-FFF2-40B4-BE49-F238E27FC236}">
                      <a16:creationId xmlns:a16="http://schemas.microsoft.com/office/drawing/2014/main" id="{64937B73-DC2A-7A3A-A035-5B00DE3AC045}"/>
                    </a:ext>
                  </a:extLst>
                </p:cNvPr>
                <p:cNvSpPr/>
                <p:nvPr/>
              </p:nvSpPr>
              <p:spPr>
                <a:xfrm rot="5400000">
                  <a:off x="3250140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3" name="Freeform 1274">
                  <a:extLst>
                    <a:ext uri="{FF2B5EF4-FFF2-40B4-BE49-F238E27FC236}">
                      <a16:creationId xmlns:a16="http://schemas.microsoft.com/office/drawing/2014/main" id="{49FD275C-9EAB-34AE-F483-2BD8C00169C3}"/>
                    </a:ext>
                  </a:extLst>
                </p:cNvPr>
                <p:cNvSpPr/>
                <p:nvPr/>
              </p:nvSpPr>
              <p:spPr>
                <a:xfrm rot="5400000">
                  <a:off x="3313748" y="2597630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4" name="Freeform 1275">
                  <a:extLst>
                    <a:ext uri="{FF2B5EF4-FFF2-40B4-BE49-F238E27FC236}">
                      <a16:creationId xmlns:a16="http://schemas.microsoft.com/office/drawing/2014/main" id="{53DF23A0-3FAB-E73F-89F7-DDEFA9CC1519}"/>
                    </a:ext>
                  </a:extLst>
                </p:cNvPr>
                <p:cNvSpPr/>
                <p:nvPr/>
              </p:nvSpPr>
              <p:spPr>
                <a:xfrm rot="5400000">
                  <a:off x="3479766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5" name="Freeform 1276">
                  <a:extLst>
                    <a:ext uri="{FF2B5EF4-FFF2-40B4-BE49-F238E27FC236}">
                      <a16:creationId xmlns:a16="http://schemas.microsoft.com/office/drawing/2014/main" id="{018ECF85-BD3F-B080-E76D-292A0B41B76B}"/>
                    </a:ext>
                  </a:extLst>
                </p:cNvPr>
                <p:cNvSpPr/>
                <p:nvPr/>
              </p:nvSpPr>
              <p:spPr>
                <a:xfrm rot="5400000">
                  <a:off x="3506099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6" name="Freeform 1277">
                  <a:extLst>
                    <a:ext uri="{FF2B5EF4-FFF2-40B4-BE49-F238E27FC236}">
                      <a16:creationId xmlns:a16="http://schemas.microsoft.com/office/drawing/2014/main" id="{F40CB981-6175-70A6-036C-C8D8E69D7E8F}"/>
                    </a:ext>
                  </a:extLst>
                </p:cNvPr>
                <p:cNvSpPr/>
                <p:nvPr/>
              </p:nvSpPr>
              <p:spPr>
                <a:xfrm rot="5400000">
                  <a:off x="353370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7" name="Freeform 1278">
                  <a:extLst>
                    <a:ext uri="{FF2B5EF4-FFF2-40B4-BE49-F238E27FC236}">
                      <a16:creationId xmlns:a16="http://schemas.microsoft.com/office/drawing/2014/main" id="{3EDD2F9C-4536-77E1-6DA8-D9F585F106D5}"/>
                    </a:ext>
                  </a:extLst>
                </p:cNvPr>
                <p:cNvSpPr/>
                <p:nvPr/>
              </p:nvSpPr>
              <p:spPr>
                <a:xfrm rot="5400000">
                  <a:off x="3614615" y="265472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8" name="Freeform 1279">
                  <a:extLst>
                    <a:ext uri="{FF2B5EF4-FFF2-40B4-BE49-F238E27FC236}">
                      <a16:creationId xmlns:a16="http://schemas.microsoft.com/office/drawing/2014/main" id="{C0839E83-0991-FEC1-48F6-E7B72049B7E1}"/>
                    </a:ext>
                  </a:extLst>
                </p:cNvPr>
                <p:cNvSpPr/>
                <p:nvPr/>
              </p:nvSpPr>
              <p:spPr>
                <a:xfrm rot="5400000">
                  <a:off x="395148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09" name="Freeform 1280">
                  <a:extLst>
                    <a:ext uri="{FF2B5EF4-FFF2-40B4-BE49-F238E27FC236}">
                      <a16:creationId xmlns:a16="http://schemas.microsoft.com/office/drawing/2014/main" id="{8DCFD157-388B-7D71-5E12-3B2F8DAFD046}"/>
                    </a:ext>
                  </a:extLst>
                </p:cNvPr>
                <p:cNvSpPr/>
                <p:nvPr/>
              </p:nvSpPr>
              <p:spPr>
                <a:xfrm rot="5400000">
                  <a:off x="4157446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0" name="Freeform 1281">
                  <a:extLst>
                    <a:ext uri="{FF2B5EF4-FFF2-40B4-BE49-F238E27FC236}">
                      <a16:creationId xmlns:a16="http://schemas.microsoft.com/office/drawing/2014/main" id="{B49EDCDE-444B-CC96-29F5-CB44B6B724A3}"/>
                    </a:ext>
                  </a:extLst>
                </p:cNvPr>
                <p:cNvSpPr/>
                <p:nvPr/>
              </p:nvSpPr>
              <p:spPr>
                <a:xfrm rot="5400000">
                  <a:off x="4183653" y="2821828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1" name="Freeform 1282">
                  <a:extLst>
                    <a:ext uri="{FF2B5EF4-FFF2-40B4-BE49-F238E27FC236}">
                      <a16:creationId xmlns:a16="http://schemas.microsoft.com/office/drawing/2014/main" id="{3906EE7B-6259-68A6-2ABC-5240A57EA3D1}"/>
                    </a:ext>
                  </a:extLst>
                </p:cNvPr>
                <p:cNvSpPr/>
                <p:nvPr/>
              </p:nvSpPr>
              <p:spPr>
                <a:xfrm rot="5400000">
                  <a:off x="4202099" y="294579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2" name="Freeform 1283">
                  <a:extLst>
                    <a:ext uri="{FF2B5EF4-FFF2-40B4-BE49-F238E27FC236}">
                      <a16:creationId xmlns:a16="http://schemas.microsoft.com/office/drawing/2014/main" id="{D18BC771-6B49-5D70-E6D7-E202553FE9DF}"/>
                    </a:ext>
                  </a:extLst>
                </p:cNvPr>
                <p:cNvSpPr/>
                <p:nvPr/>
              </p:nvSpPr>
              <p:spPr>
                <a:xfrm rot="5400000">
                  <a:off x="482202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3" name="Freeform 1284">
                  <a:extLst>
                    <a:ext uri="{FF2B5EF4-FFF2-40B4-BE49-F238E27FC236}">
                      <a16:creationId xmlns:a16="http://schemas.microsoft.com/office/drawing/2014/main" id="{434EAB39-8CFA-B789-E2DF-D3E03BE1E32E}"/>
                    </a:ext>
                  </a:extLst>
                </p:cNvPr>
                <p:cNvSpPr/>
                <p:nvPr/>
              </p:nvSpPr>
              <p:spPr>
                <a:xfrm rot="5400000">
                  <a:off x="4871129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4" name="Freeform 1285">
                  <a:extLst>
                    <a:ext uri="{FF2B5EF4-FFF2-40B4-BE49-F238E27FC236}">
                      <a16:creationId xmlns:a16="http://schemas.microsoft.com/office/drawing/2014/main" id="{F2FA68A6-B090-9491-B340-B93D70EE54D3}"/>
                    </a:ext>
                  </a:extLst>
                </p:cNvPr>
                <p:cNvSpPr/>
                <p:nvPr/>
              </p:nvSpPr>
              <p:spPr>
                <a:xfrm rot="5400000">
                  <a:off x="4971884" y="3071277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5" name="Freeform 1286">
                  <a:extLst>
                    <a:ext uri="{FF2B5EF4-FFF2-40B4-BE49-F238E27FC236}">
                      <a16:creationId xmlns:a16="http://schemas.microsoft.com/office/drawing/2014/main" id="{36BB9548-01AB-2B5C-3873-B26E41328CB0}"/>
                    </a:ext>
                  </a:extLst>
                </p:cNvPr>
                <p:cNvSpPr/>
                <p:nvPr/>
              </p:nvSpPr>
              <p:spPr>
                <a:xfrm rot="5400000">
                  <a:off x="5428081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6" name="Freeform 1287">
                  <a:extLst>
                    <a:ext uri="{FF2B5EF4-FFF2-40B4-BE49-F238E27FC236}">
                      <a16:creationId xmlns:a16="http://schemas.microsoft.com/office/drawing/2014/main" id="{7038EB0E-B33F-747E-BE6C-CA3BECC3D742}"/>
                    </a:ext>
                  </a:extLst>
                </p:cNvPr>
                <p:cNvSpPr/>
                <p:nvPr/>
              </p:nvSpPr>
              <p:spPr>
                <a:xfrm rot="5400000">
                  <a:off x="5526802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7" name="Freeform 1288">
                  <a:extLst>
                    <a:ext uri="{FF2B5EF4-FFF2-40B4-BE49-F238E27FC236}">
                      <a16:creationId xmlns:a16="http://schemas.microsoft.com/office/drawing/2014/main" id="{F0A46677-0085-BD27-5439-4473D81ECDAF}"/>
                    </a:ext>
                  </a:extLst>
                </p:cNvPr>
                <p:cNvSpPr/>
                <p:nvPr/>
              </p:nvSpPr>
              <p:spPr>
                <a:xfrm rot="5400000">
                  <a:off x="5565475" y="3243453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8" name="Freeform 1289">
                  <a:extLst>
                    <a:ext uri="{FF2B5EF4-FFF2-40B4-BE49-F238E27FC236}">
                      <a16:creationId xmlns:a16="http://schemas.microsoft.com/office/drawing/2014/main" id="{3E2FFC8E-854F-3343-8EB9-FD360F75017E}"/>
                    </a:ext>
                  </a:extLst>
                </p:cNvPr>
                <p:cNvSpPr/>
                <p:nvPr/>
              </p:nvSpPr>
              <p:spPr>
                <a:xfrm rot="5400000">
                  <a:off x="6226364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19" name="Freeform 1290">
                  <a:extLst>
                    <a:ext uri="{FF2B5EF4-FFF2-40B4-BE49-F238E27FC236}">
                      <a16:creationId xmlns:a16="http://schemas.microsoft.com/office/drawing/2014/main" id="{555DA7C4-37A5-0800-E107-56EA86EA9E56}"/>
                    </a:ext>
                  </a:extLst>
                </p:cNvPr>
                <p:cNvSpPr/>
                <p:nvPr/>
              </p:nvSpPr>
              <p:spPr>
                <a:xfrm rot="5400000">
                  <a:off x="6773266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  <p:sp>
              <p:nvSpPr>
                <p:cNvPr id="220" name="Freeform 1291">
                  <a:extLst>
                    <a:ext uri="{FF2B5EF4-FFF2-40B4-BE49-F238E27FC236}">
                      <a16:creationId xmlns:a16="http://schemas.microsoft.com/office/drawing/2014/main" id="{8567810F-501D-6D50-BA56-B18EF58468A2}"/>
                    </a:ext>
                  </a:extLst>
                </p:cNvPr>
                <p:cNvSpPr/>
                <p:nvPr/>
              </p:nvSpPr>
              <p:spPr>
                <a:xfrm rot="5400000">
                  <a:off x="6797565" y="3488842"/>
                  <a:ext cx="9146" cy="91440"/>
                </a:xfrm>
                <a:prstGeom prst="rect">
                  <a:avLst/>
                </a:prstGeom>
                <a:solidFill>
                  <a:srgbClr val="009FBA"/>
                </a:solidFill>
                <a:ln w="12712" cap="flat">
                  <a:noFill/>
                  <a:prstDash val="solid"/>
                  <a:miter/>
                </a:ln>
              </p:spPr>
              <p:txBody>
                <a:bodyPr rtlCol="0" anchor="ctr"/>
                <a:lstStyle/>
                <a:p>
                  <a:pPr marL="0" marR="0" lvl="0" indent="0" algn="l" defTabSz="121917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800" b="0" i="0" u="none" strike="noStrike" kern="1200" cap="none" spc="0" normalizeH="0" baseline="0" noProof="0">
                    <a:ln>
                      <a:noFill/>
                    </a:ln>
                    <a:solidFill>
                      <a:srgbClr val="595454"/>
                    </a:solidFill>
                    <a:effectLst/>
                    <a:uLnTx/>
                    <a:uFillTx/>
                    <a:latin typeface="Trebuchet MS" panose="020B060302020202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21" name="Rectangle 220">
                <a:extLst>
                  <a:ext uri="{FF2B5EF4-FFF2-40B4-BE49-F238E27FC236}">
                    <a16:creationId xmlns:a16="http://schemas.microsoft.com/office/drawing/2014/main" id="{658A8720-3C22-091B-020E-600411B645FB}"/>
                  </a:ext>
                </a:extLst>
              </p:cNvPr>
              <p:cNvSpPr/>
              <p:nvPr/>
            </p:nvSpPr>
            <p:spPr>
              <a:xfrm>
                <a:off x="6453474" y="3003502"/>
                <a:ext cx="9144" cy="91440"/>
              </a:xfrm>
              <a:prstGeom prst="rect">
                <a:avLst/>
              </a:prstGeom>
              <a:solidFill>
                <a:srgbClr val="BA4422"/>
              </a:solidFill>
              <a:ln w="12712" cap="rnd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595454"/>
                  </a:solidFill>
                  <a:effectLst/>
                  <a:uLnTx/>
                  <a:uFillTx/>
                  <a:latin typeface="Trebuchet MS" panose="020B0603020202020204"/>
                  <a:ea typeface="+mn-ea"/>
                  <a:cs typeface="+mn-cs"/>
                </a:endParaRPr>
              </a:p>
            </p:txBody>
          </p:sp>
          <p:sp>
            <p:nvSpPr>
              <p:cNvPr id="245" name="TextBox 244">
                <a:extLst>
                  <a:ext uri="{FF2B5EF4-FFF2-40B4-BE49-F238E27FC236}">
                    <a16:creationId xmlns:a16="http://schemas.microsoft.com/office/drawing/2014/main" id="{9D74A50F-3200-2E88-0FBE-9EDEE47515F8}"/>
                  </a:ext>
                </a:extLst>
              </p:cNvPr>
              <p:cNvSpPr txBox="1"/>
              <p:nvPr/>
            </p:nvSpPr>
            <p:spPr>
              <a:xfrm>
                <a:off x="11312149" y="1852579"/>
                <a:ext cx="939504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/>
                    <a:solidFill>
                      <a:srgbClr val="FFD186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rtl val="0"/>
                  </a:rPr>
                  <a:t>CR/</a:t>
                </a:r>
                <a:r>
                  <a:rPr kumimoji="0" lang="en-US" sz="1600" b="1" i="0" u="none" strike="noStrike" kern="1200" cap="none" spc="0" normalizeH="0" baseline="0" noProof="0" dirty="0" err="1">
                    <a:ln/>
                    <a:solidFill>
                      <a:srgbClr val="FFD186">
                        <a:lumMod val="50000"/>
                      </a:srgb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  <a:rtl val="0"/>
                  </a:rPr>
                  <a:t>CRi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D186">
                      <a:lumMod val="50000"/>
                    </a:srgb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6" name="TextBox 245">
                <a:extLst>
                  <a:ext uri="{FF2B5EF4-FFF2-40B4-BE49-F238E27FC236}">
                    <a16:creationId xmlns:a16="http://schemas.microsoft.com/office/drawing/2014/main" id="{EBCFEAB8-BB13-817D-8B89-A7991B2B0389}"/>
                  </a:ext>
                </a:extLst>
              </p:cNvPr>
              <p:cNvSpPr txBox="1"/>
              <p:nvPr/>
            </p:nvSpPr>
            <p:spPr>
              <a:xfrm>
                <a:off x="11167165" y="2516223"/>
                <a:ext cx="967794" cy="58477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9FBA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ll DL2 patients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9FBA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7" name="TextBox 246">
                <a:extLst>
                  <a:ext uri="{FF2B5EF4-FFF2-40B4-BE49-F238E27FC236}">
                    <a16:creationId xmlns:a16="http://schemas.microsoft.com/office/drawing/2014/main" id="{1A460447-2611-B0E3-7F90-E65FC360BD7A}"/>
                  </a:ext>
                </a:extLst>
              </p:cNvPr>
              <p:cNvSpPr txBox="1"/>
              <p:nvPr/>
            </p:nvSpPr>
            <p:spPr>
              <a:xfrm>
                <a:off x="11262706" y="3641657"/>
                <a:ext cx="1068211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13896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R/</a:t>
                </a: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138967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PR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138967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248" name="TextBox 247">
                <a:extLst>
                  <a:ext uri="{FF2B5EF4-FFF2-40B4-BE49-F238E27FC236}">
                    <a16:creationId xmlns:a16="http://schemas.microsoft.com/office/drawing/2014/main" id="{20E09A96-ADA9-B9FE-7EBC-53DC79586271}"/>
                  </a:ext>
                </a:extLst>
              </p:cNvPr>
              <p:cNvSpPr txBox="1"/>
              <p:nvPr/>
            </p:nvSpPr>
            <p:spPr>
              <a:xfrm>
                <a:off x="10405301" y="4056888"/>
                <a:ext cx="1708197" cy="338554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0" cap="none" spc="0" normalizeH="0" baseline="0" noProof="0" dirty="0" err="1">
                    <a:ln>
                      <a:noFill/>
                    </a:ln>
                    <a:solidFill>
                      <a:srgbClr val="BA4422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Nonresponders</a:t>
                </a: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BA4422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grpSp>
        <p:nvGrpSpPr>
          <p:cNvPr id="266" name="Group 265">
            <a:extLst>
              <a:ext uri="{FF2B5EF4-FFF2-40B4-BE49-F238E27FC236}">
                <a16:creationId xmlns:a16="http://schemas.microsoft.com/office/drawing/2014/main" id="{05E26A01-8328-D203-1E03-D0FF775AD3EE}"/>
              </a:ext>
            </a:extLst>
          </p:cNvPr>
          <p:cNvGrpSpPr/>
          <p:nvPr/>
        </p:nvGrpSpPr>
        <p:grpSpPr>
          <a:xfrm>
            <a:off x="17744" y="639169"/>
            <a:ext cx="5635261" cy="4894490"/>
            <a:chOff x="17744" y="982069"/>
            <a:chExt cx="5635261" cy="4894490"/>
          </a:xfrm>
        </p:grpSpPr>
        <p:sp>
          <p:nvSpPr>
            <p:cNvPr id="4" name="Title 1">
              <a:extLst>
                <a:ext uri="{FF2B5EF4-FFF2-40B4-BE49-F238E27FC236}">
                  <a16:creationId xmlns:a16="http://schemas.microsoft.com/office/drawing/2014/main" id="{90B4671B-FA59-DD08-21F0-54C67086E4BA}"/>
                </a:ext>
              </a:extLst>
            </p:cNvPr>
            <p:cNvSpPr txBox="1">
              <a:spLocks/>
            </p:cNvSpPr>
            <p:nvPr/>
          </p:nvSpPr>
          <p:spPr>
            <a:xfrm>
              <a:off x="408877" y="982069"/>
              <a:ext cx="4309416" cy="713538"/>
            </a:xfrm>
            <a:prstGeom prst="rect">
              <a:avLst/>
            </a:prstGeom>
          </p:spPr>
          <p:txBody>
            <a:bodyPr/>
            <a:lstStyle>
              <a:lvl1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 b="1" kern="1200">
                  <a:solidFill>
                    <a:srgbClr val="CD113B"/>
                  </a:solidFill>
                  <a:latin typeface="Arial"/>
                  <a:ea typeface="Geneva" pitchFamily="37" charset="-128"/>
                  <a:cs typeface="Arial"/>
                </a:defRPr>
              </a:lvl1pPr>
              <a:lvl2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2pPr>
              <a:lvl3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3pPr>
              <a:lvl4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4pPr>
              <a:lvl5pPr algn="l" defTabSz="609585" rtl="0" eaLnBrk="0" fontAlgn="base" hangingPunct="0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  <a:cs typeface="Times New Roman" pitchFamily="18" charset="0"/>
                </a:defRPr>
              </a:lvl5pPr>
              <a:lvl6pPr marL="609585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6pPr>
              <a:lvl7pPr marL="1219170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7pPr>
              <a:lvl8pPr marL="1828754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8pPr>
              <a:lvl9pPr marL="2438339" algn="l" defTabSz="609585" rtl="0" fontAlgn="base">
                <a:spcBef>
                  <a:spcPct val="0"/>
                </a:spcBef>
                <a:spcAft>
                  <a:spcPct val="0"/>
                </a:spcAft>
                <a:defRPr sz="4267">
                  <a:solidFill>
                    <a:srgbClr val="800000"/>
                  </a:solidFill>
                  <a:latin typeface="Times New Roman" pitchFamily="37" charset="0"/>
                  <a:ea typeface="Geneva" pitchFamily="37" charset="-128"/>
                </a:defRPr>
              </a:lvl9pPr>
            </a:lstStyle>
            <a:p>
              <a:pPr marL="0" marR="0" lvl="0" indent="0" algn="ctr" defTabSz="6095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rPr>
                <a:t>Efficacy Outcomes: </a:t>
              </a:r>
            </a:p>
            <a:p>
              <a:pPr marL="0" marR="0" lvl="0" indent="0" algn="ctr" defTabSz="609585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Geneva" pitchFamily="37" charset="-128"/>
                  <a:cs typeface="Arial"/>
                </a:rPr>
                <a:t>Response by Investigator and uMRD4 </a:t>
              </a:r>
              <a:endParaRPr kumimoji="0" lang="en-US" sz="1800" b="1" i="0" u="none" strike="sng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Geneva" pitchFamily="37" charset="-128"/>
                <a:cs typeface="Arial"/>
              </a:endParaRPr>
            </a:p>
          </p:txBody>
        </p:sp>
        <p:sp>
          <p:nvSpPr>
            <p:cNvPr id="8" name="Content Placeholder 4">
              <a:extLst>
                <a:ext uri="{FF2B5EF4-FFF2-40B4-BE49-F238E27FC236}">
                  <a16:creationId xmlns:a16="http://schemas.microsoft.com/office/drawing/2014/main" id="{8D51A5AF-2BC4-7400-F610-525A2E8A0DB8}"/>
                </a:ext>
              </a:extLst>
            </p:cNvPr>
            <p:cNvSpPr txBox="1">
              <a:spLocks/>
            </p:cNvSpPr>
            <p:nvPr/>
          </p:nvSpPr>
          <p:spPr>
            <a:xfrm>
              <a:off x="24079" y="5545950"/>
              <a:ext cx="5628926" cy="330609"/>
            </a:xfrm>
            <a:prstGeom prst="rect">
              <a:avLst/>
            </a:prstGeom>
          </p:spPr>
          <p:txBody>
            <a:bodyPr/>
            <a:lstStyle>
              <a:lvl1pPr marL="304724" indent="-304724" algn="l" defTabSz="1218895" rtl="0" eaLnBrk="1" latinLnBrk="0" hangingPunct="1">
                <a:lnSpc>
                  <a:spcPct val="100000"/>
                </a:lnSpc>
                <a:spcBef>
                  <a:spcPts val="1600"/>
                </a:spcBef>
                <a:spcAft>
                  <a:spcPts val="0"/>
                </a:spcAft>
                <a:buClr>
                  <a:schemeClr val="tx2"/>
                </a:buClr>
                <a:buFont typeface="Arial" panose="020B0604020202020204" pitchFamily="34" charset="0"/>
                <a:buChar char="•"/>
                <a:tabLst/>
                <a:defRPr lang="en-US" sz="2666" b="0" kern="1200" dirty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228600" indent="-228600" algn="l" defTabSz="1218895" rtl="0" eaLnBrk="1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>
                  <a:schemeClr val="tx1"/>
                </a:buClr>
                <a:buFont typeface="Arial" panose="020B0604020202020204" pitchFamily="34" charset="0"/>
                <a:buChar char="•"/>
                <a:defRPr lang="en-US" sz="24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457200" indent="-228600" algn="l" defTabSz="121889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tx1"/>
                </a:buClr>
                <a:buFont typeface="Trebuchet MS" panose="020B0603020202020204" pitchFamily="34" charset="0"/>
                <a:buChar char="—"/>
                <a:tabLst/>
                <a:defRPr lang="en-US" sz="2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685800" indent="-228600" algn="l" defTabSz="121889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tx1"/>
                </a:buClr>
                <a:buFont typeface="Wingdings" pitchFamily="2" charset="2"/>
                <a:buChar char="§"/>
                <a:tabLst/>
                <a:defRPr lang="en-US" sz="2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914400" indent="-228600" algn="l" defTabSz="1218895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Clr>
                  <a:schemeClr val="tx1"/>
                </a:buClr>
                <a:buFont typeface="Courier New" panose="02070309020205020404" pitchFamily="49" charset="0"/>
                <a:buChar char="o"/>
                <a:tabLst/>
                <a:defRPr lang="en-US" sz="20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3351962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961409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4570857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5180305" indent="-304724" algn="l" defTabSz="1218895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666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28600" marR="0" lvl="1" indent="-228600" algn="l" defTabSz="12188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45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edian (IQR) on-study follow-up (including LTFU): 24.8 months (14.2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—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34.6)</a:t>
              </a:r>
            </a:p>
            <a:p>
              <a:pPr marL="228600" marR="0" lvl="1" indent="-228600" algn="l" defTabSz="12188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45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edian (range) time to first response: 1 month (0.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—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6.0)</a:t>
              </a:r>
            </a:p>
            <a:p>
              <a:pPr marL="228600" marR="0" lvl="1" indent="-228600" algn="l" defTabSz="121889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595454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Median (range) time to first CR/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CRi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: 3 months (0.9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—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Calibri" panose="020F0502020204030204" pitchFamily="34" charset="0"/>
                  <a:cs typeface="Arial" panose="020B0604020202020204" pitchFamily="34" charset="0"/>
                </a:rPr>
                <a:t>12.1)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38043E1-1755-2249-386D-4DD4B836D9FE}"/>
                </a:ext>
              </a:extLst>
            </p:cNvPr>
            <p:cNvSpPr txBox="1"/>
            <p:nvPr/>
          </p:nvSpPr>
          <p:spPr>
            <a:xfrm>
              <a:off x="243608" y="4898818"/>
              <a:ext cx="1483592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L2 + ibrutinib set </a:t>
              </a:r>
            </a:p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(n = 51)</a:t>
              </a:r>
            </a:p>
          </p:txBody>
        </p:sp>
        <p:grpSp>
          <p:nvGrpSpPr>
            <p:cNvPr id="263" name="Group 262">
              <a:extLst>
                <a:ext uri="{FF2B5EF4-FFF2-40B4-BE49-F238E27FC236}">
                  <a16:creationId xmlns:a16="http://schemas.microsoft.com/office/drawing/2014/main" id="{143E1A48-4318-9473-E0F7-FB2C8D1D3E6C}"/>
                </a:ext>
              </a:extLst>
            </p:cNvPr>
            <p:cNvGrpSpPr/>
            <p:nvPr/>
          </p:nvGrpSpPr>
          <p:grpSpPr>
            <a:xfrm>
              <a:off x="17744" y="1509164"/>
              <a:ext cx="1793417" cy="3664733"/>
              <a:chOff x="17744" y="2768753"/>
              <a:chExt cx="1793417" cy="2405136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3524F15C-924E-95AE-4116-5D317FF460A1}"/>
                  </a:ext>
                </a:extLst>
              </p:cNvPr>
              <p:cNvGrpSpPr/>
              <p:nvPr/>
            </p:nvGrpSpPr>
            <p:grpSpPr>
              <a:xfrm>
                <a:off x="17744" y="2768753"/>
                <a:ext cx="1681894" cy="2405136"/>
                <a:chOff x="378463" y="604308"/>
                <a:chExt cx="5746326" cy="4983035"/>
              </a:xfrm>
            </p:grpSpPr>
            <p:graphicFrame>
              <p:nvGraphicFramePr>
                <p:cNvPr id="10" name="Chart 9">
                  <a:extLst>
                    <a:ext uri="{FF2B5EF4-FFF2-40B4-BE49-F238E27FC236}">
                      <a16:creationId xmlns:a16="http://schemas.microsoft.com/office/drawing/2014/main" id="{BA6FFAD3-039E-CA1A-CB8F-DAFEC60B3756}"/>
                    </a:ext>
                  </a:extLst>
                </p:cNvPr>
                <p:cNvGraphicFramePr/>
                <p:nvPr/>
              </p:nvGraphicFramePr>
              <p:xfrm>
                <a:off x="378463" y="1341799"/>
                <a:ext cx="5717538" cy="4245544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  <p:sp>
              <p:nvSpPr>
                <p:cNvPr id="11" name="TextBox 10">
                  <a:extLst>
                    <a:ext uri="{FF2B5EF4-FFF2-40B4-BE49-F238E27FC236}">
                      <a16:creationId xmlns:a16="http://schemas.microsoft.com/office/drawing/2014/main" id="{7E5B9B02-BAF2-8F43-C43E-93EE21413FF1}"/>
                    </a:ext>
                  </a:extLst>
                </p:cNvPr>
                <p:cNvSpPr txBox="1"/>
                <p:nvPr/>
              </p:nvSpPr>
              <p:spPr>
                <a:xfrm>
                  <a:off x="1639393" y="1699331"/>
                  <a:ext cx="2239439" cy="1785450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R/</a:t>
                  </a:r>
                  <a:r>
                    <a:rPr kumimoji="0" lang="en-US" sz="1000" b="1" i="0" u="none" strike="noStrike" kern="0" cap="none" spc="0" normalizeH="0" baseline="0" noProof="0" dirty="0" err="1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CRi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 rate </a:t>
                  </a: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BE2BB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45%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95% CI, 31—60</a:t>
                  </a:r>
                  <a:endPara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Times New Roman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15C775FC-2903-08E5-727E-971B5928DD0E}"/>
                    </a:ext>
                  </a:extLst>
                </p:cNvPr>
                <p:cNvSpPr txBox="1"/>
                <p:nvPr/>
              </p:nvSpPr>
              <p:spPr>
                <a:xfrm>
                  <a:off x="3398033" y="604308"/>
                  <a:ext cx="2726756" cy="1466620"/>
                </a:xfrm>
                <a:prstGeom prst="rect">
                  <a:avLst/>
                </a:prstGeom>
                <a:noFill/>
              </p:spPr>
              <p:txBody>
                <a:bodyPr wrap="squar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ORR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BE2BBB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86%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95% CI, 74—94</a:t>
                  </a:r>
                </a:p>
              </p:txBody>
            </p:sp>
            <p:sp>
              <p:nvSpPr>
                <p:cNvPr id="14" name="TextBox 13">
                  <a:extLst>
                    <a:ext uri="{FF2B5EF4-FFF2-40B4-BE49-F238E27FC236}">
                      <a16:creationId xmlns:a16="http://schemas.microsoft.com/office/drawing/2014/main" id="{F7287CF8-F4A4-69C7-D004-2DA7C6EDECF0}"/>
                    </a:ext>
                  </a:extLst>
                </p:cNvPr>
                <p:cNvSpPr txBox="1"/>
                <p:nvPr/>
              </p:nvSpPr>
              <p:spPr>
                <a:xfrm>
                  <a:off x="1739642" y="3395433"/>
                  <a:ext cx="1879635" cy="510128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23</a:t>
                  </a:r>
                </a:p>
              </p:txBody>
            </p:sp>
            <p:sp>
              <p:nvSpPr>
                <p:cNvPr id="13" name="TextBox 12">
                  <a:extLst>
                    <a:ext uri="{FF2B5EF4-FFF2-40B4-BE49-F238E27FC236}">
                      <a16:creationId xmlns:a16="http://schemas.microsoft.com/office/drawing/2014/main" id="{670A8CB3-C728-A2BA-0F66-D7DD021A5166}"/>
                    </a:ext>
                  </a:extLst>
                </p:cNvPr>
                <p:cNvSpPr txBox="1"/>
                <p:nvPr/>
              </p:nvSpPr>
              <p:spPr>
                <a:xfrm>
                  <a:off x="3723036" y="2339912"/>
                  <a:ext cx="1879635" cy="510128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1800" b="0" i="0" u="none" strike="noStrike" kern="1200" baseline="0">
                      <a:solidFill>
                        <a:srgbClr val="595454"/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kumimoji="0" lang="en-US" sz="10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rPr>
                    <a:t>n = 44</a:t>
                  </a:r>
                </a:p>
              </p:txBody>
            </p:sp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A20DFB0D-66D3-A0CE-29EF-5B66578C27AF}"/>
                  </a:ext>
                </a:extLst>
              </p:cNvPr>
              <p:cNvSpPr txBox="1"/>
              <p:nvPr/>
            </p:nvSpPr>
            <p:spPr>
              <a:xfrm>
                <a:off x="164556" y="2802071"/>
                <a:ext cx="1646605" cy="201992"/>
              </a:xfrm>
              <a:prstGeom prst="rect">
                <a:avLst/>
              </a:prstGeom>
              <a:noFill/>
            </p:spPr>
            <p:txBody>
              <a:bodyPr wrap="none" rtlCol="0" anchor="b" anchorCtr="0">
                <a:spAutoFit/>
              </a:bodyPr>
              <a:lstStyle/>
              <a:p>
                <a:pPr marL="0" marR="0" lvl="0" indent="0" algn="ctr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Response by INV</a:t>
                </a:r>
              </a:p>
            </p:txBody>
          </p:sp>
        </p:grpSp>
        <p:grpSp>
          <p:nvGrpSpPr>
            <p:cNvPr id="264" name="Group 263">
              <a:extLst>
                <a:ext uri="{FF2B5EF4-FFF2-40B4-BE49-F238E27FC236}">
                  <a16:creationId xmlns:a16="http://schemas.microsoft.com/office/drawing/2014/main" id="{3A2B1DD8-EBD4-12DE-6842-39CBBFE05323}"/>
                </a:ext>
              </a:extLst>
            </p:cNvPr>
            <p:cNvGrpSpPr/>
            <p:nvPr/>
          </p:nvGrpSpPr>
          <p:grpSpPr>
            <a:xfrm>
              <a:off x="1794998" y="1471849"/>
              <a:ext cx="3256223" cy="4155905"/>
              <a:chOff x="1766357" y="997298"/>
              <a:chExt cx="3256223" cy="4155905"/>
            </a:xfrm>
          </p:grpSpPr>
          <p:grpSp>
            <p:nvGrpSpPr>
              <p:cNvPr id="251" name="Group 250">
                <a:extLst>
                  <a:ext uri="{FF2B5EF4-FFF2-40B4-BE49-F238E27FC236}">
                    <a16:creationId xmlns:a16="http://schemas.microsoft.com/office/drawing/2014/main" id="{D383E458-AB82-20C5-DB00-671A2CA0872C}"/>
                  </a:ext>
                </a:extLst>
              </p:cNvPr>
              <p:cNvGrpSpPr/>
              <p:nvPr/>
            </p:nvGrpSpPr>
            <p:grpSpPr>
              <a:xfrm>
                <a:off x="1915157" y="1111356"/>
                <a:ext cx="3107423" cy="4041847"/>
                <a:chOff x="1972574" y="2827718"/>
                <a:chExt cx="2892456" cy="2652635"/>
              </a:xfrm>
            </p:grpSpPr>
            <p:graphicFrame>
              <p:nvGraphicFramePr>
                <p:cNvPr id="26" name="Chart 25">
                  <a:extLst>
                    <a:ext uri="{FF2B5EF4-FFF2-40B4-BE49-F238E27FC236}">
                      <a16:creationId xmlns:a16="http://schemas.microsoft.com/office/drawing/2014/main" id="{E0B0D07F-754C-F04C-AB1F-7A82EC65CA82}"/>
                    </a:ext>
                  </a:extLst>
                </p:cNvPr>
                <p:cNvGraphicFramePr/>
                <p:nvPr/>
              </p:nvGraphicFramePr>
              <p:xfrm>
                <a:off x="1972574" y="2827718"/>
                <a:ext cx="2892456" cy="265263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33" name="TextBox 32">
                  <a:extLst>
                    <a:ext uri="{FF2B5EF4-FFF2-40B4-BE49-F238E27FC236}">
                      <a16:creationId xmlns:a16="http://schemas.microsoft.com/office/drawing/2014/main" id="{A48F906C-14C9-1E2E-8A61-B5A20E76C0B1}"/>
                    </a:ext>
                  </a:extLst>
                </p:cNvPr>
                <p:cNvSpPr txBox="1"/>
                <p:nvPr/>
              </p:nvSpPr>
              <p:spPr>
                <a:xfrm>
                  <a:off x="2428618" y="38568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44</a:t>
                  </a:r>
                </a:p>
              </p:txBody>
            </p:sp>
            <p:sp>
              <p:nvSpPr>
                <p:cNvPr id="34" name="TextBox 33">
                  <a:extLst>
                    <a:ext uri="{FF2B5EF4-FFF2-40B4-BE49-F238E27FC236}">
                      <a16:creationId xmlns:a16="http://schemas.microsoft.com/office/drawing/2014/main" id="{0100A989-E5DC-E279-926D-C16C5B968414}"/>
                    </a:ext>
                  </a:extLst>
                </p:cNvPr>
                <p:cNvSpPr txBox="1"/>
                <p:nvPr/>
              </p:nvSpPr>
              <p:spPr>
                <a:xfrm>
                  <a:off x="2930715" y="39076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43</a:t>
                  </a:r>
                </a:p>
              </p:txBody>
            </p:sp>
            <p:sp>
              <p:nvSpPr>
                <p:cNvPr id="35" name="TextBox 34">
                  <a:extLst>
                    <a:ext uri="{FF2B5EF4-FFF2-40B4-BE49-F238E27FC236}">
                      <a16:creationId xmlns:a16="http://schemas.microsoft.com/office/drawing/2014/main" id="{CC366467-0F28-5302-4A71-531F3F769E3E}"/>
                    </a:ext>
                  </a:extLst>
                </p:cNvPr>
                <p:cNvSpPr txBox="1"/>
                <p:nvPr/>
              </p:nvSpPr>
              <p:spPr>
                <a:xfrm>
                  <a:off x="3700158" y="37806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22</a:t>
                  </a:r>
                </a:p>
              </p:txBody>
            </p:sp>
            <p:sp>
              <p:nvSpPr>
                <p:cNvPr id="36" name="TextBox 35">
                  <a:extLst>
                    <a:ext uri="{FF2B5EF4-FFF2-40B4-BE49-F238E27FC236}">
                      <a16:creationId xmlns:a16="http://schemas.microsoft.com/office/drawing/2014/main" id="{0A88B9B7-E010-59A3-FC38-6EC874997F47}"/>
                    </a:ext>
                  </a:extLst>
                </p:cNvPr>
                <p:cNvSpPr txBox="1"/>
                <p:nvPr/>
              </p:nvSpPr>
              <p:spPr>
                <a:xfrm>
                  <a:off x="4209786" y="3780692"/>
                  <a:ext cx="550152" cy="246221"/>
                </a:xfrm>
                <a:prstGeom prst="rect">
                  <a:avLst/>
                </a:prstGeom>
                <a:noFill/>
              </p:spPr>
              <p:txBody>
                <a:bodyPr wrap="none" rtlCol="0" anchor="b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 pitchFamily="34" charset="0"/>
                      <a:ea typeface="Times New Roman"/>
                      <a:cs typeface="Arial" panose="020B0604020202020204" pitchFamily="34" charset="0"/>
                    </a:rPr>
                    <a:t>n = 22</a:t>
                  </a:r>
                </a:p>
              </p:txBody>
            </p:sp>
          </p:grpSp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78CB4423-29EA-9059-203B-C885C3A996C5}"/>
                  </a:ext>
                </a:extLst>
              </p:cNvPr>
              <p:cNvSpPr txBox="1"/>
              <p:nvPr/>
            </p:nvSpPr>
            <p:spPr>
              <a:xfrm>
                <a:off x="3093436" y="1097388"/>
                <a:ext cx="1180131" cy="307777"/>
              </a:xfrm>
              <a:prstGeom prst="rect">
                <a:avLst/>
              </a:prstGeom>
              <a:noFill/>
            </p:spPr>
            <p:txBody>
              <a:bodyPr wrap="none" rtlCol="0" anchor="b" anchorCtr="0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RD4 rate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433FDCDD-6E1D-E79F-1252-80E656092EB9}"/>
                  </a:ext>
                </a:extLst>
              </p:cNvPr>
              <p:cNvSpPr txBox="1"/>
              <p:nvPr/>
            </p:nvSpPr>
            <p:spPr>
              <a:xfrm rot="16200000">
                <a:off x="643542" y="2803505"/>
                <a:ext cx="249185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l" defTabSz="121917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Patients with uMRD4, %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78424381-9AC0-304C-6014-FF8A291C5DAB}"/>
                  </a:ext>
                </a:extLst>
              </p:cNvPr>
              <p:cNvSpPr txBox="1"/>
              <p:nvPr/>
            </p:nvSpPr>
            <p:spPr>
              <a:xfrm>
                <a:off x="3744558" y="1019070"/>
                <a:ext cx="698747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6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8—100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2FEA947D-91A9-5522-78F9-997A097D5EFA}"/>
                  </a:ext>
                </a:extLst>
              </p:cNvPr>
              <p:cNvSpPr txBox="1"/>
              <p:nvPr/>
            </p:nvSpPr>
            <p:spPr>
              <a:xfrm>
                <a:off x="4271065" y="997298"/>
                <a:ext cx="698747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6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800" b="0" i="0" u="none" strike="noStrike" kern="1200" baseline="0">
                    <a:solidFill>
                      <a:srgbClr val="595454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kumimoji="0" 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8—100</a:t>
                </a: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FB632B11-C22B-840E-3B24-548B579532C6}"/>
                  </a:ext>
                </a:extLst>
              </p:cNvPr>
              <p:cNvSpPr txBox="1"/>
              <p:nvPr/>
            </p:nvSpPr>
            <p:spPr>
              <a:xfrm>
                <a:off x="2381131" y="1262640"/>
                <a:ext cx="681214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86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4—94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/>
                  <a:cs typeface="Arial" panose="020B0604020202020204" pitchFamily="34" charset="0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9D33E70C-917A-8F28-987B-9DD293A6A5CD}"/>
                  </a:ext>
                </a:extLst>
              </p:cNvPr>
              <p:cNvSpPr txBox="1"/>
              <p:nvPr/>
            </p:nvSpPr>
            <p:spPr>
              <a:xfrm>
                <a:off x="2888297" y="1293784"/>
                <a:ext cx="757274" cy="844132"/>
              </a:xfrm>
              <a:prstGeom prst="rect">
                <a:avLst/>
              </a:prstGeom>
              <a:noFill/>
            </p:spPr>
            <p:txBody>
              <a:bodyPr wrap="square" rtlCol="0" anchor="b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84%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95% CI, 71—93</a:t>
                </a:r>
                <a:endPara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Times New Roman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60" name="Group 259">
              <a:extLst>
                <a:ext uri="{FF2B5EF4-FFF2-40B4-BE49-F238E27FC236}">
                  <a16:creationId xmlns:a16="http://schemas.microsoft.com/office/drawing/2014/main" id="{80253D72-EDF6-3480-346D-54D60DF8941E}"/>
                </a:ext>
              </a:extLst>
            </p:cNvPr>
            <p:cNvGrpSpPr/>
            <p:nvPr/>
          </p:nvGrpSpPr>
          <p:grpSpPr>
            <a:xfrm>
              <a:off x="2104288" y="5273770"/>
              <a:ext cx="1568018" cy="246221"/>
              <a:chOff x="2227362" y="5194517"/>
              <a:chExt cx="1568018" cy="161593"/>
            </a:xfrm>
          </p:grpSpPr>
          <p:sp>
            <p:nvSpPr>
              <p:cNvPr id="255" name="Rectangle 254">
                <a:extLst>
                  <a:ext uri="{FF2B5EF4-FFF2-40B4-BE49-F238E27FC236}">
                    <a16:creationId xmlns:a16="http://schemas.microsoft.com/office/drawing/2014/main" id="{BF041BF8-C006-1342-F6AA-41B3ED7FC9A1}"/>
                  </a:ext>
                </a:extLst>
              </p:cNvPr>
              <p:cNvSpPr/>
              <p:nvPr/>
            </p:nvSpPr>
            <p:spPr>
              <a:xfrm>
                <a:off x="2227362" y="5234254"/>
                <a:ext cx="128587" cy="82118"/>
              </a:xfrm>
              <a:prstGeom prst="rect">
                <a:avLst/>
              </a:prstGeom>
              <a:solidFill>
                <a:srgbClr val="DF603A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7" name="TextBox 256">
                <a:extLst>
                  <a:ext uri="{FF2B5EF4-FFF2-40B4-BE49-F238E27FC236}">
                    <a16:creationId xmlns:a16="http://schemas.microsoft.com/office/drawing/2014/main" id="{2A904A75-441A-C843-F20C-28495B7A2670}"/>
                  </a:ext>
                </a:extLst>
              </p:cNvPr>
              <p:cNvSpPr txBox="1"/>
              <p:nvPr/>
            </p:nvSpPr>
            <p:spPr>
              <a:xfrm>
                <a:off x="2307472" y="5194517"/>
                <a:ext cx="1487908" cy="161593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RD4 Rate in Blood</a:t>
                </a:r>
              </a:p>
            </p:txBody>
          </p:sp>
        </p:grpSp>
        <p:grpSp>
          <p:nvGrpSpPr>
            <p:cNvPr id="261" name="Group 260">
              <a:extLst>
                <a:ext uri="{FF2B5EF4-FFF2-40B4-BE49-F238E27FC236}">
                  <a16:creationId xmlns:a16="http://schemas.microsoft.com/office/drawing/2014/main" id="{38B27F69-5389-759E-6802-AA45523C5E86}"/>
                </a:ext>
              </a:extLst>
            </p:cNvPr>
            <p:cNvGrpSpPr/>
            <p:nvPr/>
          </p:nvGrpSpPr>
          <p:grpSpPr>
            <a:xfrm>
              <a:off x="3635525" y="5273768"/>
              <a:ext cx="1707479" cy="246221"/>
              <a:chOff x="2227362" y="5395915"/>
              <a:chExt cx="1707479" cy="161593"/>
            </a:xfrm>
          </p:grpSpPr>
          <p:sp>
            <p:nvSpPr>
              <p:cNvPr id="256" name="Rectangle 255">
                <a:extLst>
                  <a:ext uri="{FF2B5EF4-FFF2-40B4-BE49-F238E27FC236}">
                    <a16:creationId xmlns:a16="http://schemas.microsoft.com/office/drawing/2014/main" id="{E782BB72-9CC3-F5C7-5D94-15E9918A0EA6}"/>
                  </a:ext>
                </a:extLst>
              </p:cNvPr>
              <p:cNvSpPr/>
              <p:nvPr/>
            </p:nvSpPr>
            <p:spPr>
              <a:xfrm flipV="1">
                <a:off x="2227362" y="5434704"/>
                <a:ext cx="128587" cy="84016"/>
              </a:xfrm>
              <a:prstGeom prst="rect">
                <a:avLst/>
              </a:prstGeom>
              <a:solidFill>
                <a:srgbClr val="1DCE9B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58" name="TextBox 257">
                <a:extLst>
                  <a:ext uri="{FF2B5EF4-FFF2-40B4-BE49-F238E27FC236}">
                    <a16:creationId xmlns:a16="http://schemas.microsoft.com/office/drawing/2014/main" id="{91A8DF1B-5C88-077D-3E7F-9D2C24CCBC2B}"/>
                  </a:ext>
                </a:extLst>
              </p:cNvPr>
              <p:cNvSpPr txBox="1"/>
              <p:nvPr/>
            </p:nvSpPr>
            <p:spPr>
              <a:xfrm>
                <a:off x="2307472" y="5395915"/>
                <a:ext cx="1627369" cy="161593"/>
              </a:xfrm>
              <a:prstGeom prst="rect">
                <a:avLst/>
              </a:prstGeom>
              <a:noFill/>
            </p:spPr>
            <p:txBody>
              <a:bodyPr wrap="none" rtlCol="0" anchor="ctr" anchorCtr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uMRD4 Rate in </a:t>
                </a:r>
                <a:r>
                  <a:rPr kumimoji="0" lang="en-US" sz="1000" b="1" i="0" u="none" strike="noStrike" kern="1200" cap="none" spc="0" normalizeH="0" baseline="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Marrow</a:t>
                </a:r>
                <a:r>
                  <a:rPr kumimoji="0" lang="en-US" sz="1000" b="1" i="0" u="none" strike="noStrike" kern="1200" cap="none" spc="0" normalizeH="0" baseline="30000" noProof="0" dirty="0" err="1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a</a:t>
                </a:r>
                <a:endParaRPr kumimoji="0" lang="en-US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6815BD92-A8F7-1DAA-A36A-8021A207048E}"/>
              </a:ext>
            </a:extLst>
          </p:cNvPr>
          <p:cNvSpPr txBox="1"/>
          <p:nvPr/>
        </p:nvSpPr>
        <p:spPr>
          <a:xfrm>
            <a:off x="159179" y="6419729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2242164158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96D228-5BD7-6F8C-0E6E-6FFBFEF64B3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D9233C-A139-3CBE-F02D-91CD5CDA95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What about Liso-cel + Ibrutinib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BDFC627-E8AB-C368-787A-769D420F75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311007"/>
            <a:ext cx="9753600" cy="5394593"/>
          </a:xfrm>
        </p:spPr>
        <p:txBody>
          <a:bodyPr>
            <a:normAutofit/>
          </a:bodyPr>
          <a:lstStyle/>
          <a:p>
            <a:r>
              <a:rPr lang="en-US" b="1" dirty="0"/>
              <a:t>Also heavily pretreated</a:t>
            </a:r>
          </a:p>
          <a:p>
            <a:endParaRPr lang="en-US" sz="2400" b="1" dirty="0"/>
          </a:p>
          <a:p>
            <a:r>
              <a:rPr lang="en-US" b="1" dirty="0"/>
              <a:t>CR rate higher at 45% - but hard to compare patient populations across studies</a:t>
            </a:r>
          </a:p>
          <a:p>
            <a:endParaRPr lang="en-US" b="1" dirty="0"/>
          </a:p>
          <a:p>
            <a:r>
              <a:rPr lang="en-US" b="1" dirty="0"/>
              <a:t>Ibrutinib side effects (brain hemorrhage, cardiac arrests on prior studies) plus still 59% needed steroids or </a:t>
            </a:r>
            <a:r>
              <a:rPr lang="en-US" b="1" dirty="0" err="1"/>
              <a:t>toci</a:t>
            </a:r>
            <a:r>
              <a:rPr lang="en-US" b="1" dirty="0"/>
              <a:t> for CRS</a:t>
            </a:r>
          </a:p>
          <a:p>
            <a:endParaRPr lang="en-US" b="1" dirty="0"/>
          </a:p>
          <a:p>
            <a:r>
              <a:rPr lang="en-US" b="1" dirty="0"/>
              <a:t>Consider studies with second generation BTKis</a:t>
            </a:r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6B5B2A2-0DAE-4F81-4A61-A49CF68A4E97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3620398597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756449-5DEA-5B86-67B9-969E8B7819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3094"/>
            <a:ext cx="10972800" cy="713539"/>
          </a:xfrm>
        </p:spPr>
        <p:txBody>
          <a:bodyPr/>
          <a:lstStyle/>
          <a:p>
            <a:pPr algn="ctr"/>
            <a:r>
              <a:rPr lang="en-US" dirty="0"/>
              <a:t>EPCO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E9A9E36-E1AA-E6CC-93CF-2A37FFAD3C54}"/>
              </a:ext>
            </a:extLst>
          </p:cNvPr>
          <p:cNvSpPr txBox="1"/>
          <p:nvPr/>
        </p:nvSpPr>
        <p:spPr>
          <a:xfrm>
            <a:off x="50683" y="6134995"/>
            <a:ext cx="6896291" cy="153888"/>
          </a:xfrm>
          <a:prstGeom prst="rect">
            <a:avLst/>
          </a:prstGeom>
          <a:noFill/>
        </p:spPr>
        <p:txBody>
          <a:bodyPr wrap="square" lIns="0" tIns="0" rIns="0" bIns="0" anchor="b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MS PGothic"/>
                <a:cs typeface="+mn-cs"/>
              </a:rPr>
              <a:t>ClinicalTrials.gov: NCT04623541; EudraCT: 2023-504828-25.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3741FA2F-0712-D817-24E2-9CB13430C682}"/>
              </a:ext>
            </a:extLst>
          </p:cNvPr>
          <p:cNvGrpSpPr/>
          <p:nvPr/>
        </p:nvGrpSpPr>
        <p:grpSpPr>
          <a:xfrm>
            <a:off x="73719" y="662683"/>
            <a:ext cx="12110664" cy="5239923"/>
            <a:chOff x="87927" y="662683"/>
            <a:chExt cx="12110664" cy="5239923"/>
          </a:xfrm>
        </p:grpSpPr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1D5969D8-1257-15B9-2A93-1D28849C6122}"/>
                </a:ext>
              </a:extLst>
            </p:cNvPr>
            <p:cNvGrpSpPr/>
            <p:nvPr/>
          </p:nvGrpSpPr>
          <p:grpSpPr>
            <a:xfrm>
              <a:off x="87927" y="1211252"/>
              <a:ext cx="7451397" cy="4272869"/>
              <a:chOff x="87927" y="1008052"/>
              <a:chExt cx="7451397" cy="4272869"/>
            </a:xfrm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580DF07F-5A75-2112-E442-03A213AA6E94}"/>
                  </a:ext>
                </a:extLst>
              </p:cNvPr>
              <p:cNvGrpSpPr/>
              <p:nvPr/>
            </p:nvGrpSpPr>
            <p:grpSpPr>
              <a:xfrm>
                <a:off x="87927" y="1514788"/>
                <a:ext cx="7451397" cy="3766133"/>
                <a:chOff x="90339" y="1514788"/>
                <a:chExt cx="7723615" cy="3766133"/>
              </a:xfrm>
            </p:grpSpPr>
            <p:sp>
              <p:nvSpPr>
                <p:cNvPr id="7" name="Rectangle: Rounded Corners 7">
                  <a:extLst>
                    <a:ext uri="{FF2B5EF4-FFF2-40B4-BE49-F238E27FC236}">
                      <a16:creationId xmlns:a16="http://schemas.microsoft.com/office/drawing/2014/main" id="{B49E9F5C-94CF-5B70-5191-1DE5CFCA97C7}"/>
                    </a:ext>
                  </a:extLst>
                </p:cNvPr>
                <p:cNvSpPr>
                  <a:spLocks/>
                </p:cNvSpPr>
                <p:nvPr/>
              </p:nvSpPr>
              <p:spPr>
                <a:xfrm>
                  <a:off x="90339" y="2581793"/>
                  <a:ext cx="1797606" cy="2296072"/>
                </a:xfrm>
                <a:prstGeom prst="roundRect">
                  <a:avLst>
                    <a:gd name="adj" fmla="val 3332"/>
                  </a:avLst>
                </a:prstGeom>
                <a:solidFill>
                  <a:srgbClr val="E8E0EB"/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ot="0" spcFirstLastPara="1" vert="horz" wrap="square" lIns="45720" tIns="45720" rIns="45720" bIns="45720" numCol="1" spcCol="38100" rtlCol="0" anchor="ctr">
                  <a:noAutofit/>
                </a:bodyPr>
                <a:lstStyle>
                  <a:defPPr marL="0" marR="0" indent="0" algn="l" defTabSz="914400" rtl="0" fontAlgn="auto" latinLnBrk="1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8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</a:defRPr>
                  </a:defPPr>
                  <a:lvl1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1pPr>
                  <a:lvl2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2pPr>
                  <a:lvl3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3pPr>
                  <a:lvl4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4pPr>
                  <a:lvl5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5pPr>
                  <a:lvl6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6pPr>
                  <a:lvl7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7pPr>
                  <a:lvl8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8pPr>
                  <a:lvl9pPr marL="0" marR="0" indent="0" algn="l" defTabSz="914400" rtl="0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kumimoji="0" sz="1200" b="0" i="0" u="none" strike="noStrike" cap="none" spc="0" normalizeH="0" baseline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FillTx/>
                      <a:latin typeface="+mj-lt"/>
                      <a:ea typeface="+mj-ea"/>
                      <a:cs typeface="+mj-cs"/>
                      <a:sym typeface="Helvetica"/>
                    </a:defRPr>
                  </a:lvl9pPr>
                </a:lstStyle>
                <a:p>
                  <a:pPr marL="0" marR="0" lvl="0" indent="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Key inclusion criteria</a:t>
                  </a:r>
                </a:p>
                <a:p>
                  <a:pPr marL="0" marR="0" lvl="0" indent="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1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Arial"/>
                    <a:ea typeface="+mj-ea"/>
                    <a:cs typeface="+mj-cs"/>
                    <a:sym typeface="Helvetica"/>
                  </a:endParaRP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CD20</a:t>
                  </a:r>
                  <a:r>
                    <a:rPr kumimoji="0" lang="en-US" sz="11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+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 R/R CLL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≥2 prior lines of systemic therapy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ECOG PS 0–2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6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Measurable disease with ≥5×10</a:t>
                  </a:r>
                  <a:r>
                    <a:rPr kumimoji="0" lang="en-US" sz="1100" b="0" i="0" u="none" strike="noStrike" kern="0" cap="none" spc="0" normalizeH="0" baseline="3000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9</a:t>
                  </a: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/L B lymphocytes (expansion only) </a:t>
                  </a:r>
                </a:p>
                <a:p>
                  <a:pPr marL="114300" marR="0" lvl="0" indent="-114300" algn="l" defTabSz="914400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1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+mj-ea"/>
                      <a:cs typeface="+mj-cs"/>
                      <a:sym typeface="Helvetica"/>
                    </a:rPr>
                    <a:t>No prior allogeneic HSCT</a:t>
                  </a:r>
                </a:p>
              </p:txBody>
            </p:sp>
            <p:sp>
              <p:nvSpPr>
                <p:cNvPr id="8" name="Rectangle: Rounded Corners 33">
                  <a:extLst>
                    <a:ext uri="{FF2B5EF4-FFF2-40B4-BE49-F238E27FC236}">
                      <a16:creationId xmlns:a16="http://schemas.microsoft.com/office/drawing/2014/main" id="{1823D23F-B0F1-AC04-0D44-A41DAA9345AD}"/>
                    </a:ext>
                  </a:extLst>
                </p:cNvPr>
                <p:cNvSpPr/>
                <p:nvPr/>
              </p:nvSpPr>
              <p:spPr>
                <a:xfrm>
                  <a:off x="1864564" y="4373880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1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1): 0.16 mg</a:t>
                  </a:r>
                </a:p>
              </p:txBody>
            </p:sp>
            <p:sp>
              <p:nvSpPr>
                <p:cNvPr id="9" name="Rectangle: Rounded Corners 8">
                  <a:extLst>
                    <a:ext uri="{FF2B5EF4-FFF2-40B4-BE49-F238E27FC236}">
                      <a16:creationId xmlns:a16="http://schemas.microsoft.com/office/drawing/2014/main" id="{D287B7A8-702B-D12F-3D92-BDD8EADE882D}"/>
                    </a:ext>
                  </a:extLst>
                </p:cNvPr>
                <p:cNvSpPr/>
                <p:nvPr/>
              </p:nvSpPr>
              <p:spPr>
                <a:xfrm>
                  <a:off x="1864564" y="1514788"/>
                  <a:ext cx="2475945" cy="364973"/>
                </a:xfrm>
                <a:prstGeom prst="roundRect">
                  <a:avLst/>
                </a:prstGeom>
                <a:solidFill>
                  <a:srgbClr val="041E49"/>
                </a:solidFill>
                <a:ln w="12700" cap="flat" cmpd="sng" algn="ctr">
                  <a:solidFill>
                    <a:srgbClr val="041E49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Expansion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(EXP; </a:t>
                  </a: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>
                        <a:outerShdw blurRad="38100" dist="38100" dir="2700000" algn="tl">
                          <a:srgbClr val="000000">
                            <a:alpha val="43137"/>
                          </a:srgbClr>
                        </a:outerShdw>
                      </a:effectLst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N=23)</a:t>
                  </a:r>
                  <a:endParaRPr kumimoji="0" lang="en-US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Arial" panose="020B0604020202020204"/>
                    <a:ea typeface="MS PGothic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0" name="TextBox 9">
                  <a:extLst>
                    <a:ext uri="{FF2B5EF4-FFF2-40B4-BE49-F238E27FC236}">
                      <a16:creationId xmlns:a16="http://schemas.microsoft.com/office/drawing/2014/main" id="{9CAB03F0-0C3C-A601-04E0-13213EA0D474}"/>
                    </a:ext>
                  </a:extLst>
                </p:cNvPr>
                <p:cNvSpPr txBox="1"/>
                <p:nvPr/>
              </p:nvSpPr>
              <p:spPr>
                <a:xfrm>
                  <a:off x="1885128" y="4919284"/>
                  <a:ext cx="2434818" cy="361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Data cutoff: May 28, 2024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Median follow-up: 22.8 months</a:t>
                  </a:r>
                </a:p>
              </p:txBody>
            </p:sp>
            <p:sp>
              <p:nvSpPr>
                <p:cNvPr id="11" name="Rectangle: Rounded Corners 33">
                  <a:extLst>
                    <a:ext uri="{FF2B5EF4-FFF2-40B4-BE49-F238E27FC236}">
                      <a16:creationId xmlns:a16="http://schemas.microsoft.com/office/drawing/2014/main" id="{2DF08C01-8431-FBAA-0CF3-AF3325CBC4F1}"/>
                    </a:ext>
                  </a:extLst>
                </p:cNvPr>
                <p:cNvSpPr/>
                <p:nvPr/>
              </p:nvSpPr>
              <p:spPr>
                <a:xfrm>
                  <a:off x="2670686" y="3353308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2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8): 0.8 mg</a:t>
                  </a:r>
                </a:p>
              </p:txBody>
            </p:sp>
            <p:sp>
              <p:nvSpPr>
                <p:cNvPr id="12" name="Rectangle: Rounded Corners 33">
                  <a:extLst>
                    <a:ext uri="{FF2B5EF4-FFF2-40B4-BE49-F238E27FC236}">
                      <a16:creationId xmlns:a16="http://schemas.microsoft.com/office/drawing/2014/main" id="{5DD2CE7B-F492-B919-1A11-D88DD5C34833}"/>
                    </a:ext>
                  </a:extLst>
                </p:cNvPr>
                <p:cNvSpPr/>
                <p:nvPr/>
              </p:nvSpPr>
              <p:spPr>
                <a:xfrm>
                  <a:off x="3476808" y="2135429"/>
                  <a:ext cx="1257947" cy="529558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First full dose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15): 48 mg</a:t>
                  </a:r>
                </a:p>
              </p:txBody>
            </p:sp>
            <p:cxnSp>
              <p:nvCxnSpPr>
                <p:cNvPr id="13" name="Straight Arrow Connector 12">
                  <a:extLst>
                    <a:ext uri="{FF2B5EF4-FFF2-40B4-BE49-F238E27FC236}">
                      <a16:creationId xmlns:a16="http://schemas.microsoft.com/office/drawing/2014/main" id="{C91FC4C3-82A4-5E26-5454-17164966730B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864564" y="2280585"/>
                  <a:ext cx="1521978" cy="1865709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cxnSp>
              <p:nvCxnSpPr>
                <p:cNvPr id="14" name="Straight Arrow Connector 13">
                  <a:extLst>
                    <a:ext uri="{FF2B5EF4-FFF2-40B4-BE49-F238E27FC236}">
                      <a16:creationId xmlns:a16="http://schemas.microsoft.com/office/drawing/2014/main" id="{581367A2-BE95-A813-3ECD-39D99C1534F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1864564" y="2280585"/>
                  <a:ext cx="1521978" cy="1865709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sp>
              <p:nvSpPr>
                <p:cNvPr id="15" name="Rectangle: Rounded Corners 14">
                  <a:extLst>
                    <a:ext uri="{FF2B5EF4-FFF2-40B4-BE49-F238E27FC236}">
                      <a16:creationId xmlns:a16="http://schemas.microsoft.com/office/drawing/2014/main" id="{EC50EA50-35FB-5421-2779-1CB9591AFB7A}"/>
                    </a:ext>
                  </a:extLst>
                </p:cNvPr>
                <p:cNvSpPr/>
                <p:nvPr/>
              </p:nvSpPr>
              <p:spPr>
                <a:xfrm>
                  <a:off x="4943763" y="1514788"/>
                  <a:ext cx="2475945" cy="364973"/>
                </a:xfrm>
                <a:prstGeom prst="roundRect">
                  <a:avLst/>
                </a:prstGeom>
                <a:solidFill>
                  <a:srgbClr val="041E49"/>
                </a:solidFill>
                <a:ln w="12700" cap="flat" cmpd="sng" algn="ctr">
                  <a:solidFill>
                    <a:srgbClr val="041E49"/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Cycle 1 Optimization 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 panose="020B0604020202020204"/>
                      <a:ea typeface="MS PGothic"/>
                      <a:cs typeface="Arial" panose="020B0604020202020204" pitchFamily="34" charset="0"/>
                    </a:rPr>
                    <a:t>(C1 OPT; N=17)</a:t>
                  </a:r>
                  <a:endParaRPr kumimoji="0" lang="en-US" sz="1200" b="1" i="0" u="none" strike="noStrike" kern="0" cap="none" spc="0" normalizeH="0" baseline="3000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highlight>
                      <a:srgbClr val="FFFF00"/>
                    </a:highlight>
                    <a:uLnTx/>
                    <a:uFillTx/>
                    <a:latin typeface="Arial" panose="020B0604020202020204"/>
                    <a:ea typeface="MS PGothic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16" name="TextBox 15">
                  <a:extLst>
                    <a:ext uri="{FF2B5EF4-FFF2-40B4-BE49-F238E27FC236}">
                      <a16:creationId xmlns:a16="http://schemas.microsoft.com/office/drawing/2014/main" id="{60C471C6-9FE9-2D6D-7478-7B609679A0BD}"/>
                    </a:ext>
                  </a:extLst>
                </p:cNvPr>
                <p:cNvSpPr txBox="1"/>
                <p:nvPr/>
              </p:nvSpPr>
              <p:spPr>
                <a:xfrm>
                  <a:off x="4953287" y="1925868"/>
                  <a:ext cx="1333217" cy="715089"/>
                </a:xfrm>
                <a:prstGeom prst="roundRect">
                  <a:avLst/>
                </a:prstGeom>
                <a:noFill/>
                <a:ln w="28575">
                  <a:solidFill>
                    <a:srgbClr val="041E49"/>
                  </a:solidFill>
                </a:ln>
              </p:spPr>
              <p:txBody>
                <a:bodyPr wrap="square" lIns="45720" tIns="0" rIns="45720" bIns="0" rtlCol="0" anchor="ctr" anchorCtr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CRS</a:t>
                  </a: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 </a:t>
                  </a: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prophylaxis</a:t>
                  </a:r>
                  <a:endParaRPr kumimoji="0" lang="en-US" sz="1050" b="1" i="1" u="sng" strike="noStrike" kern="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MS PGothic"/>
                    <a:cs typeface="+mn-cs"/>
                  </a:endParaRPr>
                </a:p>
                <a:p>
                  <a:pPr marL="91440" marR="0" lvl="0" indent="-9144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05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Dexamethasone</a:t>
                  </a:r>
                </a:p>
                <a:p>
                  <a:pPr marL="91440" marR="0" lvl="0" indent="-9144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05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Adequate hydration</a:t>
                  </a:r>
                </a:p>
              </p:txBody>
            </p:sp>
            <p:sp>
              <p:nvSpPr>
                <p:cNvPr id="17" name="TextBox 16">
                  <a:extLst>
                    <a:ext uri="{FF2B5EF4-FFF2-40B4-BE49-F238E27FC236}">
                      <a16:creationId xmlns:a16="http://schemas.microsoft.com/office/drawing/2014/main" id="{9ED85FF4-EF34-1C81-1BBF-B084576DC854}"/>
                    </a:ext>
                  </a:extLst>
                </p:cNvPr>
                <p:cNvSpPr txBox="1"/>
                <p:nvPr/>
              </p:nvSpPr>
              <p:spPr>
                <a:xfrm>
                  <a:off x="5025973" y="4919284"/>
                  <a:ext cx="2311527" cy="361637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Data cutoff: May 28, 2024</a:t>
                  </a:r>
                </a:p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3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Median follow-up: </a:t>
                  </a:r>
                  <a:r>
                    <a:rPr kumimoji="0" lang="en-US" sz="105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Arial" panose="020B0604020202020204" pitchFamily="34" charset="0"/>
                    </a:rPr>
                    <a:t>2.9 months</a:t>
                  </a:r>
                </a:p>
              </p:txBody>
            </p:sp>
            <p:sp>
              <p:nvSpPr>
                <p:cNvPr id="18" name="Rectangle: Rounded Corners 33">
                  <a:extLst>
                    <a:ext uri="{FF2B5EF4-FFF2-40B4-BE49-F238E27FC236}">
                      <a16:creationId xmlns:a16="http://schemas.microsoft.com/office/drawing/2014/main" id="{A0D02F38-7482-DB4E-7709-E33F8DD7F2D2}"/>
                    </a:ext>
                  </a:extLst>
                </p:cNvPr>
                <p:cNvSpPr/>
                <p:nvPr/>
              </p:nvSpPr>
              <p:spPr>
                <a:xfrm>
                  <a:off x="4943764" y="4373880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1 (C1D1): 0.16 mg</a:t>
                  </a:r>
                </a:p>
              </p:txBody>
            </p:sp>
            <p:sp>
              <p:nvSpPr>
                <p:cNvPr id="19" name="Rectangle: Rounded Corners 33">
                  <a:extLst>
                    <a:ext uri="{FF2B5EF4-FFF2-40B4-BE49-F238E27FC236}">
                      <a16:creationId xmlns:a16="http://schemas.microsoft.com/office/drawing/2014/main" id="{05856FA9-30CD-51F2-42B2-7632FD1DF3E9}"/>
                    </a:ext>
                  </a:extLst>
                </p:cNvPr>
                <p:cNvSpPr/>
                <p:nvPr/>
              </p:nvSpPr>
              <p:spPr>
                <a:xfrm>
                  <a:off x="5481179" y="3693500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2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8): 0.8 mg</a:t>
                  </a:r>
                </a:p>
              </p:txBody>
            </p:sp>
            <p:sp>
              <p:nvSpPr>
                <p:cNvPr id="20" name="Rectangle: Rounded Corners 33">
                  <a:extLst>
                    <a:ext uri="{FF2B5EF4-FFF2-40B4-BE49-F238E27FC236}">
                      <a16:creationId xmlns:a16="http://schemas.microsoft.com/office/drawing/2014/main" id="{AF7AE911-7132-C505-7C49-86E29C103855}"/>
                    </a:ext>
                  </a:extLst>
                </p:cNvPr>
                <p:cNvSpPr/>
                <p:nvPr/>
              </p:nvSpPr>
              <p:spPr>
                <a:xfrm>
                  <a:off x="6079553" y="3013118"/>
                  <a:ext cx="1257947" cy="378256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Step-up dose 3</a:t>
                  </a:r>
                </a:p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(C1D15): 3 mg</a:t>
                  </a:r>
                </a:p>
              </p:txBody>
            </p:sp>
            <p:sp>
              <p:nvSpPr>
                <p:cNvPr id="21" name="Rectangle: Rounded Corners 33">
                  <a:extLst>
                    <a:ext uri="{FF2B5EF4-FFF2-40B4-BE49-F238E27FC236}">
                      <a16:creationId xmlns:a16="http://schemas.microsoft.com/office/drawing/2014/main" id="{D74AF504-E7CA-98C1-1340-5A7A18B78DBD}"/>
                    </a:ext>
                  </a:extLst>
                </p:cNvPr>
                <p:cNvSpPr/>
                <p:nvPr/>
              </p:nvSpPr>
              <p:spPr>
                <a:xfrm>
                  <a:off x="6556007" y="2135429"/>
                  <a:ext cx="1257947" cy="529558"/>
                </a:xfrm>
                <a:prstGeom prst="roundRect">
                  <a:avLst>
                    <a:gd name="adj" fmla="val 14466"/>
                  </a:avLst>
                </a:prstGeom>
                <a:solidFill>
                  <a:srgbClr val="CDEBEA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spcFirstLastPara="0" vert="horz" wrap="square" lIns="45720" tIns="45720" rIns="45720" bIns="45720" numCol="1" spcCol="1270" anchor="ctr" anchorCtr="0">
                  <a:noAutofit/>
                </a:bodyPr>
                <a:lstStyle/>
                <a:p>
                  <a:pPr marL="0" marR="0" lvl="0" indent="0" algn="ctr" defTabSz="456021" rtl="0" eaLnBrk="1" fontAlgn="auto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First full dose (C1D22): 48 mg</a:t>
                  </a:r>
                </a:p>
              </p:txBody>
            </p:sp>
            <p:cxnSp>
              <p:nvCxnSpPr>
                <p:cNvPr id="22" name="Straight Arrow Connector 21">
                  <a:extLst>
                    <a:ext uri="{FF2B5EF4-FFF2-40B4-BE49-F238E27FC236}">
                      <a16:creationId xmlns:a16="http://schemas.microsoft.com/office/drawing/2014/main" id="{3C46924B-7A66-5F67-8355-46BBCC7C1A7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V="1">
                  <a:off x="4961758" y="2342025"/>
                  <a:ext cx="1588646" cy="1804270"/>
                </a:xfrm>
                <a:prstGeom prst="straightConnector1">
                  <a:avLst/>
                </a:prstGeom>
                <a:noFill/>
                <a:ln w="38100" cap="flat" cmpd="sng" algn="ctr">
                  <a:solidFill>
                    <a:srgbClr val="041E49"/>
                  </a:solidFill>
                  <a:prstDash val="solid"/>
                  <a:miter lim="800000"/>
                  <a:tailEnd type="triangle"/>
                </a:ln>
                <a:effectLst/>
              </p:spPr>
            </p:cxn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id="{0DFBFD04-CF14-EA64-7E0F-92FFE6DC7461}"/>
                    </a:ext>
                  </a:extLst>
                </p:cNvPr>
                <p:cNvSpPr txBox="1"/>
                <p:nvPr/>
              </p:nvSpPr>
              <p:spPr>
                <a:xfrm>
                  <a:off x="1864564" y="1997946"/>
                  <a:ext cx="1193235" cy="429959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050" b="1" i="1" u="sng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CRS prophylaxis</a:t>
                  </a:r>
                </a:p>
                <a:p>
                  <a:pPr marL="91440" marR="0" lvl="0" indent="-9144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05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41E49"/>
                      </a:solidFill>
                      <a:effectLst/>
                      <a:uLnTx/>
                      <a:uFillTx/>
                      <a:latin typeface="Arial"/>
                      <a:ea typeface="MS PGothic"/>
                      <a:cs typeface="+mn-cs"/>
                    </a:rPr>
                    <a:t>Prednisone</a:t>
                  </a:r>
                </a:p>
              </p:txBody>
            </p:sp>
          </p:grp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C55B5E59-5095-F488-371D-03243B685F21}"/>
                  </a:ext>
                </a:extLst>
              </p:cNvPr>
              <p:cNvSpPr txBox="1"/>
              <p:nvPr/>
            </p:nvSpPr>
            <p:spPr>
              <a:xfrm>
                <a:off x="993593" y="1008052"/>
                <a:ext cx="5573962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Study Design: EPCORE</a:t>
                </a:r>
                <a:r>
                  <a:rPr kumimoji="0" lang="en-US" sz="1400" b="1" i="0" u="none" strike="noStrike" kern="1200" cap="none" spc="0" normalizeH="0" baseline="3000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®</a:t>
                </a:r>
                <a:r>
                  <a:rPr kumimoji="0" lang="en-US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CLL-1 Expansion and C1 Optimization</a:t>
                </a:r>
                <a:endParaRPr kumimoji="0" lang="en-US" sz="2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09720F9B-F477-BB04-EA69-62D0117DBF30}"/>
                </a:ext>
              </a:extLst>
            </p:cNvPr>
            <p:cNvSpPr txBox="1"/>
            <p:nvPr/>
          </p:nvSpPr>
          <p:spPr>
            <a:xfrm>
              <a:off x="8121133" y="662683"/>
              <a:ext cx="4077458" cy="52322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C1 OPT Mitigated Adverse Events of Interest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Arial" panose="020B0604020202020204" pitchFamily="34" charset="0"/>
                </a:rPr>
                <a:t>Including ICANS and Clinical TLS</a:t>
              </a:r>
              <a:endParaRPr kumimoji="0" lang="en-US" sz="1400" b="1" i="0" u="none" strike="sng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endParaRPr>
            </a:p>
          </p:txBody>
        </p: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7691011-D1DC-3243-7DEC-6CAEAAD5C7DB}"/>
                </a:ext>
              </a:extLst>
            </p:cNvPr>
            <p:cNvGrpSpPr/>
            <p:nvPr/>
          </p:nvGrpSpPr>
          <p:grpSpPr>
            <a:xfrm>
              <a:off x="7619792" y="1221006"/>
              <a:ext cx="4572203" cy="4681600"/>
              <a:chOff x="6655470" y="1554480"/>
              <a:chExt cx="5015460" cy="4681600"/>
            </a:xfrm>
          </p:grpSpPr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id="{12D30630-792D-D6F2-9190-7A72335206E0}"/>
                  </a:ext>
                </a:extLst>
              </p:cNvPr>
              <p:cNvGrpSpPr/>
              <p:nvPr/>
            </p:nvGrpSpPr>
            <p:grpSpPr>
              <a:xfrm>
                <a:off x="7426908" y="6053201"/>
                <a:ext cx="2560320" cy="182879"/>
                <a:chOff x="1676869" y="8393744"/>
                <a:chExt cx="2553010" cy="275088"/>
              </a:xfrm>
            </p:grpSpPr>
            <p:cxnSp>
              <p:nvCxnSpPr>
                <p:cNvPr id="46" name="Straight Connector 45">
                  <a:extLst>
                    <a:ext uri="{FF2B5EF4-FFF2-40B4-BE49-F238E27FC236}">
                      <a16:creationId xmlns:a16="http://schemas.microsoft.com/office/drawing/2014/main" id="{D7B08821-D755-F931-B4B1-B6CF3601268D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76869" y="8531287"/>
                  <a:ext cx="2553010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A195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47" name="TextBox 46">
                  <a:extLst>
                    <a:ext uri="{FF2B5EF4-FFF2-40B4-BE49-F238E27FC236}">
                      <a16:creationId xmlns:a16="http://schemas.microsoft.com/office/drawing/2014/main" id="{C4429735-FC3F-28EC-8CB4-98A7BAE73CCF}"/>
                    </a:ext>
                  </a:extLst>
                </p:cNvPr>
                <p:cNvSpPr txBox="1"/>
                <p:nvPr/>
              </p:nvSpPr>
              <p:spPr>
                <a:xfrm>
                  <a:off x="2588658" y="8393744"/>
                  <a:ext cx="729431" cy="275088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ycle 1</a:t>
                  </a:r>
                </a:p>
              </p:txBody>
            </p:sp>
          </p:grpSp>
          <p:graphicFrame>
            <p:nvGraphicFramePr>
              <p:cNvPr id="33" name="Chart 32">
                <a:extLst>
                  <a:ext uri="{FF2B5EF4-FFF2-40B4-BE49-F238E27FC236}">
                    <a16:creationId xmlns:a16="http://schemas.microsoft.com/office/drawing/2014/main" id="{8997D225-1058-DA4A-59F5-F9C20BA5C498}"/>
                  </a:ext>
                </a:extLst>
              </p:cNvPr>
              <p:cNvGraphicFramePr/>
              <p:nvPr/>
            </p:nvGraphicFramePr>
            <p:xfrm>
              <a:off x="6741837" y="4312414"/>
              <a:ext cx="4870726" cy="1755648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16EA2F4F-64DA-7050-FD50-F145D79D3439}"/>
                  </a:ext>
                </a:extLst>
              </p:cNvPr>
              <p:cNvSpPr txBox="1"/>
              <p:nvPr/>
            </p:nvSpPr>
            <p:spPr>
              <a:xfrm>
                <a:off x="7255459" y="4219550"/>
                <a:ext cx="4372662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6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1 OPT</a:t>
                </a:r>
              </a:p>
            </p:txBody>
          </p:sp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6B52B46F-4659-970A-66BC-1E0298E840E3}"/>
                  </a:ext>
                </a:extLst>
              </p:cNvPr>
              <p:cNvSpPr txBox="1"/>
              <p:nvPr/>
            </p:nvSpPr>
            <p:spPr>
              <a:xfrm rot="16200000">
                <a:off x="6200382" y="4867834"/>
                <a:ext cx="1095864" cy="185688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Incidence</a:t>
                </a:r>
                <a:r>
                  <a:rPr kumimoji="0" lang="en-US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 </a:t>
                </a: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(%)</a:t>
                </a:r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DB609FB4-7D1A-8644-36D9-996F122567C7}"/>
                  </a:ext>
                </a:extLst>
              </p:cNvPr>
              <p:cNvGrpSpPr/>
              <p:nvPr/>
            </p:nvGrpSpPr>
            <p:grpSpPr>
              <a:xfrm>
                <a:off x="6787817" y="1554480"/>
                <a:ext cx="4883113" cy="2482345"/>
                <a:chOff x="6787817" y="1647825"/>
                <a:chExt cx="4883113" cy="2482345"/>
              </a:xfrm>
            </p:grpSpPr>
            <p:sp>
              <p:nvSpPr>
                <p:cNvPr id="38" name="TextBox 37">
                  <a:extLst>
                    <a:ext uri="{FF2B5EF4-FFF2-40B4-BE49-F238E27FC236}">
                      <a16:creationId xmlns:a16="http://schemas.microsoft.com/office/drawing/2014/main" id="{C3BE7341-7E90-D446-5032-972C8C599F31}"/>
                    </a:ext>
                  </a:extLst>
                </p:cNvPr>
                <p:cNvSpPr txBox="1"/>
                <p:nvPr/>
              </p:nvSpPr>
              <p:spPr>
                <a:xfrm>
                  <a:off x="7265761" y="1647825"/>
                  <a:ext cx="4352058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RS Events by Dosing Period</a:t>
                  </a:r>
                </a:p>
              </p:txBody>
            </p:sp>
            <p:sp>
              <p:nvSpPr>
                <p:cNvPr id="39" name="TextBox 38">
                  <a:extLst>
                    <a:ext uri="{FF2B5EF4-FFF2-40B4-BE49-F238E27FC236}">
                      <a16:creationId xmlns:a16="http://schemas.microsoft.com/office/drawing/2014/main" id="{6268A441-56FF-43B5-2237-232E4DAE22DB}"/>
                    </a:ext>
                  </a:extLst>
                </p:cNvPr>
                <p:cNvSpPr txBox="1"/>
                <p:nvPr/>
              </p:nvSpPr>
              <p:spPr>
                <a:xfrm>
                  <a:off x="7298421" y="1974356"/>
                  <a:ext cx="4286738" cy="246221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EXP</a:t>
                  </a:r>
                </a:p>
              </p:txBody>
            </p:sp>
            <p:graphicFrame>
              <p:nvGraphicFramePr>
                <p:cNvPr id="40" name="Chart 39">
                  <a:extLst>
                    <a:ext uri="{FF2B5EF4-FFF2-40B4-BE49-F238E27FC236}">
                      <a16:creationId xmlns:a16="http://schemas.microsoft.com/office/drawing/2014/main" id="{8517A03E-09C8-39F2-87D7-EF63AB648FCF}"/>
                    </a:ext>
                  </a:extLst>
                </p:cNvPr>
                <p:cNvGraphicFramePr/>
                <p:nvPr/>
              </p:nvGraphicFramePr>
              <p:xfrm>
                <a:off x="6916050" y="2225394"/>
                <a:ext cx="4754880" cy="1756147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4"/>
                </a:graphicData>
              </a:graphic>
            </p:graphicFrame>
            <p:sp>
              <p:nvSpPr>
                <p:cNvPr id="41" name="TextBox 40">
                  <a:extLst>
                    <a:ext uri="{FF2B5EF4-FFF2-40B4-BE49-F238E27FC236}">
                      <a16:creationId xmlns:a16="http://schemas.microsoft.com/office/drawing/2014/main" id="{118D6DB0-E78A-7E44-6B11-3073A8A9D893}"/>
                    </a:ext>
                  </a:extLst>
                </p:cNvPr>
                <p:cNvSpPr txBox="1"/>
                <p:nvPr/>
              </p:nvSpPr>
              <p:spPr>
                <a:xfrm rot="16200000">
                  <a:off x="6335550" y="2762723"/>
                  <a:ext cx="1090222" cy="185688"/>
                </a:xfrm>
                <a:prstGeom prst="rect">
                  <a:avLst/>
                </a:prstGeom>
                <a:noFill/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Incidence (%)</a:t>
                  </a:r>
                </a:p>
              </p:txBody>
            </p: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5A81E936-9CE7-EF24-A477-7A2F35200A5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0907486" y="3333301"/>
                  <a:ext cx="75182" cy="35568"/>
                </a:xfrm>
                <a:prstGeom prst="line">
                  <a:avLst/>
                </a:prstGeom>
                <a:ln w="6350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F0D57CEF-0BF3-4B00-035B-09473575D88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7463218" y="4038730"/>
                  <a:ext cx="3063240" cy="0"/>
                </a:xfrm>
                <a:prstGeom prst="line">
                  <a:avLst/>
                </a:prstGeom>
                <a:noFill/>
                <a:ln w="28575" cap="flat" cmpd="sng" algn="ctr">
                  <a:solidFill>
                    <a:srgbClr val="00A195"/>
                  </a:solidFill>
                  <a:prstDash val="solid"/>
                  <a:miter lim="800000"/>
                </a:ln>
                <a:effectLst/>
              </p:spPr>
            </p:cxnSp>
            <p:sp>
              <p:nvSpPr>
                <p:cNvPr id="44" name="TextBox 43">
                  <a:extLst>
                    <a:ext uri="{FF2B5EF4-FFF2-40B4-BE49-F238E27FC236}">
                      <a16:creationId xmlns:a16="http://schemas.microsoft.com/office/drawing/2014/main" id="{89889863-BE27-BF59-F700-7A8B0349BCC2}"/>
                    </a:ext>
                  </a:extLst>
                </p:cNvPr>
                <p:cNvSpPr txBox="1"/>
                <p:nvPr/>
              </p:nvSpPr>
              <p:spPr>
                <a:xfrm>
                  <a:off x="8629078" y="3947291"/>
                  <a:ext cx="731520" cy="182879"/>
                </a:xfrm>
                <a:prstGeom prst="rect">
                  <a:avLst/>
                </a:prstGeom>
                <a:solidFill>
                  <a:schemeClr val="bg1"/>
                </a:solidFill>
              </p:spPr>
              <p:txBody>
                <a:bodyPr wrap="square" lIns="0" tIns="0" rIns="0" bIns="0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2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Cycle 1</a:t>
                  </a:r>
                </a:p>
              </p:txBody>
            </p:sp>
            <p:sp>
              <p:nvSpPr>
                <p:cNvPr id="45" name="Rectangle 44">
                  <a:extLst>
                    <a:ext uri="{FF2B5EF4-FFF2-40B4-BE49-F238E27FC236}">
                      <a16:creationId xmlns:a16="http://schemas.microsoft.com/office/drawing/2014/main" id="{8987F3D5-84FD-658F-C3FB-789A6B865AA9}"/>
                    </a:ext>
                  </a:extLst>
                </p:cNvPr>
                <p:cNvSpPr/>
                <p:nvPr/>
              </p:nvSpPr>
              <p:spPr>
                <a:xfrm>
                  <a:off x="9121606" y="2277766"/>
                  <a:ext cx="675581" cy="1610327"/>
                </a:xfrm>
                <a:prstGeom prst="rect">
                  <a:avLst/>
                </a:prstGeom>
                <a:noFill/>
                <a:ln w="28575">
                  <a:solidFill>
                    <a:srgbClr val="00A19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C5BBC096-91C5-8F84-97CC-A1204A5F1AE0}"/>
                  </a:ext>
                </a:extLst>
              </p:cNvPr>
              <p:cNvSpPr/>
              <p:nvPr/>
            </p:nvSpPr>
            <p:spPr>
              <a:xfrm>
                <a:off x="9429749" y="4767943"/>
                <a:ext cx="666960" cy="1242331"/>
              </a:xfrm>
              <a:prstGeom prst="rect">
                <a:avLst/>
              </a:prstGeom>
              <a:noFill/>
              <a:ln w="28575">
                <a:solidFill>
                  <a:srgbClr val="00A19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id="{1928AE64-29A0-0CE0-231A-B60141A4B15C}"/>
              </a:ext>
            </a:extLst>
          </p:cNvPr>
          <p:cNvSpPr txBox="1"/>
          <p:nvPr/>
        </p:nvSpPr>
        <p:spPr>
          <a:xfrm>
            <a:off x="8780877" y="6443632"/>
            <a:ext cx="3431382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Danilov A et al ASH 2024; Abstract 883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2BA4152-F05E-E272-6B5E-C2063CA2D29D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3982102351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420AB1-B5A0-82E6-66D2-99AE8BF5C55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EDFD52-9A4C-B5D8-C5D8-F4BABDEEA0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 err="1"/>
              <a:t>Epcoritamab</a:t>
            </a:r>
            <a:r>
              <a:rPr lang="en-US" sz="4400" b="1" dirty="0"/>
              <a:t> in R/R CLL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5862EB-06F8-0F55-2E24-77816EA7415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19200" y="1110705"/>
            <a:ext cx="10061376" cy="4636589"/>
          </a:xfrm>
        </p:spPr>
        <p:txBody>
          <a:bodyPr>
            <a:normAutofit/>
          </a:bodyPr>
          <a:lstStyle/>
          <a:p>
            <a:r>
              <a:rPr lang="en-US" sz="2400" b="1" dirty="0"/>
              <a:t>Optimization cohort to reduce CRS risk</a:t>
            </a:r>
          </a:p>
          <a:p>
            <a:pPr lvl="1"/>
            <a:r>
              <a:rPr lang="en-US" sz="2400" b="1" dirty="0"/>
              <a:t>CRS still most common at the first full dose but now no grade 3 and mostly grade 1 </a:t>
            </a:r>
          </a:p>
          <a:p>
            <a:pPr lvl="1"/>
            <a:endParaRPr lang="en-US" sz="2400" b="1" dirty="0"/>
          </a:p>
          <a:p>
            <a:r>
              <a:rPr lang="en-US" sz="2400" b="1" dirty="0"/>
              <a:t>Heavily pretreated patients, ORR 61% and CR 39% are encouraging</a:t>
            </a:r>
          </a:p>
          <a:p>
            <a:pPr lvl="1"/>
            <a:r>
              <a:rPr lang="en-US" sz="2400" b="1" dirty="0" err="1"/>
              <a:t>uMRD</a:t>
            </a:r>
            <a:r>
              <a:rPr lang="en-US" sz="2400" b="1" dirty="0"/>
              <a:t> 75% in responders </a:t>
            </a:r>
          </a:p>
          <a:p>
            <a:endParaRPr lang="en-US" sz="2400" b="1" dirty="0"/>
          </a:p>
          <a:p>
            <a:r>
              <a:rPr lang="en-US" sz="2400" b="1" dirty="0"/>
              <a:t>Median PFS about one year at present </a:t>
            </a:r>
          </a:p>
          <a:p>
            <a:endParaRPr lang="en-US" sz="2400" b="1" dirty="0"/>
          </a:p>
          <a:p>
            <a:r>
              <a:rPr lang="en-US" sz="2400" b="1" dirty="0"/>
              <a:t>Ongoing enrollment: plan combinations, or consolidation</a:t>
            </a:r>
          </a:p>
          <a:p>
            <a:endParaRPr lang="en-US" sz="2400" b="1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25D4727-720F-A314-F5FA-DEE608817AFC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05508064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4302923F-F5E7-C259-4AD2-2E00B4FC13AD}"/>
              </a:ext>
            </a:extLst>
          </p:cNvPr>
          <p:cNvGrpSpPr/>
          <p:nvPr/>
        </p:nvGrpSpPr>
        <p:grpSpPr>
          <a:xfrm>
            <a:off x="88755" y="541728"/>
            <a:ext cx="12014491" cy="5662773"/>
            <a:chOff x="66566" y="613120"/>
            <a:chExt cx="9010868" cy="4247080"/>
          </a:xfrm>
        </p:grpSpPr>
        <p:pic>
          <p:nvPicPr>
            <p:cNvPr id="2" name="object 2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66566" y="613120"/>
              <a:ext cx="9010868" cy="4247080"/>
            </a:xfrm>
            <a:prstGeom prst="rect">
              <a:avLst/>
            </a:prstGeom>
          </p:spPr>
        </p:pic>
        <p:sp>
          <p:nvSpPr>
            <p:cNvPr id="4" name="object 4"/>
            <p:cNvSpPr txBox="1"/>
            <p:nvPr/>
          </p:nvSpPr>
          <p:spPr>
            <a:xfrm>
              <a:off x="1981200" y="856754"/>
              <a:ext cx="2868737" cy="101952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/>
            <a:p>
              <a:pPr marL="12700" marR="0" lvl="0" indent="0" algn="ctr" defTabSz="1219170" rtl="0" eaLnBrk="0" fontAlgn="base" latinLnBrk="0" hangingPunct="0">
                <a:lnSpc>
                  <a:spcPct val="100000"/>
                </a:lnSpc>
                <a:spcBef>
                  <a:spcPts val="375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*Patient</a:t>
              </a:r>
              <a:r>
                <a:rPr kumimoji="0" sz="1067" b="0" i="0" u="none" strike="noStrike" kern="1200" cap="none" spc="-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with</a:t>
              </a:r>
              <a:r>
                <a:rPr kumimoji="0" sz="1067" b="0" i="0" u="none" strike="noStrike" kern="1200" cap="none" spc="-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Richter’s</a:t>
              </a:r>
              <a:r>
                <a:rPr kumimoji="0" sz="1067" b="0" i="0" u="none" strike="noStrike" kern="1200" cap="none" spc="-31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transformation</a:t>
              </a:r>
              <a:r>
                <a:rPr kumimoji="0" sz="1067" b="0" i="0" u="none" strike="noStrike" kern="1200" cap="none" spc="-2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to</a:t>
              </a:r>
              <a:r>
                <a:rPr kumimoji="0" sz="1067" b="0" i="0" u="none" strike="noStrike" kern="1200" cap="none" spc="-1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Hodgkin's</a:t>
              </a:r>
              <a:r>
                <a:rPr kumimoji="0" sz="1067" b="0" i="0" u="none" strike="noStrike" kern="1200" cap="none" spc="-15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 </a:t>
              </a:r>
              <a:r>
                <a:rPr kumimoji="0" sz="1067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on </a:t>
              </a:r>
              <a:r>
                <a:rPr kumimoji="0" sz="1067" b="0" i="0" u="none" strike="noStrike" kern="1200" cap="none" spc="-11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ＭＳ Ｐゴシック" charset="0"/>
                  <a:cs typeface="Arial"/>
                </a:rPr>
                <a:t>biopsy</a:t>
              </a:r>
              <a:endParaRPr kumimoji="0" sz="1067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endParaRPr>
            </a:p>
          </p:txBody>
        </p:sp>
      </p:grpSp>
      <p:graphicFrame>
        <p:nvGraphicFramePr>
          <p:cNvPr id="5" name="object 5"/>
          <p:cNvGraphicFramePr>
            <a:graphicFrameLocks noGrp="1"/>
          </p:cNvGraphicFramePr>
          <p:nvPr/>
        </p:nvGraphicFramePr>
        <p:xfrm>
          <a:off x="5924908" y="3021697"/>
          <a:ext cx="6178337" cy="132524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7888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8950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765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Median</a:t>
                      </a:r>
                      <a:r>
                        <a:rPr sz="1300" b="1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ation</a:t>
                      </a:r>
                      <a:r>
                        <a:rPr sz="1300" b="1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of </a:t>
                      </a:r>
                      <a:r>
                        <a:rPr sz="1300" b="1" spc="-10" dirty="0">
                          <a:latin typeface="Arial"/>
                          <a:cs typeface="Arial"/>
                        </a:rPr>
                        <a:t>treatment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,</a:t>
                      </a:r>
                      <a:r>
                        <a:rPr sz="13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months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range)</a:t>
                      </a:r>
                      <a:endParaRPr sz="1300" dirty="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783590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dirty="0">
                          <a:latin typeface="Arial"/>
                          <a:cs typeface="Arial"/>
                        </a:rPr>
                        <a:t>3.9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0.1–21.0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Patients</a:t>
                      </a:r>
                      <a:r>
                        <a:rPr sz="130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ose</a:t>
                      </a:r>
                      <a:r>
                        <a:rPr sz="1300" b="1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escalated</a:t>
                      </a:r>
                      <a:r>
                        <a:rPr sz="1300" b="1" spc="-4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ing</a:t>
                      </a:r>
                      <a:r>
                        <a:rPr sz="13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treatment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,</a:t>
                      </a:r>
                      <a:r>
                        <a:rPr sz="1300" spc="-6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50" dirty="0">
                          <a:latin typeface="Arial"/>
                          <a:cs typeface="Arial"/>
                        </a:rPr>
                        <a:t>n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9530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spc="-25" dirty="0">
                          <a:latin typeface="Arial"/>
                          <a:cs typeface="Arial"/>
                        </a:rPr>
                        <a:t>19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2280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Median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ation</a:t>
                      </a:r>
                      <a:r>
                        <a:rPr sz="1300" b="1" spc="-5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3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response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,</a:t>
                      </a:r>
                      <a:r>
                        <a:rPr sz="13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months</a:t>
                      </a:r>
                      <a:r>
                        <a:rPr sz="1300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(95%</a:t>
                      </a:r>
                      <a:r>
                        <a:rPr sz="13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CI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5016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dirty="0">
                          <a:latin typeface="Arial"/>
                          <a:cs typeface="Arial"/>
                        </a:rPr>
                        <a:t>Not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reached</a:t>
                      </a:r>
                      <a:r>
                        <a:rPr sz="1300" spc="-3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(6.9</a:t>
                      </a:r>
                      <a:r>
                        <a:rPr sz="1300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–</a:t>
                      </a:r>
                      <a:r>
                        <a:rPr sz="1300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dirty="0">
                          <a:latin typeface="Arial"/>
                          <a:cs typeface="Arial"/>
                        </a:rPr>
                        <a:t>not</a:t>
                      </a:r>
                      <a:r>
                        <a:rPr sz="1300" spc="-2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reached)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lnB w="3175">
                      <a:solidFill>
                        <a:srgbClr val="000000"/>
                      </a:solidFill>
                      <a:prstDash val="solid"/>
                    </a:lnB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7655">
                <a:tc>
                  <a:txBody>
                    <a:bodyPr/>
                    <a:lstStyle/>
                    <a:p>
                      <a:pPr marL="90805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b="1" dirty="0">
                          <a:latin typeface="Arial"/>
                          <a:cs typeface="Arial"/>
                        </a:rPr>
                        <a:t>Patients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with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duration</a:t>
                      </a:r>
                      <a:r>
                        <a:rPr sz="1300" b="1" spc="-4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of</a:t>
                      </a:r>
                      <a:r>
                        <a:rPr sz="1300" b="1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response</a:t>
                      </a:r>
                      <a:r>
                        <a:rPr sz="13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dirty="0">
                          <a:latin typeface="Arial"/>
                          <a:cs typeface="Arial"/>
                        </a:rPr>
                        <a:t>&gt;6</a:t>
                      </a:r>
                      <a:r>
                        <a:rPr sz="1300" b="1" spc="-3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b="1" spc="-10" dirty="0">
                          <a:latin typeface="Arial"/>
                          <a:cs typeface="Arial"/>
                        </a:rPr>
                        <a:t>months</a:t>
                      </a:r>
                      <a:endParaRPr sz="130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tc>
                  <a:txBody>
                    <a:bodyPr/>
                    <a:lstStyle/>
                    <a:p>
                      <a:pPr marL="48895" algn="ctr">
                        <a:lnSpc>
                          <a:spcPct val="100000"/>
                        </a:lnSpc>
                        <a:spcBef>
                          <a:spcPts val="440"/>
                        </a:spcBef>
                      </a:pPr>
                      <a:r>
                        <a:rPr sz="1300" dirty="0">
                          <a:latin typeface="Arial"/>
                          <a:cs typeface="Arial"/>
                        </a:rPr>
                        <a:t>13</a:t>
                      </a:r>
                      <a:r>
                        <a:rPr sz="1300" spc="-1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300" spc="-10" dirty="0">
                          <a:latin typeface="Arial"/>
                          <a:cs typeface="Arial"/>
                        </a:rPr>
                        <a:t>(26.5%)</a:t>
                      </a:r>
                      <a:endParaRPr sz="1300" dirty="0">
                        <a:latin typeface="Arial"/>
                        <a:cs typeface="Arial"/>
                      </a:endParaRPr>
                    </a:p>
                  </a:txBody>
                  <a:tcPr marL="0" marR="0" marT="55880" marB="0">
                    <a:lnT w="3175">
                      <a:solidFill>
                        <a:srgbClr val="000000"/>
                      </a:solidFill>
                      <a:prstDash val="solid"/>
                    </a:lnT>
                    <a:solidFill>
                      <a:srgbClr val="F1F1F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0E1D9BF8-D0F3-A76E-FE02-24B1195D84CA}"/>
              </a:ext>
            </a:extLst>
          </p:cNvPr>
          <p:cNvSpPr txBox="1"/>
          <p:nvPr/>
        </p:nvSpPr>
        <p:spPr>
          <a:xfrm>
            <a:off x="7085409" y="6512123"/>
            <a:ext cx="5106591" cy="307777"/>
          </a:xfrm>
          <a:prstGeom prst="rect">
            <a:avLst/>
          </a:prstGeom>
          <a:noFill/>
        </p:spPr>
        <p:txBody>
          <a:bodyPr wrap="none" lIns="60960" rIns="60960" rtlCol="0" anchor="b" anchorCtr="0">
            <a:spAutoFit/>
          </a:bodyPr>
          <a:lstStyle/>
          <a:p>
            <a:pPr marL="0" marR="0" lvl="0" indent="0" algn="r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Shah et. al. ASH 2024 - </a:t>
            </a:r>
            <a:r>
              <a:rPr kumimoji="0" lang="en-US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Blood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ＭＳ Ｐゴシック" charset="0"/>
                <a:cs typeface="+mn-cs"/>
              </a:rPr>
              <a:t> 2024;144(Supplement 1):884.</a:t>
            </a:r>
          </a:p>
        </p:txBody>
      </p:sp>
      <p:sp>
        <p:nvSpPr>
          <p:cNvPr id="8" name="object 19">
            <a:extLst>
              <a:ext uri="{FF2B5EF4-FFF2-40B4-BE49-F238E27FC236}">
                <a16:creationId xmlns:a16="http://schemas.microsoft.com/office/drawing/2014/main" id="{BE510C21-90F9-6260-5B36-39F18F7A89B0}"/>
              </a:ext>
            </a:extLst>
          </p:cNvPr>
          <p:cNvSpPr txBox="1"/>
          <p:nvPr/>
        </p:nvSpPr>
        <p:spPr>
          <a:xfrm>
            <a:off x="88754" y="6057227"/>
            <a:ext cx="2971800" cy="25904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 marR="0" lvl="0" indent="0" algn="l" defTabSz="1219170" rtl="0" eaLnBrk="0" fontAlgn="base" latinLnBrk="0" hangingPunct="0">
              <a:lnSpc>
                <a:spcPct val="100000"/>
              </a:lnSpc>
              <a:spcBef>
                <a:spcPts val="1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D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ata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lang="en-US" sz="1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C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utoff:</a:t>
            </a:r>
            <a:r>
              <a:rPr kumimoji="0" sz="1600" b="1" i="0" u="none" strike="noStrike" kern="1200" cap="none" spc="-1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10 Oct</a:t>
            </a:r>
            <a:r>
              <a:rPr kumimoji="0" sz="1600" b="1" i="0" u="none" strike="noStrike" kern="1200" cap="none" spc="-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 </a:t>
            </a:r>
            <a:r>
              <a:rPr kumimoji="0" sz="1600" b="1" i="0" u="none" strike="noStrike" kern="1200" cap="none" spc="-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ＭＳ Ｐゴシック" charset="0"/>
                <a:cs typeface="Arial"/>
              </a:rPr>
              <a:t>2024</a:t>
            </a:r>
            <a:endParaRPr kumimoji="0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ＭＳ Ｐゴシック" charset="0"/>
              <a:cs typeface="Arial"/>
            </a:endParaRPr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609600" y="-42109"/>
            <a:ext cx="10972800" cy="873957"/>
          </a:xfrm>
          <a:prstGeom prst="rect">
            <a:avLst/>
          </a:prstGeom>
        </p:spPr>
        <p:txBody>
          <a:bodyPr vert="horz" wrap="square" lIns="0" tIns="12065" rIns="0" bIns="0" rtlCol="0" anchor="ctr">
            <a:spAutoFit/>
          </a:bodyPr>
          <a:lstStyle/>
          <a:p>
            <a:pPr marL="18414" algn="ctr">
              <a:lnSpc>
                <a:spcPct val="100000"/>
              </a:lnSpc>
              <a:spcBef>
                <a:spcPts val="95"/>
              </a:spcBef>
            </a:pPr>
            <a:r>
              <a:rPr sz="3600" b="1" spc="-25" dirty="0"/>
              <a:t>NX-</a:t>
            </a:r>
            <a:r>
              <a:rPr sz="3600" b="1" dirty="0"/>
              <a:t>5948</a:t>
            </a:r>
            <a:r>
              <a:rPr sz="3600" b="1" spc="-40" dirty="0"/>
              <a:t> </a:t>
            </a:r>
            <a:r>
              <a:rPr sz="3600" b="1" dirty="0"/>
              <a:t>Duration</a:t>
            </a:r>
            <a:r>
              <a:rPr sz="3600" b="1" spc="-40" dirty="0"/>
              <a:t> </a:t>
            </a:r>
            <a:r>
              <a:rPr sz="3600" b="1" dirty="0"/>
              <a:t>of</a:t>
            </a:r>
            <a:r>
              <a:rPr sz="3600" b="1" spc="-95" dirty="0"/>
              <a:t> </a:t>
            </a:r>
            <a:r>
              <a:rPr sz="3600" b="1" spc="-11" dirty="0"/>
              <a:t>Treatment</a:t>
            </a:r>
          </a:p>
          <a:p>
            <a:pPr marL="18414" algn="ctr">
              <a:lnSpc>
                <a:spcPct val="100000"/>
              </a:lnSpc>
              <a:spcBef>
                <a:spcPts val="20"/>
              </a:spcBef>
            </a:pPr>
            <a:r>
              <a:rPr sz="2000" i="1" dirty="0"/>
              <a:t>Durable</a:t>
            </a:r>
            <a:r>
              <a:rPr sz="2000" i="1" spc="-40" dirty="0"/>
              <a:t> </a:t>
            </a:r>
            <a:r>
              <a:rPr lang="en-US" sz="2000" i="1" spc="-40" dirty="0"/>
              <a:t>R</a:t>
            </a:r>
            <a:r>
              <a:rPr sz="2000" i="1" dirty="0"/>
              <a:t>esponses</a:t>
            </a:r>
            <a:r>
              <a:rPr sz="2000" i="1" spc="-51" dirty="0"/>
              <a:t> </a:t>
            </a:r>
            <a:r>
              <a:rPr lang="en-US" sz="2000" i="1" spc="-51" dirty="0"/>
              <a:t>R</a:t>
            </a:r>
            <a:r>
              <a:rPr sz="2000" i="1" dirty="0"/>
              <a:t>egardless</a:t>
            </a:r>
            <a:r>
              <a:rPr sz="2000" i="1" spc="-51" dirty="0"/>
              <a:t> </a:t>
            </a:r>
            <a:r>
              <a:rPr sz="2000" i="1" dirty="0"/>
              <a:t>of</a:t>
            </a:r>
            <a:r>
              <a:rPr sz="2000" i="1" spc="-25" dirty="0"/>
              <a:t> </a:t>
            </a:r>
            <a:r>
              <a:rPr lang="en-US" sz="2000" i="1" spc="-25" dirty="0"/>
              <a:t>P</a:t>
            </a:r>
            <a:r>
              <a:rPr sz="2000" i="1" dirty="0"/>
              <a:t>rior</a:t>
            </a:r>
            <a:r>
              <a:rPr sz="2000" i="1" spc="-25" dirty="0"/>
              <a:t> </a:t>
            </a:r>
            <a:r>
              <a:rPr lang="en-US" sz="2000" i="1" spc="-11" dirty="0"/>
              <a:t>T</a:t>
            </a:r>
            <a:r>
              <a:rPr sz="2000" i="1" spc="-11" dirty="0"/>
              <a:t>herapy</a:t>
            </a:r>
            <a:endParaRPr sz="2000" i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9F3CFD1-29DA-A6DF-556C-C18833E68EE1}"/>
              </a:ext>
            </a:extLst>
          </p:cNvPr>
          <p:cNvSpPr txBox="1"/>
          <p:nvPr/>
        </p:nvSpPr>
        <p:spPr>
          <a:xfrm>
            <a:off x="8723214" y="2112021"/>
            <a:ext cx="235513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RR 76% at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ll dose levels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99FAFA5-EEBE-E188-0792-C910723E4808}"/>
              </a:ext>
            </a:extLst>
          </p:cNvPr>
          <p:cNvSpPr txBox="1"/>
          <p:nvPr/>
        </p:nvSpPr>
        <p:spPr>
          <a:xfrm>
            <a:off x="263352" y="6412568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9F3731F-ED61-1829-636E-A981C95798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-39581"/>
            <a:ext cx="10972800" cy="713539"/>
          </a:xfrm>
        </p:spPr>
        <p:txBody>
          <a:bodyPr>
            <a:normAutofit/>
          </a:bodyPr>
          <a:lstStyle/>
          <a:p>
            <a:pPr algn="ctr"/>
            <a:r>
              <a:rPr lang="en-US" sz="3200" b="1" dirty="0"/>
              <a:t>BGB-16673 Treatment Duration &amp; Response</a:t>
            </a:r>
            <a:endParaRPr lang="en-US" sz="3200" b="1" strike="sngStrik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A51B367-439D-3396-AE37-BDA02C65BFB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608" y="5852505"/>
            <a:ext cx="2617243" cy="307777"/>
          </a:xfrm>
        </p:spPr>
        <p:txBody>
          <a:bodyPr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1400" b="1" dirty="0"/>
              <a:t>Data Cutoff: September 2, 2024.</a:t>
            </a:r>
            <a:endParaRPr lang="en-US" sz="1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A981CC0-4ADE-68ED-C236-92E4E3C65EFC}"/>
              </a:ext>
            </a:extLst>
          </p:cNvPr>
          <p:cNvSpPr txBox="1"/>
          <p:nvPr/>
        </p:nvSpPr>
        <p:spPr>
          <a:xfrm>
            <a:off x="51333" y="6092511"/>
            <a:ext cx="6125028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fficacy-evaluable patients. First response assessment after 12 weeks.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C55F734-9308-D844-E2CB-5413B37A3C24}"/>
              </a:ext>
            </a:extLst>
          </p:cNvPr>
          <p:cNvSpPr txBox="1"/>
          <p:nvPr/>
        </p:nvSpPr>
        <p:spPr>
          <a:xfrm>
            <a:off x="8657200" y="1646844"/>
            <a:ext cx="27025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Median follow-up in </a:t>
            </a:r>
            <a:b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</a:b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efficacy-evaluable patients: 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rPr>
              <a:t>11.0 months (range, 0.3-26.4+)</a:t>
            </a:r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FACBDD5C-266E-02FD-1CDA-858070777FE3}"/>
              </a:ext>
            </a:extLst>
          </p:cNvPr>
          <p:cNvSpPr/>
          <p:nvPr/>
        </p:nvSpPr>
        <p:spPr>
          <a:xfrm>
            <a:off x="2986058" y="796511"/>
            <a:ext cx="7813039" cy="20468"/>
          </a:xfrm>
          <a:custGeom>
            <a:avLst/>
            <a:gdLst>
              <a:gd name="connsiteX0" fmla="*/ 0 w 6589814"/>
              <a:gd name="connsiteY0" fmla="*/ 0 h 17264"/>
              <a:gd name="connsiteX1" fmla="*/ 6589814 w 658981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6589814" h="17264">
                <a:moveTo>
                  <a:pt x="0" y="0"/>
                </a:moveTo>
                <a:lnTo>
                  <a:pt x="6589814" y="0"/>
                </a:lnTo>
              </a:path>
            </a:pathLst>
          </a:custGeom>
          <a:ln w="57150" cap="flat">
            <a:solidFill>
              <a:srgbClr val="A7CAE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35DD81D0-9C01-B950-7509-62332542E6A6}"/>
              </a:ext>
            </a:extLst>
          </p:cNvPr>
          <p:cNvSpPr/>
          <p:nvPr/>
        </p:nvSpPr>
        <p:spPr>
          <a:xfrm>
            <a:off x="2986058" y="899678"/>
            <a:ext cx="5506524" cy="20468"/>
          </a:xfrm>
          <a:custGeom>
            <a:avLst/>
            <a:gdLst>
              <a:gd name="connsiteX0" fmla="*/ 0 w 4644412"/>
              <a:gd name="connsiteY0" fmla="*/ 0 h 17264"/>
              <a:gd name="connsiteX1" fmla="*/ 4644413 w 464441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44412" h="17264">
                <a:moveTo>
                  <a:pt x="0" y="0"/>
                </a:moveTo>
                <a:lnTo>
                  <a:pt x="4644413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8D7C65F3-1CE6-70E4-F8A0-C5C5286932CA}"/>
              </a:ext>
            </a:extLst>
          </p:cNvPr>
          <p:cNvSpPr/>
          <p:nvPr/>
        </p:nvSpPr>
        <p:spPr>
          <a:xfrm>
            <a:off x="2986058" y="3068023"/>
            <a:ext cx="4971245" cy="20468"/>
          </a:xfrm>
          <a:custGeom>
            <a:avLst/>
            <a:gdLst>
              <a:gd name="connsiteX0" fmla="*/ 0 w 4192937"/>
              <a:gd name="connsiteY0" fmla="*/ 0 h 17264"/>
              <a:gd name="connsiteX1" fmla="*/ 4192938 w 419293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192937" h="17264">
                <a:moveTo>
                  <a:pt x="0" y="0"/>
                </a:moveTo>
                <a:lnTo>
                  <a:pt x="4192938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F5FF400A-012D-C3B0-3D4A-053D6871F6A8}"/>
              </a:ext>
            </a:extLst>
          </p:cNvPr>
          <p:cNvSpPr/>
          <p:nvPr/>
        </p:nvSpPr>
        <p:spPr>
          <a:xfrm>
            <a:off x="2998543" y="4624013"/>
            <a:ext cx="4560624" cy="12192"/>
          </a:xfrm>
          <a:custGeom>
            <a:avLst/>
            <a:gdLst>
              <a:gd name="connsiteX0" fmla="*/ 0 w 3846604"/>
              <a:gd name="connsiteY0" fmla="*/ 0 h 17264"/>
              <a:gd name="connsiteX1" fmla="*/ 3846605 w 384660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46604" h="17264">
                <a:moveTo>
                  <a:pt x="0" y="0"/>
                </a:moveTo>
                <a:lnTo>
                  <a:pt x="3846605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4387444C-11AD-8C81-8B52-3AFA70986E8E}"/>
              </a:ext>
            </a:extLst>
          </p:cNvPr>
          <p:cNvSpPr/>
          <p:nvPr/>
        </p:nvSpPr>
        <p:spPr>
          <a:xfrm>
            <a:off x="2986058" y="4718853"/>
            <a:ext cx="4359613" cy="20468"/>
          </a:xfrm>
          <a:custGeom>
            <a:avLst/>
            <a:gdLst>
              <a:gd name="connsiteX0" fmla="*/ 0 w 3677064"/>
              <a:gd name="connsiteY0" fmla="*/ 0 h 17264"/>
              <a:gd name="connsiteX1" fmla="*/ 3677064 w 367706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77064" h="17264">
                <a:moveTo>
                  <a:pt x="0" y="0"/>
                </a:moveTo>
                <a:lnTo>
                  <a:pt x="3677064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0D6CA2D-2E2B-40FC-027A-342C9DF0548E}"/>
              </a:ext>
            </a:extLst>
          </p:cNvPr>
          <p:cNvSpPr/>
          <p:nvPr/>
        </p:nvSpPr>
        <p:spPr>
          <a:xfrm>
            <a:off x="2986058" y="4821967"/>
            <a:ext cx="4210799" cy="20468"/>
          </a:xfrm>
          <a:custGeom>
            <a:avLst/>
            <a:gdLst>
              <a:gd name="connsiteX0" fmla="*/ 0 w 3551548"/>
              <a:gd name="connsiteY0" fmla="*/ 0 h 17264"/>
              <a:gd name="connsiteX1" fmla="*/ 3551549 w 3551548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551548" h="17264">
                <a:moveTo>
                  <a:pt x="0" y="0"/>
                </a:moveTo>
                <a:lnTo>
                  <a:pt x="3551549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90FBA934-4428-7178-BD25-08DD792E8CB8}"/>
              </a:ext>
            </a:extLst>
          </p:cNvPr>
          <p:cNvSpPr/>
          <p:nvPr/>
        </p:nvSpPr>
        <p:spPr>
          <a:xfrm>
            <a:off x="2986058" y="4925082"/>
            <a:ext cx="2925512" cy="20468"/>
          </a:xfrm>
          <a:custGeom>
            <a:avLst/>
            <a:gdLst>
              <a:gd name="connsiteX0" fmla="*/ 0 w 2467489"/>
              <a:gd name="connsiteY0" fmla="*/ 0 h 17264"/>
              <a:gd name="connsiteX1" fmla="*/ 2467490 w 246748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67489" h="17264">
                <a:moveTo>
                  <a:pt x="0" y="0"/>
                </a:moveTo>
                <a:lnTo>
                  <a:pt x="2467490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id="{DD15A90A-E9D6-C018-0DDA-47C28B488E56}"/>
              </a:ext>
            </a:extLst>
          </p:cNvPr>
          <p:cNvSpPr/>
          <p:nvPr/>
        </p:nvSpPr>
        <p:spPr>
          <a:xfrm>
            <a:off x="2986059" y="5028197"/>
            <a:ext cx="2857145" cy="20468"/>
          </a:xfrm>
          <a:custGeom>
            <a:avLst/>
            <a:gdLst>
              <a:gd name="connsiteX0" fmla="*/ 0 w 2409825"/>
              <a:gd name="connsiteY0" fmla="*/ 0 h 17264"/>
              <a:gd name="connsiteX1" fmla="*/ 2409826 w 240982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9825" h="17264">
                <a:moveTo>
                  <a:pt x="0" y="0"/>
                </a:moveTo>
                <a:lnTo>
                  <a:pt x="2409826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E043C28A-0404-C4D4-457E-4BFAAC889A81}"/>
              </a:ext>
            </a:extLst>
          </p:cNvPr>
          <p:cNvSpPr/>
          <p:nvPr/>
        </p:nvSpPr>
        <p:spPr>
          <a:xfrm>
            <a:off x="2986059" y="5131311"/>
            <a:ext cx="2857145" cy="20468"/>
          </a:xfrm>
          <a:custGeom>
            <a:avLst/>
            <a:gdLst>
              <a:gd name="connsiteX0" fmla="*/ 0 w 2409825"/>
              <a:gd name="connsiteY0" fmla="*/ 0 h 17264"/>
              <a:gd name="connsiteX1" fmla="*/ 2409826 w 240982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9825" h="17264">
                <a:moveTo>
                  <a:pt x="0" y="0"/>
                </a:moveTo>
                <a:lnTo>
                  <a:pt x="2409826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5A2AD7E8-7AD9-B177-12FB-0BCB311A953B}"/>
              </a:ext>
            </a:extLst>
          </p:cNvPr>
          <p:cNvSpPr/>
          <p:nvPr/>
        </p:nvSpPr>
        <p:spPr>
          <a:xfrm>
            <a:off x="2986059" y="5234426"/>
            <a:ext cx="2652449" cy="20468"/>
          </a:xfrm>
          <a:custGeom>
            <a:avLst/>
            <a:gdLst>
              <a:gd name="connsiteX0" fmla="*/ 0 w 2237177"/>
              <a:gd name="connsiteY0" fmla="*/ 0 h 17264"/>
              <a:gd name="connsiteX1" fmla="*/ 2237177 w 223717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37177" h="17264">
                <a:moveTo>
                  <a:pt x="0" y="0"/>
                </a:moveTo>
                <a:lnTo>
                  <a:pt x="2237177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6364C0B2-F027-2AFF-0D64-8D31014206DC}"/>
              </a:ext>
            </a:extLst>
          </p:cNvPr>
          <p:cNvSpPr/>
          <p:nvPr/>
        </p:nvSpPr>
        <p:spPr>
          <a:xfrm>
            <a:off x="2986058" y="5337541"/>
            <a:ext cx="2637711" cy="20468"/>
          </a:xfrm>
          <a:custGeom>
            <a:avLst/>
            <a:gdLst>
              <a:gd name="connsiteX0" fmla="*/ 0 w 2224746"/>
              <a:gd name="connsiteY0" fmla="*/ 0 h 17264"/>
              <a:gd name="connsiteX1" fmla="*/ 2224747 w 222474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24746" h="17264">
                <a:moveTo>
                  <a:pt x="0" y="0"/>
                </a:moveTo>
                <a:lnTo>
                  <a:pt x="2224747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F49FCAA1-889B-E910-935D-CAD8FDD3012A}"/>
              </a:ext>
            </a:extLst>
          </p:cNvPr>
          <p:cNvSpPr/>
          <p:nvPr/>
        </p:nvSpPr>
        <p:spPr>
          <a:xfrm>
            <a:off x="2986058" y="5440655"/>
            <a:ext cx="2637711" cy="20468"/>
          </a:xfrm>
          <a:custGeom>
            <a:avLst/>
            <a:gdLst>
              <a:gd name="connsiteX0" fmla="*/ 0 w 2224746"/>
              <a:gd name="connsiteY0" fmla="*/ 0 h 17264"/>
              <a:gd name="connsiteX1" fmla="*/ 2224747 w 222474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224746" h="17264">
                <a:moveTo>
                  <a:pt x="0" y="0"/>
                </a:moveTo>
                <a:lnTo>
                  <a:pt x="2224747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25ECA7B3-0505-6D41-76F7-F63B63DE9C30}"/>
              </a:ext>
            </a:extLst>
          </p:cNvPr>
          <p:cNvSpPr/>
          <p:nvPr/>
        </p:nvSpPr>
        <p:spPr>
          <a:xfrm>
            <a:off x="2986058" y="5543770"/>
            <a:ext cx="2565659" cy="20468"/>
          </a:xfrm>
          <a:custGeom>
            <a:avLst/>
            <a:gdLst>
              <a:gd name="connsiteX0" fmla="*/ 0 w 2163974"/>
              <a:gd name="connsiteY0" fmla="*/ 0 h 17264"/>
              <a:gd name="connsiteX1" fmla="*/ 2163974 w 216397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163974" h="17264">
                <a:moveTo>
                  <a:pt x="0" y="0"/>
                </a:moveTo>
                <a:lnTo>
                  <a:pt x="2163974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89374AB8-73AC-44C8-7E83-699851BD39A5}"/>
              </a:ext>
            </a:extLst>
          </p:cNvPr>
          <p:cNvSpPr/>
          <p:nvPr/>
        </p:nvSpPr>
        <p:spPr>
          <a:xfrm>
            <a:off x="2986058" y="5646885"/>
            <a:ext cx="2228319" cy="20468"/>
          </a:xfrm>
          <a:custGeom>
            <a:avLst/>
            <a:gdLst>
              <a:gd name="connsiteX0" fmla="*/ 0 w 1879449"/>
              <a:gd name="connsiteY0" fmla="*/ 0 h 17264"/>
              <a:gd name="connsiteX1" fmla="*/ 1879450 w 187944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879449" h="17264">
                <a:moveTo>
                  <a:pt x="0" y="0"/>
                </a:moveTo>
                <a:lnTo>
                  <a:pt x="1879450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5674A95B-5D61-3071-AE36-1E16BEC45057}"/>
              </a:ext>
            </a:extLst>
          </p:cNvPr>
          <p:cNvSpPr/>
          <p:nvPr/>
        </p:nvSpPr>
        <p:spPr>
          <a:xfrm>
            <a:off x="2998543" y="5750002"/>
            <a:ext cx="2012365" cy="20468"/>
          </a:xfrm>
          <a:custGeom>
            <a:avLst/>
            <a:gdLst>
              <a:gd name="connsiteX0" fmla="*/ 0 w 1697305"/>
              <a:gd name="connsiteY0" fmla="*/ 0 h 17264"/>
              <a:gd name="connsiteX1" fmla="*/ 1697306 w 169730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697305" h="17264">
                <a:moveTo>
                  <a:pt x="0" y="0"/>
                </a:moveTo>
                <a:lnTo>
                  <a:pt x="1697306" y="0"/>
                </a:lnTo>
              </a:path>
            </a:pathLst>
          </a:custGeom>
          <a:ln w="57150" cap="flat">
            <a:solidFill>
              <a:srgbClr val="FCD185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E4C154EF-CA9C-8D88-C77C-29920D90DC7E}"/>
              </a:ext>
            </a:extLst>
          </p:cNvPr>
          <p:cNvSpPr/>
          <p:nvPr/>
        </p:nvSpPr>
        <p:spPr>
          <a:xfrm>
            <a:off x="2986059" y="3171190"/>
            <a:ext cx="4085321" cy="20468"/>
          </a:xfrm>
          <a:custGeom>
            <a:avLst/>
            <a:gdLst>
              <a:gd name="connsiteX0" fmla="*/ 0 w 3445715"/>
              <a:gd name="connsiteY0" fmla="*/ 0 h 17264"/>
              <a:gd name="connsiteX1" fmla="*/ 3445716 w 344571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45715" h="17264">
                <a:moveTo>
                  <a:pt x="0" y="0"/>
                </a:moveTo>
                <a:lnTo>
                  <a:pt x="344571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6C0773E-2B18-8BCE-9204-88733CC427C4}"/>
              </a:ext>
            </a:extLst>
          </p:cNvPr>
          <p:cNvSpPr/>
          <p:nvPr/>
        </p:nvSpPr>
        <p:spPr>
          <a:xfrm>
            <a:off x="2986059" y="3274358"/>
            <a:ext cx="3798745" cy="20468"/>
          </a:xfrm>
          <a:custGeom>
            <a:avLst/>
            <a:gdLst>
              <a:gd name="connsiteX0" fmla="*/ 0 w 3204007"/>
              <a:gd name="connsiteY0" fmla="*/ 0 h 17264"/>
              <a:gd name="connsiteX1" fmla="*/ 3204008 w 320400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04007" h="17264">
                <a:moveTo>
                  <a:pt x="0" y="0"/>
                </a:moveTo>
                <a:lnTo>
                  <a:pt x="3204008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0AD3EAC2-CDC1-7352-1AC7-9582723DCAE9}"/>
              </a:ext>
            </a:extLst>
          </p:cNvPr>
          <p:cNvSpPr/>
          <p:nvPr/>
        </p:nvSpPr>
        <p:spPr>
          <a:xfrm>
            <a:off x="2986058" y="3377319"/>
            <a:ext cx="3289053" cy="20468"/>
          </a:xfrm>
          <a:custGeom>
            <a:avLst/>
            <a:gdLst>
              <a:gd name="connsiteX0" fmla="*/ 0 w 2774113"/>
              <a:gd name="connsiteY0" fmla="*/ 0 h 17264"/>
              <a:gd name="connsiteX1" fmla="*/ 2774113 w 277411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74113" h="17264">
                <a:moveTo>
                  <a:pt x="0" y="0"/>
                </a:moveTo>
                <a:lnTo>
                  <a:pt x="2774113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CF0A9BA2-7DB4-6B7F-95B0-08D294ED2D82}"/>
              </a:ext>
            </a:extLst>
          </p:cNvPr>
          <p:cNvSpPr/>
          <p:nvPr/>
        </p:nvSpPr>
        <p:spPr>
          <a:xfrm>
            <a:off x="2986058" y="3480487"/>
            <a:ext cx="3314436" cy="20468"/>
          </a:xfrm>
          <a:custGeom>
            <a:avLst/>
            <a:gdLst>
              <a:gd name="connsiteX0" fmla="*/ 0 w 2795521"/>
              <a:gd name="connsiteY0" fmla="*/ 0 h 17264"/>
              <a:gd name="connsiteX1" fmla="*/ 2795522 w 279552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95521" h="17264">
                <a:moveTo>
                  <a:pt x="0" y="0"/>
                </a:moveTo>
                <a:lnTo>
                  <a:pt x="2795522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60AB1599-06DB-5FC9-283B-9A0F07DB6D15}"/>
              </a:ext>
            </a:extLst>
          </p:cNvPr>
          <p:cNvSpPr/>
          <p:nvPr/>
        </p:nvSpPr>
        <p:spPr>
          <a:xfrm>
            <a:off x="2986058" y="3583449"/>
            <a:ext cx="3184659" cy="20468"/>
          </a:xfrm>
          <a:custGeom>
            <a:avLst/>
            <a:gdLst>
              <a:gd name="connsiteX0" fmla="*/ 0 w 2686062"/>
              <a:gd name="connsiteY0" fmla="*/ 0 h 17264"/>
              <a:gd name="connsiteX1" fmla="*/ 2686063 w 268606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86062" h="17264">
                <a:moveTo>
                  <a:pt x="0" y="0"/>
                </a:moveTo>
                <a:lnTo>
                  <a:pt x="2686063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8" name="Freeform: Shape 27">
            <a:extLst>
              <a:ext uri="{FF2B5EF4-FFF2-40B4-BE49-F238E27FC236}">
                <a16:creationId xmlns:a16="http://schemas.microsoft.com/office/drawing/2014/main" id="{9C75181C-FAE6-E092-B867-0E21448F7CFF}"/>
              </a:ext>
            </a:extLst>
          </p:cNvPr>
          <p:cNvSpPr/>
          <p:nvPr/>
        </p:nvSpPr>
        <p:spPr>
          <a:xfrm>
            <a:off x="2986058" y="3686617"/>
            <a:ext cx="3128981" cy="20468"/>
          </a:xfrm>
          <a:custGeom>
            <a:avLst/>
            <a:gdLst>
              <a:gd name="connsiteX0" fmla="*/ 0 w 2639102"/>
              <a:gd name="connsiteY0" fmla="*/ 0 h 17264"/>
              <a:gd name="connsiteX1" fmla="*/ 2639103 w 263910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639102" h="17264">
                <a:moveTo>
                  <a:pt x="0" y="0"/>
                </a:moveTo>
                <a:lnTo>
                  <a:pt x="2639103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371913B4-34D7-7138-AE66-DA772F10C795}"/>
              </a:ext>
            </a:extLst>
          </p:cNvPr>
          <p:cNvSpPr/>
          <p:nvPr/>
        </p:nvSpPr>
        <p:spPr>
          <a:xfrm>
            <a:off x="2986058" y="3789578"/>
            <a:ext cx="3061840" cy="20468"/>
          </a:xfrm>
          <a:custGeom>
            <a:avLst/>
            <a:gdLst>
              <a:gd name="connsiteX0" fmla="*/ 0 w 2582473"/>
              <a:gd name="connsiteY0" fmla="*/ 0 h 17264"/>
              <a:gd name="connsiteX1" fmla="*/ 2582474 w 258247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82473" h="17264">
                <a:moveTo>
                  <a:pt x="0" y="0"/>
                </a:moveTo>
                <a:lnTo>
                  <a:pt x="2582474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26E2D201-DA02-12B0-619E-CCCD01D69A79}"/>
              </a:ext>
            </a:extLst>
          </p:cNvPr>
          <p:cNvSpPr/>
          <p:nvPr/>
        </p:nvSpPr>
        <p:spPr>
          <a:xfrm>
            <a:off x="2986058" y="3892745"/>
            <a:ext cx="3002480" cy="20468"/>
          </a:xfrm>
          <a:custGeom>
            <a:avLst/>
            <a:gdLst>
              <a:gd name="connsiteX0" fmla="*/ 0 w 2532405"/>
              <a:gd name="connsiteY0" fmla="*/ 0 h 17264"/>
              <a:gd name="connsiteX1" fmla="*/ 2532406 w 253240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32405" h="17264">
                <a:moveTo>
                  <a:pt x="0" y="0"/>
                </a:moveTo>
                <a:lnTo>
                  <a:pt x="253240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1" name="Freeform: Shape 30">
            <a:extLst>
              <a:ext uri="{FF2B5EF4-FFF2-40B4-BE49-F238E27FC236}">
                <a16:creationId xmlns:a16="http://schemas.microsoft.com/office/drawing/2014/main" id="{B25943E9-CCFB-61C6-3B3F-1014F956DB52}"/>
              </a:ext>
            </a:extLst>
          </p:cNvPr>
          <p:cNvSpPr/>
          <p:nvPr/>
        </p:nvSpPr>
        <p:spPr>
          <a:xfrm>
            <a:off x="2986059" y="3995707"/>
            <a:ext cx="2857145" cy="20468"/>
          </a:xfrm>
          <a:custGeom>
            <a:avLst/>
            <a:gdLst>
              <a:gd name="connsiteX0" fmla="*/ 0 w 2409825"/>
              <a:gd name="connsiteY0" fmla="*/ 0 h 17264"/>
              <a:gd name="connsiteX1" fmla="*/ 2409826 w 240982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409825" h="17264">
                <a:moveTo>
                  <a:pt x="0" y="0"/>
                </a:moveTo>
                <a:lnTo>
                  <a:pt x="240982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690" name="Freeform: Shape 689">
            <a:extLst>
              <a:ext uri="{FF2B5EF4-FFF2-40B4-BE49-F238E27FC236}">
                <a16:creationId xmlns:a16="http://schemas.microsoft.com/office/drawing/2014/main" id="{D7A67BD1-213A-9BF5-79CE-56DEA5F96509}"/>
              </a:ext>
            </a:extLst>
          </p:cNvPr>
          <p:cNvSpPr/>
          <p:nvPr/>
        </p:nvSpPr>
        <p:spPr>
          <a:xfrm>
            <a:off x="2986058" y="4098873"/>
            <a:ext cx="1550981" cy="20468"/>
          </a:xfrm>
          <a:custGeom>
            <a:avLst/>
            <a:gdLst>
              <a:gd name="connsiteX0" fmla="*/ 0 w 1308156"/>
              <a:gd name="connsiteY0" fmla="*/ 0 h 17264"/>
              <a:gd name="connsiteX1" fmla="*/ 1308156 w 130815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308156" h="17264">
                <a:moveTo>
                  <a:pt x="0" y="0"/>
                </a:moveTo>
                <a:lnTo>
                  <a:pt x="1308156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14" name="Freeform: Shape 713">
            <a:extLst>
              <a:ext uri="{FF2B5EF4-FFF2-40B4-BE49-F238E27FC236}">
                <a16:creationId xmlns:a16="http://schemas.microsoft.com/office/drawing/2014/main" id="{C3339E0E-5F11-768A-BDBB-7E100B22124D}"/>
              </a:ext>
            </a:extLst>
          </p:cNvPr>
          <p:cNvSpPr/>
          <p:nvPr/>
        </p:nvSpPr>
        <p:spPr>
          <a:xfrm>
            <a:off x="2986058" y="4202041"/>
            <a:ext cx="613064" cy="20468"/>
          </a:xfrm>
          <a:custGeom>
            <a:avLst/>
            <a:gdLst>
              <a:gd name="connsiteX0" fmla="*/ 0 w 517081"/>
              <a:gd name="connsiteY0" fmla="*/ 0 h 17264"/>
              <a:gd name="connsiteX1" fmla="*/ 517082 w 51708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517081" h="17264">
                <a:moveTo>
                  <a:pt x="0" y="0"/>
                </a:moveTo>
                <a:lnTo>
                  <a:pt x="517082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15" name="Freeform: Shape 714">
            <a:extLst>
              <a:ext uri="{FF2B5EF4-FFF2-40B4-BE49-F238E27FC236}">
                <a16:creationId xmlns:a16="http://schemas.microsoft.com/office/drawing/2014/main" id="{9A638BBD-9D76-DAB5-6348-E4B3F6863862}"/>
              </a:ext>
            </a:extLst>
          </p:cNvPr>
          <p:cNvSpPr/>
          <p:nvPr/>
        </p:nvSpPr>
        <p:spPr>
          <a:xfrm>
            <a:off x="2986058" y="4305002"/>
            <a:ext cx="568440" cy="20468"/>
          </a:xfrm>
          <a:custGeom>
            <a:avLst/>
            <a:gdLst>
              <a:gd name="connsiteX0" fmla="*/ 0 w 479444"/>
              <a:gd name="connsiteY0" fmla="*/ 0 h 17264"/>
              <a:gd name="connsiteX1" fmla="*/ 479444 w 47944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9444" h="17264">
                <a:moveTo>
                  <a:pt x="0" y="0"/>
                </a:moveTo>
                <a:lnTo>
                  <a:pt x="479444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2" name="Freeform: Shape 721">
            <a:extLst>
              <a:ext uri="{FF2B5EF4-FFF2-40B4-BE49-F238E27FC236}">
                <a16:creationId xmlns:a16="http://schemas.microsoft.com/office/drawing/2014/main" id="{C26D0B6E-1938-0B67-4363-C21225A08447}"/>
              </a:ext>
            </a:extLst>
          </p:cNvPr>
          <p:cNvSpPr/>
          <p:nvPr/>
        </p:nvSpPr>
        <p:spPr>
          <a:xfrm>
            <a:off x="2986059" y="4408169"/>
            <a:ext cx="306633" cy="20468"/>
          </a:xfrm>
          <a:custGeom>
            <a:avLst/>
            <a:gdLst>
              <a:gd name="connsiteX0" fmla="*/ 0 w 258627"/>
              <a:gd name="connsiteY0" fmla="*/ 0 h 17264"/>
              <a:gd name="connsiteX1" fmla="*/ 258627 w 25862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8627" h="17264">
                <a:moveTo>
                  <a:pt x="0" y="0"/>
                </a:moveTo>
                <a:lnTo>
                  <a:pt x="258627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3" name="Freeform: Shape 722">
            <a:extLst>
              <a:ext uri="{FF2B5EF4-FFF2-40B4-BE49-F238E27FC236}">
                <a16:creationId xmlns:a16="http://schemas.microsoft.com/office/drawing/2014/main" id="{EE56E19F-BD0D-0A17-D4EB-163558C87CA4}"/>
              </a:ext>
            </a:extLst>
          </p:cNvPr>
          <p:cNvSpPr/>
          <p:nvPr/>
        </p:nvSpPr>
        <p:spPr>
          <a:xfrm>
            <a:off x="2986058" y="4511131"/>
            <a:ext cx="88223" cy="20468"/>
          </a:xfrm>
          <a:custGeom>
            <a:avLst/>
            <a:gdLst>
              <a:gd name="connsiteX0" fmla="*/ 0 w 74411"/>
              <a:gd name="connsiteY0" fmla="*/ 0 h 17264"/>
              <a:gd name="connsiteX1" fmla="*/ 74412 w 7441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4411" h="17264">
                <a:moveTo>
                  <a:pt x="0" y="0"/>
                </a:moveTo>
                <a:lnTo>
                  <a:pt x="74412" y="0"/>
                </a:lnTo>
              </a:path>
            </a:pathLst>
          </a:custGeom>
          <a:ln w="57150" cap="flat">
            <a:solidFill>
              <a:srgbClr val="58C5C4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5" name="Freeform: Shape 724">
            <a:extLst>
              <a:ext uri="{FF2B5EF4-FFF2-40B4-BE49-F238E27FC236}">
                <a16:creationId xmlns:a16="http://schemas.microsoft.com/office/drawing/2014/main" id="{99808F13-7CC7-62F7-018A-1063A6E0027D}"/>
              </a:ext>
            </a:extLst>
          </p:cNvPr>
          <p:cNvSpPr/>
          <p:nvPr/>
        </p:nvSpPr>
        <p:spPr>
          <a:xfrm>
            <a:off x="2986058" y="1003049"/>
            <a:ext cx="4319288" cy="20468"/>
          </a:xfrm>
          <a:custGeom>
            <a:avLst/>
            <a:gdLst>
              <a:gd name="connsiteX0" fmla="*/ 0 w 3643052"/>
              <a:gd name="connsiteY0" fmla="*/ 0 h 17264"/>
              <a:gd name="connsiteX1" fmla="*/ 3643053 w 364305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643052" h="17264">
                <a:moveTo>
                  <a:pt x="0" y="0"/>
                </a:moveTo>
                <a:lnTo>
                  <a:pt x="3643053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6" name="Freeform: Shape 725">
            <a:extLst>
              <a:ext uri="{FF2B5EF4-FFF2-40B4-BE49-F238E27FC236}">
                <a16:creationId xmlns:a16="http://schemas.microsoft.com/office/drawing/2014/main" id="{BB740C44-C50E-BB3A-32FC-3F3B62E78DD7}"/>
              </a:ext>
            </a:extLst>
          </p:cNvPr>
          <p:cNvSpPr/>
          <p:nvPr/>
        </p:nvSpPr>
        <p:spPr>
          <a:xfrm>
            <a:off x="2986058" y="1106217"/>
            <a:ext cx="4081432" cy="20468"/>
          </a:xfrm>
          <a:custGeom>
            <a:avLst/>
            <a:gdLst>
              <a:gd name="connsiteX0" fmla="*/ 0 w 3442435"/>
              <a:gd name="connsiteY0" fmla="*/ 0 h 17264"/>
              <a:gd name="connsiteX1" fmla="*/ 3442435 w 3442435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442435" h="17264">
                <a:moveTo>
                  <a:pt x="0" y="0"/>
                </a:moveTo>
                <a:lnTo>
                  <a:pt x="3442435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7" name="Freeform: Shape 726">
            <a:extLst>
              <a:ext uri="{FF2B5EF4-FFF2-40B4-BE49-F238E27FC236}">
                <a16:creationId xmlns:a16="http://schemas.microsoft.com/office/drawing/2014/main" id="{210345C2-D7F1-E567-D260-6288132BE571}"/>
              </a:ext>
            </a:extLst>
          </p:cNvPr>
          <p:cNvSpPr/>
          <p:nvPr/>
        </p:nvSpPr>
        <p:spPr>
          <a:xfrm>
            <a:off x="2986058" y="1209587"/>
            <a:ext cx="4022071" cy="20468"/>
          </a:xfrm>
          <a:custGeom>
            <a:avLst/>
            <a:gdLst>
              <a:gd name="connsiteX0" fmla="*/ 0 w 3392367"/>
              <a:gd name="connsiteY0" fmla="*/ 0 h 17264"/>
              <a:gd name="connsiteX1" fmla="*/ 3392367 w 339236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92367" h="17264">
                <a:moveTo>
                  <a:pt x="0" y="0"/>
                </a:moveTo>
                <a:lnTo>
                  <a:pt x="3392367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8" name="Freeform: Shape 727">
            <a:extLst>
              <a:ext uri="{FF2B5EF4-FFF2-40B4-BE49-F238E27FC236}">
                <a16:creationId xmlns:a16="http://schemas.microsoft.com/office/drawing/2014/main" id="{C463C7FF-A5F2-0210-155A-3BF3954081D4}"/>
              </a:ext>
            </a:extLst>
          </p:cNvPr>
          <p:cNvSpPr/>
          <p:nvPr/>
        </p:nvSpPr>
        <p:spPr>
          <a:xfrm>
            <a:off x="2986058" y="1312754"/>
            <a:ext cx="4008151" cy="20468"/>
          </a:xfrm>
          <a:custGeom>
            <a:avLst/>
            <a:gdLst>
              <a:gd name="connsiteX0" fmla="*/ 0 w 3380627"/>
              <a:gd name="connsiteY0" fmla="*/ 0 h 17264"/>
              <a:gd name="connsiteX1" fmla="*/ 3380627 w 338062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80627" h="17264">
                <a:moveTo>
                  <a:pt x="0" y="0"/>
                </a:moveTo>
                <a:lnTo>
                  <a:pt x="3380627" y="0"/>
                </a:lnTo>
              </a:path>
            </a:pathLst>
          </a:custGeom>
          <a:ln w="57150" cap="flat">
            <a:solidFill>
              <a:srgbClr val="CADCAC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29" name="Freeform: Shape 728">
            <a:extLst>
              <a:ext uri="{FF2B5EF4-FFF2-40B4-BE49-F238E27FC236}">
                <a16:creationId xmlns:a16="http://schemas.microsoft.com/office/drawing/2014/main" id="{A2339518-BA33-E879-6466-20E351EDC68C}"/>
              </a:ext>
            </a:extLst>
          </p:cNvPr>
          <p:cNvSpPr/>
          <p:nvPr/>
        </p:nvSpPr>
        <p:spPr>
          <a:xfrm>
            <a:off x="2986058" y="1416127"/>
            <a:ext cx="5581852" cy="20468"/>
          </a:xfrm>
          <a:custGeom>
            <a:avLst/>
            <a:gdLst>
              <a:gd name="connsiteX0" fmla="*/ 0 w 4707947"/>
              <a:gd name="connsiteY0" fmla="*/ 0 h 17264"/>
              <a:gd name="connsiteX1" fmla="*/ 4707948 w 470794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707947" h="17264">
                <a:moveTo>
                  <a:pt x="0" y="0"/>
                </a:moveTo>
                <a:lnTo>
                  <a:pt x="4707948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0" name="Freeform: Shape 729">
            <a:extLst>
              <a:ext uri="{FF2B5EF4-FFF2-40B4-BE49-F238E27FC236}">
                <a16:creationId xmlns:a16="http://schemas.microsoft.com/office/drawing/2014/main" id="{011C0D9A-BCB1-0737-A200-B1B3038627B1}"/>
              </a:ext>
            </a:extLst>
          </p:cNvPr>
          <p:cNvSpPr/>
          <p:nvPr/>
        </p:nvSpPr>
        <p:spPr>
          <a:xfrm>
            <a:off x="2986058" y="1519293"/>
            <a:ext cx="5506524" cy="20468"/>
          </a:xfrm>
          <a:custGeom>
            <a:avLst/>
            <a:gdLst>
              <a:gd name="connsiteX0" fmla="*/ 0 w 4644412"/>
              <a:gd name="connsiteY0" fmla="*/ 0 h 17264"/>
              <a:gd name="connsiteX1" fmla="*/ 4644413 w 4644412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644412" h="17264">
                <a:moveTo>
                  <a:pt x="0" y="0"/>
                </a:moveTo>
                <a:lnTo>
                  <a:pt x="4644413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1" name="Freeform: Shape 730">
            <a:extLst>
              <a:ext uri="{FF2B5EF4-FFF2-40B4-BE49-F238E27FC236}">
                <a16:creationId xmlns:a16="http://schemas.microsoft.com/office/drawing/2014/main" id="{C946EAF1-15C0-DA85-DE91-2258324532EF}"/>
              </a:ext>
            </a:extLst>
          </p:cNvPr>
          <p:cNvSpPr/>
          <p:nvPr/>
        </p:nvSpPr>
        <p:spPr>
          <a:xfrm>
            <a:off x="2986058" y="1622459"/>
            <a:ext cx="4610571" cy="20468"/>
          </a:xfrm>
          <a:custGeom>
            <a:avLst/>
            <a:gdLst>
              <a:gd name="connsiteX0" fmla="*/ 0 w 3888731"/>
              <a:gd name="connsiteY0" fmla="*/ 0 h 17264"/>
              <a:gd name="connsiteX1" fmla="*/ 3888731 w 388873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888731" h="17264">
                <a:moveTo>
                  <a:pt x="0" y="0"/>
                </a:moveTo>
                <a:lnTo>
                  <a:pt x="3888731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2" name="Freeform: Shape 731">
            <a:extLst>
              <a:ext uri="{FF2B5EF4-FFF2-40B4-BE49-F238E27FC236}">
                <a16:creationId xmlns:a16="http://schemas.microsoft.com/office/drawing/2014/main" id="{FC21F7DF-A939-7048-8864-6A5366B2D7E4}"/>
              </a:ext>
            </a:extLst>
          </p:cNvPr>
          <p:cNvSpPr/>
          <p:nvPr/>
        </p:nvSpPr>
        <p:spPr>
          <a:xfrm>
            <a:off x="2986058" y="1725831"/>
            <a:ext cx="3924839" cy="20468"/>
          </a:xfrm>
          <a:custGeom>
            <a:avLst/>
            <a:gdLst>
              <a:gd name="connsiteX0" fmla="*/ 0 w 3310359"/>
              <a:gd name="connsiteY0" fmla="*/ 0 h 17264"/>
              <a:gd name="connsiteX1" fmla="*/ 3310360 w 331035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310359" h="17264">
                <a:moveTo>
                  <a:pt x="0" y="0"/>
                </a:moveTo>
                <a:lnTo>
                  <a:pt x="3310360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3" name="Freeform: Shape 732">
            <a:extLst>
              <a:ext uri="{FF2B5EF4-FFF2-40B4-BE49-F238E27FC236}">
                <a16:creationId xmlns:a16="http://schemas.microsoft.com/office/drawing/2014/main" id="{E1F66C64-8190-858B-8BF0-01CC885847FB}"/>
              </a:ext>
            </a:extLst>
          </p:cNvPr>
          <p:cNvSpPr/>
          <p:nvPr/>
        </p:nvSpPr>
        <p:spPr>
          <a:xfrm>
            <a:off x="2986058" y="1828998"/>
            <a:ext cx="3877349" cy="20468"/>
          </a:xfrm>
          <a:custGeom>
            <a:avLst/>
            <a:gdLst>
              <a:gd name="connsiteX0" fmla="*/ 0 w 3270304"/>
              <a:gd name="connsiteY0" fmla="*/ 0 h 17264"/>
              <a:gd name="connsiteX1" fmla="*/ 3270305 w 3270304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270304" h="17264">
                <a:moveTo>
                  <a:pt x="0" y="0"/>
                </a:moveTo>
                <a:lnTo>
                  <a:pt x="3270305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4" name="Freeform: Shape 733">
            <a:extLst>
              <a:ext uri="{FF2B5EF4-FFF2-40B4-BE49-F238E27FC236}">
                <a16:creationId xmlns:a16="http://schemas.microsoft.com/office/drawing/2014/main" id="{E4F443A2-0CA5-29C1-C7FF-2D7B8EB327D3}"/>
              </a:ext>
            </a:extLst>
          </p:cNvPr>
          <p:cNvSpPr/>
          <p:nvPr/>
        </p:nvSpPr>
        <p:spPr>
          <a:xfrm>
            <a:off x="2986058" y="1932369"/>
            <a:ext cx="3738567" cy="20468"/>
          </a:xfrm>
          <a:custGeom>
            <a:avLst/>
            <a:gdLst>
              <a:gd name="connsiteX0" fmla="*/ 0 w 3153249"/>
              <a:gd name="connsiteY0" fmla="*/ 0 h 17264"/>
              <a:gd name="connsiteX1" fmla="*/ 3153249 w 315324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53249" h="17264">
                <a:moveTo>
                  <a:pt x="0" y="0"/>
                </a:moveTo>
                <a:lnTo>
                  <a:pt x="3153249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5" name="Freeform: Shape 734">
            <a:extLst>
              <a:ext uri="{FF2B5EF4-FFF2-40B4-BE49-F238E27FC236}">
                <a16:creationId xmlns:a16="http://schemas.microsoft.com/office/drawing/2014/main" id="{A8B72636-5ED7-DE6C-336C-B80A64233B3B}"/>
              </a:ext>
            </a:extLst>
          </p:cNvPr>
          <p:cNvSpPr/>
          <p:nvPr/>
        </p:nvSpPr>
        <p:spPr>
          <a:xfrm>
            <a:off x="2986058" y="2035537"/>
            <a:ext cx="3314436" cy="20468"/>
          </a:xfrm>
          <a:custGeom>
            <a:avLst/>
            <a:gdLst>
              <a:gd name="connsiteX0" fmla="*/ 0 w 2795521"/>
              <a:gd name="connsiteY0" fmla="*/ 0 h 17264"/>
              <a:gd name="connsiteX1" fmla="*/ 2795522 w 2795521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95521" h="17264">
                <a:moveTo>
                  <a:pt x="0" y="0"/>
                </a:moveTo>
                <a:lnTo>
                  <a:pt x="2795522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4" name="Freeform: Shape 383">
            <a:extLst>
              <a:ext uri="{FF2B5EF4-FFF2-40B4-BE49-F238E27FC236}">
                <a16:creationId xmlns:a16="http://schemas.microsoft.com/office/drawing/2014/main" id="{272E180E-0048-408D-0044-CE94E453073C}"/>
              </a:ext>
            </a:extLst>
          </p:cNvPr>
          <p:cNvSpPr/>
          <p:nvPr/>
        </p:nvSpPr>
        <p:spPr>
          <a:xfrm>
            <a:off x="2986058" y="2138907"/>
            <a:ext cx="3264899" cy="20468"/>
          </a:xfrm>
          <a:custGeom>
            <a:avLst/>
            <a:gdLst>
              <a:gd name="connsiteX0" fmla="*/ 0 w 2753740"/>
              <a:gd name="connsiteY0" fmla="*/ 0 h 17264"/>
              <a:gd name="connsiteX1" fmla="*/ 2753741 w 2753740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753740" h="17264">
                <a:moveTo>
                  <a:pt x="0" y="0"/>
                </a:moveTo>
                <a:lnTo>
                  <a:pt x="2753741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5" name="Freeform: Shape 384">
            <a:extLst>
              <a:ext uri="{FF2B5EF4-FFF2-40B4-BE49-F238E27FC236}">
                <a16:creationId xmlns:a16="http://schemas.microsoft.com/office/drawing/2014/main" id="{BD33D96A-69B7-44C1-9328-53E79FA729CE}"/>
              </a:ext>
            </a:extLst>
          </p:cNvPr>
          <p:cNvSpPr/>
          <p:nvPr/>
        </p:nvSpPr>
        <p:spPr>
          <a:xfrm>
            <a:off x="2986058" y="2242074"/>
            <a:ext cx="3028885" cy="20468"/>
          </a:xfrm>
          <a:custGeom>
            <a:avLst/>
            <a:gdLst>
              <a:gd name="connsiteX0" fmla="*/ 0 w 2554677"/>
              <a:gd name="connsiteY0" fmla="*/ 0 h 17264"/>
              <a:gd name="connsiteX1" fmla="*/ 2554677 w 2554677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554677" h="17264">
                <a:moveTo>
                  <a:pt x="0" y="0"/>
                </a:moveTo>
                <a:lnTo>
                  <a:pt x="2554677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6" name="Freeform: Shape 385">
            <a:extLst>
              <a:ext uri="{FF2B5EF4-FFF2-40B4-BE49-F238E27FC236}">
                <a16:creationId xmlns:a16="http://schemas.microsoft.com/office/drawing/2014/main" id="{0BDBD191-6C92-E5A4-FCA0-02FDA9F6BAD9}"/>
              </a:ext>
            </a:extLst>
          </p:cNvPr>
          <p:cNvSpPr/>
          <p:nvPr/>
        </p:nvSpPr>
        <p:spPr>
          <a:xfrm>
            <a:off x="2986058" y="2345242"/>
            <a:ext cx="2440384" cy="20468"/>
          </a:xfrm>
          <a:custGeom>
            <a:avLst/>
            <a:gdLst>
              <a:gd name="connsiteX0" fmla="*/ 0 w 2058313"/>
              <a:gd name="connsiteY0" fmla="*/ 0 h 17264"/>
              <a:gd name="connsiteX1" fmla="*/ 2058313 w 205831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2058313" h="17264">
                <a:moveTo>
                  <a:pt x="0" y="0"/>
                </a:moveTo>
                <a:lnTo>
                  <a:pt x="2058313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7" name="Freeform: Shape 386">
            <a:extLst>
              <a:ext uri="{FF2B5EF4-FFF2-40B4-BE49-F238E27FC236}">
                <a16:creationId xmlns:a16="http://schemas.microsoft.com/office/drawing/2014/main" id="{13F04E35-292F-F042-F03F-8C81124FB3F9}"/>
              </a:ext>
            </a:extLst>
          </p:cNvPr>
          <p:cNvSpPr/>
          <p:nvPr/>
        </p:nvSpPr>
        <p:spPr>
          <a:xfrm>
            <a:off x="2986059" y="2448613"/>
            <a:ext cx="2253905" cy="20468"/>
          </a:xfrm>
          <a:custGeom>
            <a:avLst/>
            <a:gdLst>
              <a:gd name="connsiteX0" fmla="*/ 0 w 1901030"/>
              <a:gd name="connsiteY0" fmla="*/ 0 h 17264"/>
              <a:gd name="connsiteX1" fmla="*/ 1901031 w 1901030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901030" h="17264">
                <a:moveTo>
                  <a:pt x="0" y="0"/>
                </a:moveTo>
                <a:lnTo>
                  <a:pt x="1901031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8" name="Freeform: Shape 387">
            <a:extLst>
              <a:ext uri="{FF2B5EF4-FFF2-40B4-BE49-F238E27FC236}">
                <a16:creationId xmlns:a16="http://schemas.microsoft.com/office/drawing/2014/main" id="{080ED06A-D70D-86CC-EF57-786B02DA4355}"/>
              </a:ext>
            </a:extLst>
          </p:cNvPr>
          <p:cNvSpPr/>
          <p:nvPr/>
        </p:nvSpPr>
        <p:spPr>
          <a:xfrm>
            <a:off x="2986058" y="2551779"/>
            <a:ext cx="2071727" cy="20468"/>
          </a:xfrm>
          <a:custGeom>
            <a:avLst/>
            <a:gdLst>
              <a:gd name="connsiteX0" fmla="*/ 0 w 1747373"/>
              <a:gd name="connsiteY0" fmla="*/ 0 h 17264"/>
              <a:gd name="connsiteX1" fmla="*/ 1747374 w 1747373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47373" h="17264">
                <a:moveTo>
                  <a:pt x="0" y="0"/>
                </a:moveTo>
                <a:lnTo>
                  <a:pt x="1747374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389" name="Freeform: Shape 388">
            <a:extLst>
              <a:ext uri="{FF2B5EF4-FFF2-40B4-BE49-F238E27FC236}">
                <a16:creationId xmlns:a16="http://schemas.microsoft.com/office/drawing/2014/main" id="{DBA252F3-46A7-F28C-9D58-10EF63724901}"/>
              </a:ext>
            </a:extLst>
          </p:cNvPr>
          <p:cNvSpPr/>
          <p:nvPr/>
        </p:nvSpPr>
        <p:spPr>
          <a:xfrm>
            <a:off x="2986058" y="2655151"/>
            <a:ext cx="1391728" cy="20468"/>
          </a:xfrm>
          <a:custGeom>
            <a:avLst/>
            <a:gdLst>
              <a:gd name="connsiteX0" fmla="*/ 0 w 1173836"/>
              <a:gd name="connsiteY0" fmla="*/ 0 h 17264"/>
              <a:gd name="connsiteX1" fmla="*/ 1173836 w 117383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836" h="17264">
                <a:moveTo>
                  <a:pt x="0" y="0"/>
                </a:moveTo>
                <a:lnTo>
                  <a:pt x="1173836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6" name="Freeform: Shape 735">
            <a:extLst>
              <a:ext uri="{FF2B5EF4-FFF2-40B4-BE49-F238E27FC236}">
                <a16:creationId xmlns:a16="http://schemas.microsoft.com/office/drawing/2014/main" id="{67AA7713-E569-1794-8EBC-9467ED90D865}"/>
              </a:ext>
            </a:extLst>
          </p:cNvPr>
          <p:cNvSpPr/>
          <p:nvPr/>
        </p:nvSpPr>
        <p:spPr>
          <a:xfrm>
            <a:off x="2986058" y="2758318"/>
            <a:ext cx="1391728" cy="20468"/>
          </a:xfrm>
          <a:custGeom>
            <a:avLst/>
            <a:gdLst>
              <a:gd name="connsiteX0" fmla="*/ 0 w 1173836"/>
              <a:gd name="connsiteY0" fmla="*/ 0 h 17264"/>
              <a:gd name="connsiteX1" fmla="*/ 1173836 w 1173836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73836" h="17264">
                <a:moveTo>
                  <a:pt x="0" y="0"/>
                </a:moveTo>
                <a:lnTo>
                  <a:pt x="1173836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7" name="Freeform: Shape 736">
            <a:extLst>
              <a:ext uri="{FF2B5EF4-FFF2-40B4-BE49-F238E27FC236}">
                <a16:creationId xmlns:a16="http://schemas.microsoft.com/office/drawing/2014/main" id="{F36C5317-A343-C209-60D3-FEF4C22375D2}"/>
              </a:ext>
            </a:extLst>
          </p:cNvPr>
          <p:cNvSpPr/>
          <p:nvPr/>
        </p:nvSpPr>
        <p:spPr>
          <a:xfrm>
            <a:off x="2986058" y="2861690"/>
            <a:ext cx="985405" cy="20468"/>
          </a:xfrm>
          <a:custGeom>
            <a:avLst/>
            <a:gdLst>
              <a:gd name="connsiteX0" fmla="*/ 0 w 831129"/>
              <a:gd name="connsiteY0" fmla="*/ 0 h 17264"/>
              <a:gd name="connsiteX1" fmla="*/ 831129 w 831129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31129" h="17264">
                <a:moveTo>
                  <a:pt x="0" y="0"/>
                </a:moveTo>
                <a:lnTo>
                  <a:pt x="831129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8" name="Freeform: Shape 737">
            <a:extLst>
              <a:ext uri="{FF2B5EF4-FFF2-40B4-BE49-F238E27FC236}">
                <a16:creationId xmlns:a16="http://schemas.microsoft.com/office/drawing/2014/main" id="{038A828C-39D5-1145-ECCA-4CB7AA14286F}"/>
              </a:ext>
            </a:extLst>
          </p:cNvPr>
          <p:cNvSpPr/>
          <p:nvPr/>
        </p:nvSpPr>
        <p:spPr>
          <a:xfrm>
            <a:off x="2986058" y="2964857"/>
            <a:ext cx="866477" cy="20468"/>
          </a:xfrm>
          <a:custGeom>
            <a:avLst/>
            <a:gdLst>
              <a:gd name="connsiteX0" fmla="*/ 0 w 730820"/>
              <a:gd name="connsiteY0" fmla="*/ 0 h 17264"/>
              <a:gd name="connsiteX1" fmla="*/ 730820 w 730820"/>
              <a:gd name="connsiteY1" fmla="*/ 0 h 172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730820" h="17264">
                <a:moveTo>
                  <a:pt x="0" y="0"/>
                </a:moveTo>
                <a:lnTo>
                  <a:pt x="730820" y="0"/>
                </a:lnTo>
              </a:path>
            </a:pathLst>
          </a:custGeom>
          <a:ln w="57150" cap="flat">
            <a:solidFill>
              <a:srgbClr val="C5DC61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39" name="Freeform: Shape 738">
            <a:extLst>
              <a:ext uri="{FF2B5EF4-FFF2-40B4-BE49-F238E27FC236}">
                <a16:creationId xmlns:a16="http://schemas.microsoft.com/office/drawing/2014/main" id="{4EB09268-1C29-9E44-B2C2-A3B6E1299D80}"/>
              </a:ext>
            </a:extLst>
          </p:cNvPr>
          <p:cNvSpPr/>
          <p:nvPr/>
        </p:nvSpPr>
        <p:spPr>
          <a:xfrm>
            <a:off x="2988310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0" name="Freeform: Shape 739">
            <a:extLst>
              <a:ext uri="{FF2B5EF4-FFF2-40B4-BE49-F238E27FC236}">
                <a16:creationId xmlns:a16="http://schemas.microsoft.com/office/drawing/2014/main" id="{60394A7D-E59B-244D-381E-FD1E39E50F30}"/>
              </a:ext>
            </a:extLst>
          </p:cNvPr>
          <p:cNvSpPr/>
          <p:nvPr/>
        </p:nvSpPr>
        <p:spPr>
          <a:xfrm>
            <a:off x="3667696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1" name="Freeform: Shape 740">
            <a:extLst>
              <a:ext uri="{FF2B5EF4-FFF2-40B4-BE49-F238E27FC236}">
                <a16:creationId xmlns:a16="http://schemas.microsoft.com/office/drawing/2014/main" id="{0E7B8FB5-7BE5-2046-DC58-26048FEFD49B}"/>
              </a:ext>
            </a:extLst>
          </p:cNvPr>
          <p:cNvSpPr/>
          <p:nvPr/>
        </p:nvSpPr>
        <p:spPr>
          <a:xfrm>
            <a:off x="4346877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2" name="Freeform: Shape 741">
            <a:extLst>
              <a:ext uri="{FF2B5EF4-FFF2-40B4-BE49-F238E27FC236}">
                <a16:creationId xmlns:a16="http://schemas.microsoft.com/office/drawing/2014/main" id="{87BEBA98-7649-934B-39AC-011DF2A2FE95}"/>
              </a:ext>
            </a:extLst>
          </p:cNvPr>
          <p:cNvSpPr/>
          <p:nvPr/>
        </p:nvSpPr>
        <p:spPr>
          <a:xfrm>
            <a:off x="5026058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3" name="Freeform: Shape 742">
            <a:extLst>
              <a:ext uri="{FF2B5EF4-FFF2-40B4-BE49-F238E27FC236}">
                <a16:creationId xmlns:a16="http://schemas.microsoft.com/office/drawing/2014/main" id="{EBF47714-2FB5-7EC9-8026-78D0026DECF4}"/>
              </a:ext>
            </a:extLst>
          </p:cNvPr>
          <p:cNvSpPr/>
          <p:nvPr/>
        </p:nvSpPr>
        <p:spPr>
          <a:xfrm>
            <a:off x="5705444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4" name="Freeform: Shape 743">
            <a:extLst>
              <a:ext uri="{FF2B5EF4-FFF2-40B4-BE49-F238E27FC236}">
                <a16:creationId xmlns:a16="http://schemas.microsoft.com/office/drawing/2014/main" id="{48787370-7CD9-FC0B-8870-AF79950774FE}"/>
              </a:ext>
            </a:extLst>
          </p:cNvPr>
          <p:cNvSpPr/>
          <p:nvPr/>
        </p:nvSpPr>
        <p:spPr>
          <a:xfrm>
            <a:off x="6384625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5" name="Freeform: Shape 744">
            <a:extLst>
              <a:ext uri="{FF2B5EF4-FFF2-40B4-BE49-F238E27FC236}">
                <a16:creationId xmlns:a16="http://schemas.microsoft.com/office/drawing/2014/main" id="{96D7840D-9883-D38A-D4D6-2CCC30089871}"/>
              </a:ext>
            </a:extLst>
          </p:cNvPr>
          <p:cNvSpPr/>
          <p:nvPr/>
        </p:nvSpPr>
        <p:spPr>
          <a:xfrm>
            <a:off x="7063806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6" name="Freeform: Shape 745">
            <a:extLst>
              <a:ext uri="{FF2B5EF4-FFF2-40B4-BE49-F238E27FC236}">
                <a16:creationId xmlns:a16="http://schemas.microsoft.com/office/drawing/2014/main" id="{B1CA0AEB-1F93-D592-2804-5400EE114FA6}"/>
              </a:ext>
            </a:extLst>
          </p:cNvPr>
          <p:cNvSpPr/>
          <p:nvPr/>
        </p:nvSpPr>
        <p:spPr>
          <a:xfrm>
            <a:off x="7743192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7" name="Freeform: Shape 746">
            <a:extLst>
              <a:ext uri="{FF2B5EF4-FFF2-40B4-BE49-F238E27FC236}">
                <a16:creationId xmlns:a16="http://schemas.microsoft.com/office/drawing/2014/main" id="{E58EFEC5-CDAF-2AA3-A67D-3DFC068E9D48}"/>
              </a:ext>
            </a:extLst>
          </p:cNvPr>
          <p:cNvSpPr/>
          <p:nvPr/>
        </p:nvSpPr>
        <p:spPr>
          <a:xfrm>
            <a:off x="8422373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8" name="Freeform: Shape 747">
            <a:extLst>
              <a:ext uri="{FF2B5EF4-FFF2-40B4-BE49-F238E27FC236}">
                <a16:creationId xmlns:a16="http://schemas.microsoft.com/office/drawing/2014/main" id="{D13B100B-F791-375D-10B5-D6A8C545F759}"/>
              </a:ext>
            </a:extLst>
          </p:cNvPr>
          <p:cNvSpPr/>
          <p:nvPr/>
        </p:nvSpPr>
        <p:spPr>
          <a:xfrm>
            <a:off x="9101554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49" name="Freeform: Shape 748">
            <a:extLst>
              <a:ext uri="{FF2B5EF4-FFF2-40B4-BE49-F238E27FC236}">
                <a16:creationId xmlns:a16="http://schemas.microsoft.com/office/drawing/2014/main" id="{29CA0834-A871-5D7C-9A11-BA01DE8F3D4F}"/>
              </a:ext>
            </a:extLst>
          </p:cNvPr>
          <p:cNvSpPr/>
          <p:nvPr/>
        </p:nvSpPr>
        <p:spPr>
          <a:xfrm>
            <a:off x="9780940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0" name="Freeform: Shape 749">
            <a:extLst>
              <a:ext uri="{FF2B5EF4-FFF2-40B4-BE49-F238E27FC236}">
                <a16:creationId xmlns:a16="http://schemas.microsoft.com/office/drawing/2014/main" id="{203C2038-7496-A60D-A15E-D1FB9C20B48B}"/>
              </a:ext>
            </a:extLst>
          </p:cNvPr>
          <p:cNvSpPr/>
          <p:nvPr/>
        </p:nvSpPr>
        <p:spPr>
          <a:xfrm>
            <a:off x="10460121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1" name="Freeform: Shape 750">
            <a:extLst>
              <a:ext uri="{FF2B5EF4-FFF2-40B4-BE49-F238E27FC236}">
                <a16:creationId xmlns:a16="http://schemas.microsoft.com/office/drawing/2014/main" id="{69FCC9B4-E451-3482-0A26-97C86ADE8140}"/>
              </a:ext>
            </a:extLst>
          </p:cNvPr>
          <p:cNvSpPr/>
          <p:nvPr/>
        </p:nvSpPr>
        <p:spPr>
          <a:xfrm>
            <a:off x="11139301" y="5827123"/>
            <a:ext cx="20468" cy="50764"/>
          </a:xfrm>
          <a:custGeom>
            <a:avLst/>
            <a:gdLst>
              <a:gd name="connsiteX0" fmla="*/ 0 w 17264"/>
              <a:gd name="connsiteY0" fmla="*/ 42817 h 42816"/>
              <a:gd name="connsiteX1" fmla="*/ 0 w 17264"/>
              <a:gd name="connsiteY1" fmla="*/ 0 h 428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64" h="42816">
                <a:moveTo>
                  <a:pt x="0" y="42817"/>
                </a:moveTo>
                <a:lnTo>
                  <a:pt x="0" y="0"/>
                </a:lnTo>
              </a:path>
            </a:pathLst>
          </a:custGeom>
          <a:ln w="17264" cap="flat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2" name="Freeform: Shape 751">
            <a:extLst>
              <a:ext uri="{FF2B5EF4-FFF2-40B4-BE49-F238E27FC236}">
                <a16:creationId xmlns:a16="http://schemas.microsoft.com/office/drawing/2014/main" id="{79015890-D9D0-5624-5A04-4267E91BA42E}"/>
              </a:ext>
            </a:extLst>
          </p:cNvPr>
          <p:cNvSpPr/>
          <p:nvPr/>
        </p:nvSpPr>
        <p:spPr>
          <a:xfrm>
            <a:off x="2988310" y="709719"/>
            <a:ext cx="8150992" cy="5117403"/>
          </a:xfrm>
          <a:custGeom>
            <a:avLst/>
            <a:gdLst>
              <a:gd name="connsiteX0" fmla="*/ 6874857 w 6874856"/>
              <a:gd name="connsiteY0" fmla="*/ 4316210 h 4316209"/>
              <a:gd name="connsiteX1" fmla="*/ 0 w 6874856"/>
              <a:gd name="connsiteY1" fmla="*/ 4316210 h 4316209"/>
              <a:gd name="connsiteX2" fmla="*/ 0 w 6874856"/>
              <a:gd name="connsiteY2" fmla="*/ 0 h 43162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874856" h="4316209">
                <a:moveTo>
                  <a:pt x="6874857" y="4316210"/>
                </a:moveTo>
                <a:lnTo>
                  <a:pt x="0" y="4316210"/>
                </a:lnTo>
                <a:lnTo>
                  <a:pt x="0" y="0"/>
                </a:lnTo>
              </a:path>
            </a:pathLst>
          </a:custGeom>
          <a:noFill/>
          <a:ln w="17264" cap="sq">
            <a:solidFill>
              <a:srgbClr val="1D1D1B"/>
            </a:solidFill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3" name="Freeform: Shape 752">
            <a:extLst>
              <a:ext uri="{FF2B5EF4-FFF2-40B4-BE49-F238E27FC236}">
                <a16:creationId xmlns:a16="http://schemas.microsoft.com/office/drawing/2014/main" id="{77BDAC5D-626C-D2AD-290D-B853CF58B484}"/>
              </a:ext>
            </a:extLst>
          </p:cNvPr>
          <p:cNvSpPr/>
          <p:nvPr/>
        </p:nvSpPr>
        <p:spPr>
          <a:xfrm>
            <a:off x="9553404" y="3894139"/>
            <a:ext cx="1125623" cy="1791091"/>
          </a:xfrm>
          <a:custGeom>
            <a:avLst/>
            <a:gdLst>
              <a:gd name="connsiteX0" fmla="*/ 0 w 949393"/>
              <a:gd name="connsiteY0" fmla="*/ 0 h 1510673"/>
              <a:gd name="connsiteX1" fmla="*/ 949394 w 949393"/>
              <a:gd name="connsiteY1" fmla="*/ 0 h 1510673"/>
              <a:gd name="connsiteX2" fmla="*/ 949394 w 949393"/>
              <a:gd name="connsiteY2" fmla="*/ 1510673 h 1510673"/>
              <a:gd name="connsiteX3" fmla="*/ 1 w 949393"/>
              <a:gd name="connsiteY3" fmla="*/ 1510673 h 15106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9393" h="1510673">
                <a:moveTo>
                  <a:pt x="0" y="0"/>
                </a:moveTo>
                <a:lnTo>
                  <a:pt x="949394" y="0"/>
                </a:lnTo>
                <a:lnTo>
                  <a:pt x="949394" y="1510673"/>
                </a:lnTo>
                <a:lnTo>
                  <a:pt x="1" y="1510673"/>
                </a:lnTo>
                <a:close/>
              </a:path>
            </a:pathLst>
          </a:custGeom>
          <a:solidFill>
            <a:srgbClr val="FFFFFF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4" name="Freeform: Shape 753">
            <a:extLst>
              <a:ext uri="{FF2B5EF4-FFF2-40B4-BE49-F238E27FC236}">
                <a16:creationId xmlns:a16="http://schemas.microsoft.com/office/drawing/2014/main" id="{21B2D26C-82D3-92C9-D126-33FA55348717}"/>
              </a:ext>
            </a:extLst>
          </p:cNvPr>
          <p:cNvSpPr/>
          <p:nvPr/>
        </p:nvSpPr>
        <p:spPr>
          <a:xfrm>
            <a:off x="9260235" y="2464220"/>
            <a:ext cx="1215893" cy="1178435"/>
          </a:xfrm>
          <a:custGeom>
            <a:avLst/>
            <a:gdLst>
              <a:gd name="connsiteX0" fmla="*/ 0 w 1025531"/>
              <a:gd name="connsiteY0" fmla="*/ 0 h 993936"/>
              <a:gd name="connsiteX1" fmla="*/ 1025531 w 1025531"/>
              <a:gd name="connsiteY1" fmla="*/ 0 h 993936"/>
              <a:gd name="connsiteX2" fmla="*/ 1025531 w 1025531"/>
              <a:gd name="connsiteY2" fmla="*/ 993937 h 993936"/>
              <a:gd name="connsiteX3" fmla="*/ 0 w 1025531"/>
              <a:gd name="connsiteY3" fmla="*/ 993937 h 993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5531" h="993936">
                <a:moveTo>
                  <a:pt x="0" y="0"/>
                </a:moveTo>
                <a:lnTo>
                  <a:pt x="1025531" y="0"/>
                </a:lnTo>
                <a:lnTo>
                  <a:pt x="1025531" y="993937"/>
                </a:lnTo>
                <a:lnTo>
                  <a:pt x="0" y="993937"/>
                </a:lnTo>
                <a:close/>
              </a:path>
            </a:pathLst>
          </a:custGeom>
          <a:solidFill>
            <a:srgbClr val="FFFFFF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5" name="Freeform: Shape 754">
            <a:extLst>
              <a:ext uri="{FF2B5EF4-FFF2-40B4-BE49-F238E27FC236}">
                <a16:creationId xmlns:a16="http://schemas.microsoft.com/office/drawing/2014/main" id="{C7B5EC45-4BAB-ED9E-FFE1-1C32F138D09E}"/>
              </a:ext>
            </a:extLst>
          </p:cNvPr>
          <p:cNvSpPr/>
          <p:nvPr/>
        </p:nvSpPr>
        <p:spPr>
          <a:xfrm>
            <a:off x="3820398" y="752909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6" name="Freeform: Shape 755">
            <a:extLst>
              <a:ext uri="{FF2B5EF4-FFF2-40B4-BE49-F238E27FC236}">
                <a16:creationId xmlns:a16="http://schemas.microsoft.com/office/drawing/2014/main" id="{577F07F2-81C1-5FC4-E17C-E79BEA7E2275}"/>
              </a:ext>
            </a:extLst>
          </p:cNvPr>
          <p:cNvSpPr/>
          <p:nvPr/>
        </p:nvSpPr>
        <p:spPr>
          <a:xfrm>
            <a:off x="3803000" y="1062819"/>
            <a:ext cx="98457" cy="86995"/>
          </a:xfrm>
          <a:custGeom>
            <a:avLst/>
            <a:gdLst>
              <a:gd name="connsiteX0" fmla="*/ 83044 w 83043"/>
              <a:gd name="connsiteY0" fmla="*/ 36602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2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7" name="Freeform: Shape 756">
            <a:extLst>
              <a:ext uri="{FF2B5EF4-FFF2-40B4-BE49-F238E27FC236}">
                <a16:creationId xmlns:a16="http://schemas.microsoft.com/office/drawing/2014/main" id="{BDACFB72-69C6-701A-E8CA-6EB50FDF00E4}"/>
              </a:ext>
            </a:extLst>
          </p:cNvPr>
          <p:cNvSpPr/>
          <p:nvPr/>
        </p:nvSpPr>
        <p:spPr>
          <a:xfrm>
            <a:off x="4546250" y="1062819"/>
            <a:ext cx="98663" cy="86995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8" name="Freeform: Shape 757">
            <a:extLst>
              <a:ext uri="{FF2B5EF4-FFF2-40B4-BE49-F238E27FC236}">
                <a16:creationId xmlns:a16="http://schemas.microsoft.com/office/drawing/2014/main" id="{53D586F1-BFA4-3825-E0EA-A35CE7B1E60F}"/>
              </a:ext>
            </a:extLst>
          </p:cNvPr>
          <p:cNvSpPr/>
          <p:nvPr/>
        </p:nvSpPr>
        <p:spPr>
          <a:xfrm>
            <a:off x="5420917" y="1062819"/>
            <a:ext cx="98663" cy="86995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59" name="Freeform: Shape 758">
            <a:extLst>
              <a:ext uri="{FF2B5EF4-FFF2-40B4-BE49-F238E27FC236}">
                <a16:creationId xmlns:a16="http://schemas.microsoft.com/office/drawing/2014/main" id="{BE6E01C7-4909-B8C5-0EB7-4DADD453D6E3}"/>
              </a:ext>
            </a:extLst>
          </p:cNvPr>
          <p:cNvSpPr/>
          <p:nvPr/>
        </p:nvSpPr>
        <p:spPr>
          <a:xfrm>
            <a:off x="6234788" y="1062819"/>
            <a:ext cx="98663" cy="86995"/>
          </a:xfrm>
          <a:custGeom>
            <a:avLst/>
            <a:gdLst>
              <a:gd name="connsiteX0" fmla="*/ 83216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0" name="Freeform: Shape 759">
            <a:extLst>
              <a:ext uri="{FF2B5EF4-FFF2-40B4-BE49-F238E27FC236}">
                <a16:creationId xmlns:a16="http://schemas.microsoft.com/office/drawing/2014/main" id="{43B31C2A-5C26-3950-ED62-EC5812DEF436}"/>
              </a:ext>
            </a:extLst>
          </p:cNvPr>
          <p:cNvSpPr/>
          <p:nvPr/>
        </p:nvSpPr>
        <p:spPr>
          <a:xfrm>
            <a:off x="6250958" y="116598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1" name="Freeform: Shape 760">
            <a:extLst>
              <a:ext uri="{FF2B5EF4-FFF2-40B4-BE49-F238E27FC236}">
                <a16:creationId xmlns:a16="http://schemas.microsoft.com/office/drawing/2014/main" id="{FBA1965C-8A92-C98D-F1FE-FE9287660101}"/>
              </a:ext>
            </a:extLst>
          </p:cNvPr>
          <p:cNvSpPr/>
          <p:nvPr/>
        </p:nvSpPr>
        <p:spPr>
          <a:xfrm>
            <a:off x="6217184" y="1269153"/>
            <a:ext cx="98663" cy="87200"/>
          </a:xfrm>
          <a:custGeom>
            <a:avLst/>
            <a:gdLst>
              <a:gd name="connsiteX0" fmla="*/ 41608 w 83216"/>
              <a:gd name="connsiteY0" fmla="*/ 73548 h 73548"/>
              <a:gd name="connsiteX1" fmla="*/ 83217 w 83216"/>
              <a:gd name="connsiteY1" fmla="*/ 0 h 73548"/>
              <a:gd name="connsiteX2" fmla="*/ 0 w 83216"/>
              <a:gd name="connsiteY2" fmla="*/ 0 h 73548"/>
              <a:gd name="connsiteX3" fmla="*/ 41608 w 83216"/>
              <a:gd name="connsiteY3" fmla="*/ 73548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73548"/>
                </a:moveTo>
                <a:lnTo>
                  <a:pt x="83217" y="0"/>
                </a:lnTo>
                <a:lnTo>
                  <a:pt x="0" y="0"/>
                </a:lnTo>
                <a:lnTo>
                  <a:pt x="41608" y="73548"/>
                </a:lnTo>
                <a:close/>
              </a:path>
            </a:pathLst>
          </a:custGeom>
          <a:solidFill>
            <a:srgbClr val="662482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2" name="Freeform: Shape 761">
            <a:extLst>
              <a:ext uri="{FF2B5EF4-FFF2-40B4-BE49-F238E27FC236}">
                <a16:creationId xmlns:a16="http://schemas.microsoft.com/office/drawing/2014/main" id="{699433A9-856F-7BE0-0950-31CAEF208AEF}"/>
              </a:ext>
            </a:extLst>
          </p:cNvPr>
          <p:cNvSpPr/>
          <p:nvPr/>
        </p:nvSpPr>
        <p:spPr>
          <a:xfrm>
            <a:off x="5446093" y="116598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3" name="Freeform: Shape 762">
            <a:extLst>
              <a:ext uri="{FF2B5EF4-FFF2-40B4-BE49-F238E27FC236}">
                <a16:creationId xmlns:a16="http://schemas.microsoft.com/office/drawing/2014/main" id="{011257BA-0F8B-0729-B909-2AB99E8D8145}"/>
              </a:ext>
            </a:extLst>
          </p:cNvPr>
          <p:cNvSpPr/>
          <p:nvPr/>
        </p:nvSpPr>
        <p:spPr>
          <a:xfrm>
            <a:off x="4611958" y="1165987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4" name="Freeform: Shape 763">
            <a:extLst>
              <a:ext uri="{FF2B5EF4-FFF2-40B4-BE49-F238E27FC236}">
                <a16:creationId xmlns:a16="http://schemas.microsoft.com/office/drawing/2014/main" id="{AC02FBD9-1E45-ABDE-4C06-F0147141C3EA}"/>
              </a:ext>
            </a:extLst>
          </p:cNvPr>
          <p:cNvSpPr/>
          <p:nvPr/>
        </p:nvSpPr>
        <p:spPr>
          <a:xfrm>
            <a:off x="4792500" y="1269153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5" name="Freeform: Shape 764">
            <a:extLst>
              <a:ext uri="{FF2B5EF4-FFF2-40B4-BE49-F238E27FC236}">
                <a16:creationId xmlns:a16="http://schemas.microsoft.com/office/drawing/2014/main" id="{1F5D6ADC-4AAA-2D8C-48BC-52E0CCF182E8}"/>
              </a:ext>
            </a:extLst>
          </p:cNvPr>
          <p:cNvSpPr/>
          <p:nvPr/>
        </p:nvSpPr>
        <p:spPr>
          <a:xfrm>
            <a:off x="5420917" y="1269153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6" name="Freeform: Shape 765">
            <a:extLst>
              <a:ext uri="{FF2B5EF4-FFF2-40B4-BE49-F238E27FC236}">
                <a16:creationId xmlns:a16="http://schemas.microsoft.com/office/drawing/2014/main" id="{8473EFE4-FA44-356E-9287-CCC3B21A532B}"/>
              </a:ext>
            </a:extLst>
          </p:cNvPr>
          <p:cNvSpPr/>
          <p:nvPr/>
        </p:nvSpPr>
        <p:spPr>
          <a:xfrm>
            <a:off x="3803000" y="1165987"/>
            <a:ext cx="98457" cy="86995"/>
          </a:xfrm>
          <a:custGeom>
            <a:avLst/>
            <a:gdLst>
              <a:gd name="connsiteX0" fmla="*/ 83044 w 83043"/>
              <a:gd name="connsiteY0" fmla="*/ 36774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774"/>
                </a:moveTo>
                <a:lnTo>
                  <a:pt x="0" y="0"/>
                </a:lnTo>
                <a:lnTo>
                  <a:pt x="0" y="73376"/>
                </a:lnTo>
                <a:lnTo>
                  <a:pt x="83044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7" name="Freeform: Shape 766">
            <a:extLst>
              <a:ext uri="{FF2B5EF4-FFF2-40B4-BE49-F238E27FC236}">
                <a16:creationId xmlns:a16="http://schemas.microsoft.com/office/drawing/2014/main" id="{B2AFA5EE-38B5-014B-24E8-992D5CFEA1B2}"/>
              </a:ext>
            </a:extLst>
          </p:cNvPr>
          <p:cNvSpPr/>
          <p:nvPr/>
        </p:nvSpPr>
        <p:spPr>
          <a:xfrm>
            <a:off x="4017522" y="1372525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8" name="Freeform: Shape 767">
            <a:extLst>
              <a:ext uri="{FF2B5EF4-FFF2-40B4-BE49-F238E27FC236}">
                <a16:creationId xmlns:a16="http://schemas.microsoft.com/office/drawing/2014/main" id="{C391427B-3245-18F7-5CDE-617AE3FF1E2B}"/>
              </a:ext>
            </a:extLst>
          </p:cNvPr>
          <p:cNvSpPr/>
          <p:nvPr/>
        </p:nvSpPr>
        <p:spPr>
          <a:xfrm>
            <a:off x="4599061" y="147569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69" name="Freeform: Shape 768">
            <a:extLst>
              <a:ext uri="{FF2B5EF4-FFF2-40B4-BE49-F238E27FC236}">
                <a16:creationId xmlns:a16="http://schemas.microsoft.com/office/drawing/2014/main" id="{939833E2-B72E-3B5E-6FF2-DCCCDD49DB50}"/>
              </a:ext>
            </a:extLst>
          </p:cNvPr>
          <p:cNvSpPr/>
          <p:nvPr/>
        </p:nvSpPr>
        <p:spPr>
          <a:xfrm>
            <a:off x="5403313" y="168222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0" name="Freeform: Shape 769">
            <a:extLst>
              <a:ext uri="{FF2B5EF4-FFF2-40B4-BE49-F238E27FC236}">
                <a16:creationId xmlns:a16="http://schemas.microsoft.com/office/drawing/2014/main" id="{E9CE57C2-B6A4-F3E5-D133-34B8CDA4AA3D}"/>
              </a:ext>
            </a:extLst>
          </p:cNvPr>
          <p:cNvSpPr/>
          <p:nvPr/>
        </p:nvSpPr>
        <p:spPr>
          <a:xfrm>
            <a:off x="5403313" y="188876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1" name="Freeform: Shape 770">
            <a:extLst>
              <a:ext uri="{FF2B5EF4-FFF2-40B4-BE49-F238E27FC236}">
                <a16:creationId xmlns:a16="http://schemas.microsoft.com/office/drawing/2014/main" id="{8B3D09B0-E9A3-1E44-C09C-EB672B77429B}"/>
              </a:ext>
            </a:extLst>
          </p:cNvPr>
          <p:cNvSpPr/>
          <p:nvPr/>
        </p:nvSpPr>
        <p:spPr>
          <a:xfrm>
            <a:off x="4599061" y="1785603"/>
            <a:ext cx="98663" cy="86995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2" name="Freeform: Shape 771">
            <a:extLst>
              <a:ext uri="{FF2B5EF4-FFF2-40B4-BE49-F238E27FC236}">
                <a16:creationId xmlns:a16="http://schemas.microsoft.com/office/drawing/2014/main" id="{4E423DEC-5F7F-A23F-1A2C-62D0AE8EB99C}"/>
              </a:ext>
            </a:extLst>
          </p:cNvPr>
          <p:cNvSpPr/>
          <p:nvPr/>
        </p:nvSpPr>
        <p:spPr>
          <a:xfrm>
            <a:off x="4599061" y="188876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3" name="Freeform: Shape 772">
            <a:extLst>
              <a:ext uri="{FF2B5EF4-FFF2-40B4-BE49-F238E27FC236}">
                <a16:creationId xmlns:a16="http://schemas.microsoft.com/office/drawing/2014/main" id="{FCFF6A76-27C1-1E1A-4FEF-26688A26DF3E}"/>
              </a:ext>
            </a:extLst>
          </p:cNvPr>
          <p:cNvSpPr/>
          <p:nvPr/>
        </p:nvSpPr>
        <p:spPr>
          <a:xfrm>
            <a:off x="3785395" y="1785603"/>
            <a:ext cx="85344" cy="85344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4" name="Freeform: Shape 773">
            <a:extLst>
              <a:ext uri="{FF2B5EF4-FFF2-40B4-BE49-F238E27FC236}">
                <a16:creationId xmlns:a16="http://schemas.microsoft.com/office/drawing/2014/main" id="{4820E5B3-6AE6-87A8-CC48-9B4F0969A81C}"/>
              </a:ext>
            </a:extLst>
          </p:cNvPr>
          <p:cNvSpPr/>
          <p:nvPr/>
        </p:nvSpPr>
        <p:spPr>
          <a:xfrm>
            <a:off x="3785396" y="209530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5" name="Freeform: Shape 774">
            <a:extLst>
              <a:ext uri="{FF2B5EF4-FFF2-40B4-BE49-F238E27FC236}">
                <a16:creationId xmlns:a16="http://schemas.microsoft.com/office/drawing/2014/main" id="{D417DAE4-B6FA-BB4C-216D-9A6A70A84B43}"/>
              </a:ext>
            </a:extLst>
          </p:cNvPr>
          <p:cNvSpPr/>
          <p:nvPr/>
        </p:nvSpPr>
        <p:spPr>
          <a:xfrm>
            <a:off x="3759604" y="2301845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6" name="Freeform: Shape 775">
            <a:extLst>
              <a:ext uri="{FF2B5EF4-FFF2-40B4-BE49-F238E27FC236}">
                <a16:creationId xmlns:a16="http://schemas.microsoft.com/office/drawing/2014/main" id="{D8A4CA46-4BA3-8006-D804-8BC1D2F63EB1}"/>
              </a:ext>
            </a:extLst>
          </p:cNvPr>
          <p:cNvSpPr/>
          <p:nvPr/>
        </p:nvSpPr>
        <p:spPr>
          <a:xfrm>
            <a:off x="3793583" y="2405012"/>
            <a:ext cx="98457" cy="86995"/>
          </a:xfrm>
          <a:custGeom>
            <a:avLst/>
            <a:gdLst>
              <a:gd name="connsiteX0" fmla="*/ 83044 w 83043"/>
              <a:gd name="connsiteY0" fmla="*/ 36774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774"/>
                </a:moveTo>
                <a:lnTo>
                  <a:pt x="0" y="0"/>
                </a:lnTo>
                <a:lnTo>
                  <a:pt x="0" y="73376"/>
                </a:lnTo>
                <a:lnTo>
                  <a:pt x="83044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7" name="Freeform: Shape 776">
            <a:extLst>
              <a:ext uri="{FF2B5EF4-FFF2-40B4-BE49-F238E27FC236}">
                <a16:creationId xmlns:a16="http://schemas.microsoft.com/office/drawing/2014/main" id="{8CD49326-EC74-88D5-6676-C00B0C2EB9B7}"/>
              </a:ext>
            </a:extLst>
          </p:cNvPr>
          <p:cNvSpPr/>
          <p:nvPr/>
        </p:nvSpPr>
        <p:spPr>
          <a:xfrm>
            <a:off x="3775979" y="2611551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8" name="Freeform: Shape 777">
            <a:extLst>
              <a:ext uri="{FF2B5EF4-FFF2-40B4-BE49-F238E27FC236}">
                <a16:creationId xmlns:a16="http://schemas.microsoft.com/office/drawing/2014/main" id="{AD34F09D-87CE-F7B6-0F4E-B735D4B4AE0F}"/>
              </a:ext>
            </a:extLst>
          </p:cNvPr>
          <p:cNvSpPr/>
          <p:nvPr/>
        </p:nvSpPr>
        <p:spPr>
          <a:xfrm>
            <a:off x="3775979" y="2714923"/>
            <a:ext cx="85344" cy="85344"/>
          </a:xfrm>
          <a:custGeom>
            <a:avLst/>
            <a:gdLst>
              <a:gd name="connsiteX0" fmla="*/ 83216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79" name="Freeform: Shape 778">
            <a:extLst>
              <a:ext uri="{FF2B5EF4-FFF2-40B4-BE49-F238E27FC236}">
                <a16:creationId xmlns:a16="http://schemas.microsoft.com/office/drawing/2014/main" id="{59125D17-B145-EF75-3217-D10E900C7CBE}"/>
              </a:ext>
            </a:extLst>
          </p:cNvPr>
          <p:cNvSpPr/>
          <p:nvPr/>
        </p:nvSpPr>
        <p:spPr>
          <a:xfrm>
            <a:off x="4607659" y="3024628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0" name="Freeform: Shape 779">
            <a:extLst>
              <a:ext uri="{FF2B5EF4-FFF2-40B4-BE49-F238E27FC236}">
                <a16:creationId xmlns:a16="http://schemas.microsoft.com/office/drawing/2014/main" id="{C981835B-7C4D-3ECB-4B21-E4DE06D3B758}"/>
              </a:ext>
            </a:extLst>
          </p:cNvPr>
          <p:cNvSpPr/>
          <p:nvPr/>
        </p:nvSpPr>
        <p:spPr>
          <a:xfrm>
            <a:off x="4607659" y="3333923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1" name="Freeform: Shape 780">
            <a:extLst>
              <a:ext uri="{FF2B5EF4-FFF2-40B4-BE49-F238E27FC236}">
                <a16:creationId xmlns:a16="http://schemas.microsoft.com/office/drawing/2014/main" id="{C3517623-BF09-72A2-0EA1-545C4E78F559}"/>
              </a:ext>
            </a:extLst>
          </p:cNvPr>
          <p:cNvSpPr/>
          <p:nvPr/>
        </p:nvSpPr>
        <p:spPr>
          <a:xfrm>
            <a:off x="4572246" y="3436887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2" name="Freeform: Shape 781">
            <a:extLst>
              <a:ext uri="{FF2B5EF4-FFF2-40B4-BE49-F238E27FC236}">
                <a16:creationId xmlns:a16="http://schemas.microsoft.com/office/drawing/2014/main" id="{1EB9B6C2-1270-1AF3-B231-BC43BEAF0B96}"/>
              </a:ext>
            </a:extLst>
          </p:cNvPr>
          <p:cNvSpPr/>
          <p:nvPr/>
        </p:nvSpPr>
        <p:spPr>
          <a:xfrm>
            <a:off x="4607659" y="3540052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3" name="Freeform: Shape 782">
            <a:extLst>
              <a:ext uri="{FF2B5EF4-FFF2-40B4-BE49-F238E27FC236}">
                <a16:creationId xmlns:a16="http://schemas.microsoft.com/office/drawing/2014/main" id="{80C516AC-A201-29C7-84E7-4B4CE8E76CF6}"/>
              </a:ext>
            </a:extLst>
          </p:cNvPr>
          <p:cNvSpPr/>
          <p:nvPr/>
        </p:nvSpPr>
        <p:spPr>
          <a:xfrm>
            <a:off x="5383456" y="3436887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4" name="Freeform: Shape 783">
            <a:extLst>
              <a:ext uri="{FF2B5EF4-FFF2-40B4-BE49-F238E27FC236}">
                <a16:creationId xmlns:a16="http://schemas.microsoft.com/office/drawing/2014/main" id="{13FF9DE3-4276-7AF8-F754-AF12EF0A6703}"/>
              </a:ext>
            </a:extLst>
          </p:cNvPr>
          <p:cNvSpPr/>
          <p:nvPr/>
        </p:nvSpPr>
        <p:spPr>
          <a:xfrm>
            <a:off x="5340266" y="3540052"/>
            <a:ext cx="85344" cy="85344"/>
          </a:xfrm>
          <a:custGeom>
            <a:avLst/>
            <a:gdLst>
              <a:gd name="connsiteX0" fmla="*/ 83044 w 83043"/>
              <a:gd name="connsiteY0" fmla="*/ 36601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1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5" name="Freeform: Shape 784">
            <a:extLst>
              <a:ext uri="{FF2B5EF4-FFF2-40B4-BE49-F238E27FC236}">
                <a16:creationId xmlns:a16="http://schemas.microsoft.com/office/drawing/2014/main" id="{77F89236-B191-0595-433C-6100265BA193}"/>
              </a:ext>
            </a:extLst>
          </p:cNvPr>
          <p:cNvSpPr/>
          <p:nvPr/>
        </p:nvSpPr>
        <p:spPr>
          <a:xfrm>
            <a:off x="5404744" y="3643015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6" name="Freeform: Shape 785">
            <a:extLst>
              <a:ext uri="{FF2B5EF4-FFF2-40B4-BE49-F238E27FC236}">
                <a16:creationId xmlns:a16="http://schemas.microsoft.com/office/drawing/2014/main" id="{2FF0D4C4-7BFA-2DD1-E7A4-FF80A1134A7D}"/>
              </a:ext>
            </a:extLst>
          </p:cNvPr>
          <p:cNvSpPr/>
          <p:nvPr/>
        </p:nvSpPr>
        <p:spPr>
          <a:xfrm>
            <a:off x="5352138" y="3746181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7" name="Freeform: Shape 786">
            <a:extLst>
              <a:ext uri="{FF2B5EF4-FFF2-40B4-BE49-F238E27FC236}">
                <a16:creationId xmlns:a16="http://schemas.microsoft.com/office/drawing/2014/main" id="{27C858F0-A8D4-565E-F950-A7B178D86160}"/>
              </a:ext>
            </a:extLst>
          </p:cNvPr>
          <p:cNvSpPr/>
          <p:nvPr/>
        </p:nvSpPr>
        <p:spPr>
          <a:xfrm>
            <a:off x="5422348" y="3849144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8" name="Freeform: Shape 787">
            <a:extLst>
              <a:ext uri="{FF2B5EF4-FFF2-40B4-BE49-F238E27FC236}">
                <a16:creationId xmlns:a16="http://schemas.microsoft.com/office/drawing/2014/main" id="{DA519E04-6719-7344-CA2E-C6690D812392}"/>
              </a:ext>
            </a:extLst>
          </p:cNvPr>
          <p:cNvSpPr/>
          <p:nvPr/>
        </p:nvSpPr>
        <p:spPr>
          <a:xfrm>
            <a:off x="5392872" y="3952311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89" name="Freeform: Shape 788">
            <a:extLst>
              <a:ext uri="{FF2B5EF4-FFF2-40B4-BE49-F238E27FC236}">
                <a16:creationId xmlns:a16="http://schemas.microsoft.com/office/drawing/2014/main" id="{145A7BBA-A1E8-A801-05C3-7F9415CEFED9}"/>
              </a:ext>
            </a:extLst>
          </p:cNvPr>
          <p:cNvSpPr/>
          <p:nvPr/>
        </p:nvSpPr>
        <p:spPr>
          <a:xfrm>
            <a:off x="4590260" y="3643015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0" name="Freeform: Shape 789">
            <a:extLst>
              <a:ext uri="{FF2B5EF4-FFF2-40B4-BE49-F238E27FC236}">
                <a16:creationId xmlns:a16="http://schemas.microsoft.com/office/drawing/2014/main" id="{41FBB2ED-AA86-4BA4-B53A-86722C37AF34}"/>
              </a:ext>
            </a:extLst>
          </p:cNvPr>
          <p:cNvSpPr/>
          <p:nvPr/>
        </p:nvSpPr>
        <p:spPr>
          <a:xfrm>
            <a:off x="4537652" y="3746181"/>
            <a:ext cx="85344" cy="85344"/>
          </a:xfrm>
          <a:custGeom>
            <a:avLst/>
            <a:gdLst>
              <a:gd name="connsiteX0" fmla="*/ 83044 w 83043"/>
              <a:gd name="connsiteY0" fmla="*/ 36601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1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1" name="Freeform: Shape 790">
            <a:extLst>
              <a:ext uri="{FF2B5EF4-FFF2-40B4-BE49-F238E27FC236}">
                <a16:creationId xmlns:a16="http://schemas.microsoft.com/office/drawing/2014/main" id="{46780A26-039D-DFC0-94BC-592627F3CD3A}"/>
              </a:ext>
            </a:extLst>
          </p:cNvPr>
          <p:cNvSpPr/>
          <p:nvPr/>
        </p:nvSpPr>
        <p:spPr>
          <a:xfrm>
            <a:off x="4607659" y="3849144"/>
            <a:ext cx="85344" cy="85344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2" name="Freeform: Shape 791">
            <a:extLst>
              <a:ext uri="{FF2B5EF4-FFF2-40B4-BE49-F238E27FC236}">
                <a16:creationId xmlns:a16="http://schemas.microsoft.com/office/drawing/2014/main" id="{DC18A4D3-70B5-E2E1-CB53-821CD40E1B2E}"/>
              </a:ext>
            </a:extLst>
          </p:cNvPr>
          <p:cNvSpPr/>
          <p:nvPr/>
        </p:nvSpPr>
        <p:spPr>
          <a:xfrm>
            <a:off x="4578183" y="3952311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3" name="Freeform: Shape 792">
            <a:extLst>
              <a:ext uri="{FF2B5EF4-FFF2-40B4-BE49-F238E27FC236}">
                <a16:creationId xmlns:a16="http://schemas.microsoft.com/office/drawing/2014/main" id="{0A479A91-E3D8-B443-0807-BED136BF381E}"/>
              </a:ext>
            </a:extLst>
          </p:cNvPr>
          <p:cNvSpPr/>
          <p:nvPr/>
        </p:nvSpPr>
        <p:spPr>
          <a:xfrm>
            <a:off x="4790862" y="4051588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4" name="Freeform: Shape 793">
            <a:extLst>
              <a:ext uri="{FF2B5EF4-FFF2-40B4-BE49-F238E27FC236}">
                <a16:creationId xmlns:a16="http://schemas.microsoft.com/office/drawing/2014/main" id="{D5031ED5-1BA7-4CD0-18DF-3492C1DADA0B}"/>
              </a:ext>
            </a:extLst>
          </p:cNvPr>
          <p:cNvSpPr/>
          <p:nvPr/>
        </p:nvSpPr>
        <p:spPr>
          <a:xfrm>
            <a:off x="3722554" y="3746181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5" name="Freeform: Shape 794">
            <a:extLst>
              <a:ext uri="{FF2B5EF4-FFF2-40B4-BE49-F238E27FC236}">
                <a16:creationId xmlns:a16="http://schemas.microsoft.com/office/drawing/2014/main" id="{FA54415D-F829-F5FD-2319-7F5E07667B6B}"/>
              </a:ext>
            </a:extLst>
          </p:cNvPr>
          <p:cNvSpPr/>
          <p:nvPr/>
        </p:nvSpPr>
        <p:spPr>
          <a:xfrm>
            <a:off x="3806070" y="3849144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6" name="Freeform: Shape 795">
            <a:extLst>
              <a:ext uri="{FF2B5EF4-FFF2-40B4-BE49-F238E27FC236}">
                <a16:creationId xmlns:a16="http://schemas.microsoft.com/office/drawing/2014/main" id="{61CA46FF-93C4-60C5-9DD9-8888834EC2E6}"/>
              </a:ext>
            </a:extLst>
          </p:cNvPr>
          <p:cNvSpPr/>
          <p:nvPr/>
        </p:nvSpPr>
        <p:spPr>
          <a:xfrm>
            <a:off x="3763288" y="3952311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7" name="Freeform: Shape 796">
            <a:extLst>
              <a:ext uri="{FF2B5EF4-FFF2-40B4-BE49-F238E27FC236}">
                <a16:creationId xmlns:a16="http://schemas.microsoft.com/office/drawing/2014/main" id="{E1CAA469-EFB9-53B4-FF01-C20F8E4EBEEF}"/>
              </a:ext>
            </a:extLst>
          </p:cNvPr>
          <p:cNvSpPr/>
          <p:nvPr/>
        </p:nvSpPr>
        <p:spPr>
          <a:xfrm>
            <a:off x="3788466" y="4571311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8" name="Freeform: Shape 797">
            <a:extLst>
              <a:ext uri="{FF2B5EF4-FFF2-40B4-BE49-F238E27FC236}">
                <a16:creationId xmlns:a16="http://schemas.microsoft.com/office/drawing/2014/main" id="{D82C3CC6-8CDF-9B9B-885D-44C96C4CB385}"/>
              </a:ext>
            </a:extLst>
          </p:cNvPr>
          <p:cNvSpPr/>
          <p:nvPr/>
        </p:nvSpPr>
        <p:spPr>
          <a:xfrm>
            <a:off x="4599881" y="4571311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799" name="Freeform: Shape 798">
            <a:extLst>
              <a:ext uri="{FF2B5EF4-FFF2-40B4-BE49-F238E27FC236}">
                <a16:creationId xmlns:a16="http://schemas.microsoft.com/office/drawing/2014/main" id="{7B62E6DF-F46D-BCB2-4BA7-CD15C1D11AAC}"/>
              </a:ext>
            </a:extLst>
          </p:cNvPr>
          <p:cNvSpPr/>
          <p:nvPr/>
        </p:nvSpPr>
        <p:spPr>
          <a:xfrm>
            <a:off x="5403721" y="4776212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0" name="Freeform: Shape 799">
            <a:extLst>
              <a:ext uri="{FF2B5EF4-FFF2-40B4-BE49-F238E27FC236}">
                <a16:creationId xmlns:a16="http://schemas.microsoft.com/office/drawing/2014/main" id="{5C009AFF-3DF0-72EC-CC86-8F73D19F8C64}"/>
              </a:ext>
            </a:extLst>
          </p:cNvPr>
          <p:cNvSpPr/>
          <p:nvPr/>
        </p:nvSpPr>
        <p:spPr>
          <a:xfrm>
            <a:off x="4843470" y="4878765"/>
            <a:ext cx="98663" cy="86995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1" name="Freeform: Shape 800">
            <a:extLst>
              <a:ext uri="{FF2B5EF4-FFF2-40B4-BE49-F238E27FC236}">
                <a16:creationId xmlns:a16="http://schemas.microsoft.com/office/drawing/2014/main" id="{7340BCA5-8947-5F41-FDB1-EE4403B22D1E}"/>
              </a:ext>
            </a:extLst>
          </p:cNvPr>
          <p:cNvSpPr/>
          <p:nvPr/>
        </p:nvSpPr>
        <p:spPr>
          <a:xfrm>
            <a:off x="5386117" y="53907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2" name="Freeform: Shape 801">
            <a:extLst>
              <a:ext uri="{FF2B5EF4-FFF2-40B4-BE49-F238E27FC236}">
                <a16:creationId xmlns:a16="http://schemas.microsoft.com/office/drawing/2014/main" id="{CABD4760-159F-5F2E-B48F-3EA70F669298}"/>
              </a:ext>
            </a:extLst>
          </p:cNvPr>
          <p:cNvSpPr/>
          <p:nvPr/>
        </p:nvSpPr>
        <p:spPr>
          <a:xfrm>
            <a:off x="4594764" y="5390709"/>
            <a:ext cx="98457" cy="87200"/>
          </a:xfrm>
          <a:custGeom>
            <a:avLst/>
            <a:gdLst>
              <a:gd name="connsiteX0" fmla="*/ 83044 w 83043"/>
              <a:gd name="connsiteY0" fmla="*/ 36774 h 73548"/>
              <a:gd name="connsiteX1" fmla="*/ 0 w 83043"/>
              <a:gd name="connsiteY1" fmla="*/ 0 h 73548"/>
              <a:gd name="connsiteX2" fmla="*/ 0 w 83043"/>
              <a:gd name="connsiteY2" fmla="*/ 73548 h 73548"/>
              <a:gd name="connsiteX3" fmla="*/ 83044 w 83043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548">
                <a:moveTo>
                  <a:pt x="83044" y="36774"/>
                </a:moveTo>
                <a:lnTo>
                  <a:pt x="0" y="0"/>
                </a:lnTo>
                <a:lnTo>
                  <a:pt x="0" y="73548"/>
                </a:lnTo>
                <a:lnTo>
                  <a:pt x="83044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3" name="Freeform: Shape 802">
            <a:extLst>
              <a:ext uri="{FF2B5EF4-FFF2-40B4-BE49-F238E27FC236}">
                <a16:creationId xmlns:a16="http://schemas.microsoft.com/office/drawing/2014/main" id="{600AED8A-3646-C860-BFF7-BF12260B796D}"/>
              </a:ext>
            </a:extLst>
          </p:cNvPr>
          <p:cNvSpPr/>
          <p:nvPr/>
        </p:nvSpPr>
        <p:spPr>
          <a:xfrm>
            <a:off x="3739953" y="53907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4" name="Freeform: Shape 803">
            <a:extLst>
              <a:ext uri="{FF2B5EF4-FFF2-40B4-BE49-F238E27FC236}">
                <a16:creationId xmlns:a16="http://schemas.microsoft.com/office/drawing/2014/main" id="{BD3E3EBD-B661-8DE7-0F1D-A758FCF7A226}"/>
              </a:ext>
            </a:extLst>
          </p:cNvPr>
          <p:cNvSpPr/>
          <p:nvPr/>
        </p:nvSpPr>
        <p:spPr>
          <a:xfrm>
            <a:off x="5374654" y="55956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5" name="Freeform: Shape 804">
            <a:extLst>
              <a:ext uri="{FF2B5EF4-FFF2-40B4-BE49-F238E27FC236}">
                <a16:creationId xmlns:a16="http://schemas.microsoft.com/office/drawing/2014/main" id="{1359AD4E-B351-7174-DC47-5E01D4637988}"/>
              </a:ext>
            </a:extLst>
          </p:cNvPr>
          <p:cNvSpPr/>
          <p:nvPr/>
        </p:nvSpPr>
        <p:spPr>
          <a:xfrm>
            <a:off x="4564469" y="55956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6" name="Freeform: Shape 805">
            <a:extLst>
              <a:ext uri="{FF2B5EF4-FFF2-40B4-BE49-F238E27FC236}">
                <a16:creationId xmlns:a16="http://schemas.microsoft.com/office/drawing/2014/main" id="{CA883475-0F5B-42A5-9FC0-7BFA0D51770E}"/>
              </a:ext>
            </a:extLst>
          </p:cNvPr>
          <p:cNvSpPr/>
          <p:nvPr/>
        </p:nvSpPr>
        <p:spPr>
          <a:xfrm>
            <a:off x="4572657" y="56981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7" name="Freeform: Shape 806">
            <a:extLst>
              <a:ext uri="{FF2B5EF4-FFF2-40B4-BE49-F238E27FC236}">
                <a16:creationId xmlns:a16="http://schemas.microsoft.com/office/drawing/2014/main" id="{3D4A97A0-077C-4BDC-14F4-1A5663865D73}"/>
              </a:ext>
            </a:extLst>
          </p:cNvPr>
          <p:cNvSpPr/>
          <p:nvPr/>
        </p:nvSpPr>
        <p:spPr>
          <a:xfrm>
            <a:off x="3782326" y="56981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8" name="Freeform: Shape 807">
            <a:extLst>
              <a:ext uri="{FF2B5EF4-FFF2-40B4-BE49-F238E27FC236}">
                <a16:creationId xmlns:a16="http://schemas.microsoft.com/office/drawing/2014/main" id="{C2EE5C7E-A693-5125-8829-1A8C00E4CBCC}"/>
              </a:ext>
            </a:extLst>
          </p:cNvPr>
          <p:cNvSpPr/>
          <p:nvPr/>
        </p:nvSpPr>
        <p:spPr>
          <a:xfrm>
            <a:off x="5403721" y="4878765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09" name="Freeform: Shape 808">
            <a:extLst>
              <a:ext uri="{FF2B5EF4-FFF2-40B4-BE49-F238E27FC236}">
                <a16:creationId xmlns:a16="http://schemas.microsoft.com/office/drawing/2014/main" id="{2F454DC0-A6A0-CA67-BE35-3C2F6E8AC1C1}"/>
              </a:ext>
            </a:extLst>
          </p:cNvPr>
          <p:cNvSpPr/>
          <p:nvPr/>
        </p:nvSpPr>
        <p:spPr>
          <a:xfrm>
            <a:off x="5480074" y="4981113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0" name="Freeform: Shape 809">
            <a:extLst>
              <a:ext uri="{FF2B5EF4-FFF2-40B4-BE49-F238E27FC236}">
                <a16:creationId xmlns:a16="http://schemas.microsoft.com/office/drawing/2014/main" id="{71941CCF-46DD-F523-B8C9-967D4E7AEA32}"/>
              </a:ext>
            </a:extLst>
          </p:cNvPr>
          <p:cNvSpPr/>
          <p:nvPr/>
        </p:nvSpPr>
        <p:spPr>
          <a:xfrm>
            <a:off x="5666141" y="457131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1" name="Freeform: Shape 810">
            <a:extLst>
              <a:ext uri="{FF2B5EF4-FFF2-40B4-BE49-F238E27FC236}">
                <a16:creationId xmlns:a16="http://schemas.microsoft.com/office/drawing/2014/main" id="{489A9D89-3DC7-4CE8-EA8D-858E71CA9C2D}"/>
              </a:ext>
            </a:extLst>
          </p:cNvPr>
          <p:cNvSpPr/>
          <p:nvPr/>
        </p:nvSpPr>
        <p:spPr>
          <a:xfrm>
            <a:off x="6224757" y="457131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2" name="Freeform: Shape 811">
            <a:extLst>
              <a:ext uri="{FF2B5EF4-FFF2-40B4-BE49-F238E27FC236}">
                <a16:creationId xmlns:a16="http://schemas.microsoft.com/office/drawing/2014/main" id="{53140FF5-9458-BCE1-FD18-06C234FF7EB9}"/>
              </a:ext>
            </a:extLst>
          </p:cNvPr>
          <p:cNvSpPr/>
          <p:nvPr/>
        </p:nvSpPr>
        <p:spPr>
          <a:xfrm>
            <a:off x="7045384" y="457131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3" name="Freeform: Shape 812">
            <a:extLst>
              <a:ext uri="{FF2B5EF4-FFF2-40B4-BE49-F238E27FC236}">
                <a16:creationId xmlns:a16="http://schemas.microsoft.com/office/drawing/2014/main" id="{78585B44-17CD-5E0B-6089-9864A165A9FF}"/>
              </a:ext>
            </a:extLst>
          </p:cNvPr>
          <p:cNvSpPr/>
          <p:nvPr/>
        </p:nvSpPr>
        <p:spPr>
          <a:xfrm>
            <a:off x="6224757" y="47762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4" name="Freeform: Shape 813">
            <a:extLst>
              <a:ext uri="{FF2B5EF4-FFF2-40B4-BE49-F238E27FC236}">
                <a16:creationId xmlns:a16="http://schemas.microsoft.com/office/drawing/2014/main" id="{81D2B129-D724-0CEE-B5D7-6AEF86CBAB22}"/>
              </a:ext>
            </a:extLst>
          </p:cNvPr>
          <p:cNvSpPr/>
          <p:nvPr/>
        </p:nvSpPr>
        <p:spPr>
          <a:xfrm>
            <a:off x="7045384" y="4776212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5" name="Freeform: Shape 814">
            <a:extLst>
              <a:ext uri="{FF2B5EF4-FFF2-40B4-BE49-F238E27FC236}">
                <a16:creationId xmlns:a16="http://schemas.microsoft.com/office/drawing/2014/main" id="{9A6E7975-3DC7-928B-35C5-33DF9D7374E2}"/>
              </a:ext>
            </a:extLst>
          </p:cNvPr>
          <p:cNvSpPr/>
          <p:nvPr/>
        </p:nvSpPr>
        <p:spPr>
          <a:xfrm>
            <a:off x="5422348" y="3024628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6" name="Freeform: Shape 815">
            <a:extLst>
              <a:ext uri="{FF2B5EF4-FFF2-40B4-BE49-F238E27FC236}">
                <a16:creationId xmlns:a16="http://schemas.microsoft.com/office/drawing/2014/main" id="{7D11D9E7-BEA7-8ABE-1260-F66FD4EA2FAF}"/>
              </a:ext>
            </a:extLst>
          </p:cNvPr>
          <p:cNvSpPr/>
          <p:nvPr/>
        </p:nvSpPr>
        <p:spPr>
          <a:xfrm>
            <a:off x="5422348" y="3230757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7" name="Freeform: Shape 816">
            <a:extLst>
              <a:ext uri="{FF2B5EF4-FFF2-40B4-BE49-F238E27FC236}">
                <a16:creationId xmlns:a16="http://schemas.microsoft.com/office/drawing/2014/main" id="{897B821F-30C1-63CA-5C22-BCF5DC91290A}"/>
              </a:ext>
            </a:extLst>
          </p:cNvPr>
          <p:cNvSpPr/>
          <p:nvPr/>
        </p:nvSpPr>
        <p:spPr>
          <a:xfrm>
            <a:off x="5422348" y="3333923"/>
            <a:ext cx="85344" cy="85344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8" name="Freeform: Shape 817">
            <a:extLst>
              <a:ext uri="{FF2B5EF4-FFF2-40B4-BE49-F238E27FC236}">
                <a16:creationId xmlns:a16="http://schemas.microsoft.com/office/drawing/2014/main" id="{DD4CE936-0490-C8FE-722A-6216C07B6AE3}"/>
              </a:ext>
            </a:extLst>
          </p:cNvPr>
          <p:cNvSpPr/>
          <p:nvPr/>
        </p:nvSpPr>
        <p:spPr>
          <a:xfrm>
            <a:off x="6213294" y="3024628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19" name="Freeform: Shape 818">
            <a:extLst>
              <a:ext uri="{FF2B5EF4-FFF2-40B4-BE49-F238E27FC236}">
                <a16:creationId xmlns:a16="http://schemas.microsoft.com/office/drawing/2014/main" id="{42224F37-38B2-D55D-A11B-0EDA261CCE8F}"/>
              </a:ext>
            </a:extLst>
          </p:cNvPr>
          <p:cNvSpPr/>
          <p:nvPr/>
        </p:nvSpPr>
        <p:spPr>
          <a:xfrm>
            <a:off x="6213294" y="3230757"/>
            <a:ext cx="85344" cy="85344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0" name="Freeform: Shape 819">
            <a:extLst>
              <a:ext uri="{FF2B5EF4-FFF2-40B4-BE49-F238E27FC236}">
                <a16:creationId xmlns:a16="http://schemas.microsoft.com/office/drawing/2014/main" id="{B75CBA0D-BD4A-B62A-280D-4A7753FFCBDE}"/>
              </a:ext>
            </a:extLst>
          </p:cNvPr>
          <p:cNvSpPr/>
          <p:nvPr/>
        </p:nvSpPr>
        <p:spPr>
          <a:xfrm>
            <a:off x="7057051" y="3024628"/>
            <a:ext cx="85344" cy="85344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1" name="Freeform: Shape 820">
            <a:extLst>
              <a:ext uri="{FF2B5EF4-FFF2-40B4-BE49-F238E27FC236}">
                <a16:creationId xmlns:a16="http://schemas.microsoft.com/office/drawing/2014/main" id="{F3C83F1A-FF94-F22F-41FD-8E2CF8593A70}"/>
              </a:ext>
            </a:extLst>
          </p:cNvPr>
          <p:cNvSpPr/>
          <p:nvPr/>
        </p:nvSpPr>
        <p:spPr>
          <a:xfrm>
            <a:off x="4025299" y="2194995"/>
            <a:ext cx="85344" cy="85344"/>
          </a:xfrm>
          <a:custGeom>
            <a:avLst/>
            <a:gdLst>
              <a:gd name="connsiteX0" fmla="*/ 83044 w 83043"/>
              <a:gd name="connsiteY0" fmla="*/ 36602 h 73375"/>
              <a:gd name="connsiteX1" fmla="*/ 0 w 83043"/>
              <a:gd name="connsiteY1" fmla="*/ 0 h 73375"/>
              <a:gd name="connsiteX2" fmla="*/ 0 w 83043"/>
              <a:gd name="connsiteY2" fmla="*/ 73376 h 73375"/>
              <a:gd name="connsiteX3" fmla="*/ 83044 w 83043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83044" y="36602"/>
                </a:moveTo>
                <a:lnTo>
                  <a:pt x="0" y="0"/>
                </a:lnTo>
                <a:lnTo>
                  <a:pt x="0" y="73376"/>
                </a:lnTo>
                <a:lnTo>
                  <a:pt x="83044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2" name="Freeform: Shape 821">
            <a:extLst>
              <a:ext uri="{FF2B5EF4-FFF2-40B4-BE49-F238E27FC236}">
                <a16:creationId xmlns:a16="http://schemas.microsoft.com/office/drawing/2014/main" id="{3EC25547-15A1-B223-AEDC-7A6301AA1691}"/>
              </a:ext>
            </a:extLst>
          </p:cNvPr>
          <p:cNvSpPr/>
          <p:nvPr/>
        </p:nvSpPr>
        <p:spPr>
          <a:xfrm>
            <a:off x="3939531" y="2502652"/>
            <a:ext cx="85344" cy="85344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3" name="Freeform: Shape 822">
            <a:extLst>
              <a:ext uri="{FF2B5EF4-FFF2-40B4-BE49-F238E27FC236}">
                <a16:creationId xmlns:a16="http://schemas.microsoft.com/office/drawing/2014/main" id="{9AB38734-E821-39AB-F94A-74B2EAD17C45}"/>
              </a:ext>
            </a:extLst>
          </p:cNvPr>
          <p:cNvSpPr/>
          <p:nvPr/>
        </p:nvSpPr>
        <p:spPr>
          <a:xfrm>
            <a:off x="4588418" y="2502652"/>
            <a:ext cx="85344" cy="85344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4" name="Freeform: Shape 823">
            <a:extLst>
              <a:ext uri="{FF2B5EF4-FFF2-40B4-BE49-F238E27FC236}">
                <a16:creationId xmlns:a16="http://schemas.microsoft.com/office/drawing/2014/main" id="{62F53C7F-B02E-A732-9A2D-9755A14C28AA}"/>
              </a:ext>
            </a:extLst>
          </p:cNvPr>
          <p:cNvSpPr/>
          <p:nvPr/>
        </p:nvSpPr>
        <p:spPr>
          <a:xfrm>
            <a:off x="4593944" y="2194995"/>
            <a:ext cx="85344" cy="85344"/>
          </a:xfrm>
          <a:custGeom>
            <a:avLst/>
            <a:gdLst>
              <a:gd name="connsiteX0" fmla="*/ 83217 w 83216"/>
              <a:gd name="connsiteY0" fmla="*/ 36602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2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2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2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5" name="Freeform: Shape 824">
            <a:extLst>
              <a:ext uri="{FF2B5EF4-FFF2-40B4-BE49-F238E27FC236}">
                <a16:creationId xmlns:a16="http://schemas.microsoft.com/office/drawing/2014/main" id="{4A4498B5-6EC0-1350-6AA2-3092D5A3D3A3}"/>
              </a:ext>
            </a:extLst>
          </p:cNvPr>
          <p:cNvSpPr/>
          <p:nvPr/>
        </p:nvSpPr>
        <p:spPr>
          <a:xfrm>
            <a:off x="4611958" y="2095307"/>
            <a:ext cx="85344" cy="85344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6" name="Freeform: Shape 825">
            <a:extLst>
              <a:ext uri="{FF2B5EF4-FFF2-40B4-BE49-F238E27FC236}">
                <a16:creationId xmlns:a16="http://schemas.microsoft.com/office/drawing/2014/main" id="{4DA7DE59-1076-2C03-179C-78ABEAD6D50B}"/>
              </a:ext>
            </a:extLst>
          </p:cNvPr>
          <p:cNvSpPr/>
          <p:nvPr/>
        </p:nvSpPr>
        <p:spPr>
          <a:xfrm>
            <a:off x="5886601" y="2095307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7" name="Freeform: Shape 826">
            <a:extLst>
              <a:ext uri="{FF2B5EF4-FFF2-40B4-BE49-F238E27FC236}">
                <a16:creationId xmlns:a16="http://schemas.microsoft.com/office/drawing/2014/main" id="{5718F243-F625-452A-A205-1E9F989DBEF1}"/>
              </a:ext>
            </a:extLst>
          </p:cNvPr>
          <p:cNvSpPr/>
          <p:nvPr/>
        </p:nvSpPr>
        <p:spPr>
          <a:xfrm>
            <a:off x="6198352" y="168222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8" name="Freeform: Shape 827">
            <a:extLst>
              <a:ext uri="{FF2B5EF4-FFF2-40B4-BE49-F238E27FC236}">
                <a16:creationId xmlns:a16="http://schemas.microsoft.com/office/drawing/2014/main" id="{19BFE799-7400-629C-3D7D-7C2BA2B5F0D1}"/>
              </a:ext>
            </a:extLst>
          </p:cNvPr>
          <p:cNvSpPr/>
          <p:nvPr/>
        </p:nvSpPr>
        <p:spPr>
          <a:xfrm>
            <a:off x="6218002" y="1888769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29" name="Freeform: Shape 828">
            <a:extLst>
              <a:ext uri="{FF2B5EF4-FFF2-40B4-BE49-F238E27FC236}">
                <a16:creationId xmlns:a16="http://schemas.microsoft.com/office/drawing/2014/main" id="{31648C2D-56DC-8583-465B-382B729B310B}"/>
              </a:ext>
            </a:extLst>
          </p:cNvPr>
          <p:cNvSpPr/>
          <p:nvPr/>
        </p:nvSpPr>
        <p:spPr>
          <a:xfrm>
            <a:off x="5412116" y="1475691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0" name="Freeform: Shape 829">
            <a:extLst>
              <a:ext uri="{FF2B5EF4-FFF2-40B4-BE49-F238E27FC236}">
                <a16:creationId xmlns:a16="http://schemas.microsoft.com/office/drawing/2014/main" id="{6E0DC7E1-D8AB-3758-07EE-F1E43713F324}"/>
              </a:ext>
            </a:extLst>
          </p:cNvPr>
          <p:cNvSpPr/>
          <p:nvPr/>
        </p:nvSpPr>
        <p:spPr>
          <a:xfrm>
            <a:off x="6287394" y="1475691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1" name="Freeform: Shape 830">
            <a:extLst>
              <a:ext uri="{FF2B5EF4-FFF2-40B4-BE49-F238E27FC236}">
                <a16:creationId xmlns:a16="http://schemas.microsoft.com/office/drawing/2014/main" id="{8AF20E0E-FBA4-7A13-9A5E-4B57C21C8656}"/>
              </a:ext>
            </a:extLst>
          </p:cNvPr>
          <p:cNvSpPr/>
          <p:nvPr/>
        </p:nvSpPr>
        <p:spPr>
          <a:xfrm>
            <a:off x="6234788" y="15790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2" name="Freeform: Shape 831">
            <a:extLst>
              <a:ext uri="{FF2B5EF4-FFF2-40B4-BE49-F238E27FC236}">
                <a16:creationId xmlns:a16="http://schemas.microsoft.com/office/drawing/2014/main" id="{5BBA1F6F-BEE9-B007-4931-D40C83D0DECE}"/>
              </a:ext>
            </a:extLst>
          </p:cNvPr>
          <p:cNvSpPr/>
          <p:nvPr/>
        </p:nvSpPr>
        <p:spPr>
          <a:xfrm>
            <a:off x="7039446" y="1579064"/>
            <a:ext cx="98663" cy="86995"/>
          </a:xfrm>
          <a:custGeom>
            <a:avLst/>
            <a:gdLst>
              <a:gd name="connsiteX0" fmla="*/ 83216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6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3" name="Freeform: Shape 832">
            <a:extLst>
              <a:ext uri="{FF2B5EF4-FFF2-40B4-BE49-F238E27FC236}">
                <a16:creationId xmlns:a16="http://schemas.microsoft.com/office/drawing/2014/main" id="{606862C4-F1E9-3FA2-77F3-91BC7A7AAFA0}"/>
              </a:ext>
            </a:extLst>
          </p:cNvPr>
          <p:cNvSpPr/>
          <p:nvPr/>
        </p:nvSpPr>
        <p:spPr>
          <a:xfrm>
            <a:off x="4739689" y="1372525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4" name="Freeform: Shape 833">
            <a:extLst>
              <a:ext uri="{FF2B5EF4-FFF2-40B4-BE49-F238E27FC236}">
                <a16:creationId xmlns:a16="http://schemas.microsoft.com/office/drawing/2014/main" id="{A9E9016E-160F-211E-F2B7-082DC3405365}"/>
              </a:ext>
            </a:extLst>
          </p:cNvPr>
          <p:cNvSpPr/>
          <p:nvPr/>
        </p:nvSpPr>
        <p:spPr>
          <a:xfrm>
            <a:off x="5446093" y="1372525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5" name="Freeform: Shape 834">
            <a:extLst>
              <a:ext uri="{FF2B5EF4-FFF2-40B4-BE49-F238E27FC236}">
                <a16:creationId xmlns:a16="http://schemas.microsoft.com/office/drawing/2014/main" id="{71705EFC-147F-E9F4-A268-FB1F3402C823}"/>
              </a:ext>
            </a:extLst>
          </p:cNvPr>
          <p:cNvSpPr/>
          <p:nvPr/>
        </p:nvSpPr>
        <p:spPr>
          <a:xfrm>
            <a:off x="6198352" y="1372525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6" name="Freeform: Shape 835">
            <a:extLst>
              <a:ext uri="{FF2B5EF4-FFF2-40B4-BE49-F238E27FC236}">
                <a16:creationId xmlns:a16="http://schemas.microsoft.com/office/drawing/2014/main" id="{FCBB5FA2-F65B-1B27-1EDD-F0A39C7CC860}"/>
              </a:ext>
            </a:extLst>
          </p:cNvPr>
          <p:cNvSpPr/>
          <p:nvPr/>
        </p:nvSpPr>
        <p:spPr>
          <a:xfrm>
            <a:off x="6929116" y="1372525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7" name="Freeform: Shape 836">
            <a:extLst>
              <a:ext uri="{FF2B5EF4-FFF2-40B4-BE49-F238E27FC236}">
                <a16:creationId xmlns:a16="http://schemas.microsoft.com/office/drawing/2014/main" id="{9188097D-EC5D-F79E-D08F-23C7906BD403}"/>
              </a:ext>
            </a:extLst>
          </p:cNvPr>
          <p:cNvSpPr/>
          <p:nvPr/>
        </p:nvSpPr>
        <p:spPr>
          <a:xfrm>
            <a:off x="7859460" y="1372525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8" name="Freeform: Shape 837">
            <a:extLst>
              <a:ext uri="{FF2B5EF4-FFF2-40B4-BE49-F238E27FC236}">
                <a16:creationId xmlns:a16="http://schemas.microsoft.com/office/drawing/2014/main" id="{CA0CBB9B-0EC9-D857-96C7-EE8ED97375F8}"/>
              </a:ext>
            </a:extLst>
          </p:cNvPr>
          <p:cNvSpPr/>
          <p:nvPr/>
        </p:nvSpPr>
        <p:spPr>
          <a:xfrm>
            <a:off x="4590876" y="752909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39" name="Freeform: Shape 838">
            <a:extLst>
              <a:ext uri="{FF2B5EF4-FFF2-40B4-BE49-F238E27FC236}">
                <a16:creationId xmlns:a16="http://schemas.microsoft.com/office/drawing/2014/main" id="{B4EF3B6B-6C20-8A88-F3B9-A8B19E7EFC32}"/>
              </a:ext>
            </a:extLst>
          </p:cNvPr>
          <p:cNvSpPr/>
          <p:nvPr/>
        </p:nvSpPr>
        <p:spPr>
          <a:xfrm>
            <a:off x="6234788" y="752909"/>
            <a:ext cx="98663" cy="87200"/>
          </a:xfrm>
          <a:custGeom>
            <a:avLst/>
            <a:gdLst>
              <a:gd name="connsiteX0" fmla="*/ 83216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6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6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0" name="Freeform: Shape 839">
            <a:extLst>
              <a:ext uri="{FF2B5EF4-FFF2-40B4-BE49-F238E27FC236}">
                <a16:creationId xmlns:a16="http://schemas.microsoft.com/office/drawing/2014/main" id="{3C2191AA-DABC-48F1-455E-C4EF7B09997E}"/>
              </a:ext>
            </a:extLst>
          </p:cNvPr>
          <p:cNvSpPr/>
          <p:nvPr/>
        </p:nvSpPr>
        <p:spPr>
          <a:xfrm>
            <a:off x="5443228" y="959448"/>
            <a:ext cx="98663" cy="86995"/>
          </a:xfrm>
          <a:custGeom>
            <a:avLst/>
            <a:gdLst>
              <a:gd name="connsiteX0" fmla="*/ 83217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1" name="Freeform: Shape 840">
            <a:extLst>
              <a:ext uri="{FF2B5EF4-FFF2-40B4-BE49-F238E27FC236}">
                <a16:creationId xmlns:a16="http://schemas.microsoft.com/office/drawing/2014/main" id="{219255FD-091B-1EEC-A371-6D4CCCD7187C}"/>
              </a:ext>
            </a:extLst>
          </p:cNvPr>
          <p:cNvSpPr/>
          <p:nvPr/>
        </p:nvSpPr>
        <p:spPr>
          <a:xfrm>
            <a:off x="5443228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2" name="Freeform: Shape 841">
            <a:extLst>
              <a:ext uri="{FF2B5EF4-FFF2-40B4-BE49-F238E27FC236}">
                <a16:creationId xmlns:a16="http://schemas.microsoft.com/office/drawing/2014/main" id="{5DBE9806-4C2A-6717-082A-7E473C01F057}"/>
              </a:ext>
            </a:extLst>
          </p:cNvPr>
          <p:cNvSpPr/>
          <p:nvPr/>
        </p:nvSpPr>
        <p:spPr>
          <a:xfrm>
            <a:off x="6234788" y="959448"/>
            <a:ext cx="98663" cy="86995"/>
          </a:xfrm>
          <a:custGeom>
            <a:avLst/>
            <a:gdLst>
              <a:gd name="connsiteX0" fmla="*/ 83216 w 83216"/>
              <a:gd name="connsiteY0" fmla="*/ 36774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6 w 83216"/>
              <a:gd name="connsiteY3" fmla="*/ 36774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6" y="36774"/>
                </a:moveTo>
                <a:lnTo>
                  <a:pt x="0" y="0"/>
                </a:lnTo>
                <a:lnTo>
                  <a:pt x="0" y="73376"/>
                </a:lnTo>
                <a:lnTo>
                  <a:pt x="83216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3" name="Freeform: Shape 842">
            <a:extLst>
              <a:ext uri="{FF2B5EF4-FFF2-40B4-BE49-F238E27FC236}">
                <a16:creationId xmlns:a16="http://schemas.microsoft.com/office/drawing/2014/main" id="{1EBC5933-5090-AAA3-3407-2303EB203FDA}"/>
              </a:ext>
            </a:extLst>
          </p:cNvPr>
          <p:cNvSpPr/>
          <p:nvPr/>
        </p:nvSpPr>
        <p:spPr>
          <a:xfrm>
            <a:off x="7057052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4" name="Freeform: Shape 843">
            <a:extLst>
              <a:ext uri="{FF2B5EF4-FFF2-40B4-BE49-F238E27FC236}">
                <a16:creationId xmlns:a16="http://schemas.microsoft.com/office/drawing/2014/main" id="{CC8ED3E4-86F8-48A4-E4B0-184F99BCECAC}"/>
              </a:ext>
            </a:extLst>
          </p:cNvPr>
          <p:cNvSpPr/>
          <p:nvPr/>
        </p:nvSpPr>
        <p:spPr>
          <a:xfrm>
            <a:off x="8687045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5" name="Freeform: Shape 844">
            <a:extLst>
              <a:ext uri="{FF2B5EF4-FFF2-40B4-BE49-F238E27FC236}">
                <a16:creationId xmlns:a16="http://schemas.microsoft.com/office/drawing/2014/main" id="{C2F58C70-3EB0-8C48-6AB1-4624B6CE9D4F}"/>
              </a:ext>
            </a:extLst>
          </p:cNvPr>
          <p:cNvSpPr/>
          <p:nvPr/>
        </p:nvSpPr>
        <p:spPr>
          <a:xfrm>
            <a:off x="10386021" y="752909"/>
            <a:ext cx="98663" cy="87200"/>
          </a:xfrm>
          <a:custGeom>
            <a:avLst/>
            <a:gdLst>
              <a:gd name="connsiteX0" fmla="*/ 83217 w 83216"/>
              <a:gd name="connsiteY0" fmla="*/ 36774 h 73548"/>
              <a:gd name="connsiteX1" fmla="*/ 0 w 83216"/>
              <a:gd name="connsiteY1" fmla="*/ 0 h 73548"/>
              <a:gd name="connsiteX2" fmla="*/ 0 w 83216"/>
              <a:gd name="connsiteY2" fmla="*/ 73548 h 73548"/>
              <a:gd name="connsiteX3" fmla="*/ 83217 w 83216"/>
              <a:gd name="connsiteY3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83217" y="36774"/>
                </a:moveTo>
                <a:lnTo>
                  <a:pt x="0" y="0"/>
                </a:lnTo>
                <a:lnTo>
                  <a:pt x="0" y="73548"/>
                </a:lnTo>
                <a:lnTo>
                  <a:pt x="83217" y="36774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6" name="Freeform: Shape 845">
            <a:extLst>
              <a:ext uri="{FF2B5EF4-FFF2-40B4-BE49-F238E27FC236}">
                <a16:creationId xmlns:a16="http://schemas.microsoft.com/office/drawing/2014/main" id="{C2B3B63E-8F70-8D36-D5DA-5B69DBA82081}"/>
              </a:ext>
            </a:extLst>
          </p:cNvPr>
          <p:cNvSpPr/>
          <p:nvPr/>
        </p:nvSpPr>
        <p:spPr>
          <a:xfrm rot="18900000">
            <a:off x="3764000" y="127172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7" name="Freeform: Shape 846">
            <a:extLst>
              <a:ext uri="{FF2B5EF4-FFF2-40B4-BE49-F238E27FC236}">
                <a16:creationId xmlns:a16="http://schemas.microsoft.com/office/drawing/2014/main" id="{D01DFFCB-B0A4-F2B0-AFCE-DE2B4DF8A86F}"/>
              </a:ext>
            </a:extLst>
          </p:cNvPr>
          <p:cNvSpPr/>
          <p:nvPr/>
        </p:nvSpPr>
        <p:spPr>
          <a:xfrm rot="18900000">
            <a:off x="3775863" y="168469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8" name="Freeform: Shape 847">
            <a:extLst>
              <a:ext uri="{FF2B5EF4-FFF2-40B4-BE49-F238E27FC236}">
                <a16:creationId xmlns:a16="http://schemas.microsoft.com/office/drawing/2014/main" id="{B7C1E53B-7357-6397-BBE2-D034A3897F4B}"/>
              </a:ext>
            </a:extLst>
          </p:cNvPr>
          <p:cNvSpPr/>
          <p:nvPr/>
        </p:nvSpPr>
        <p:spPr>
          <a:xfrm rot="18900000">
            <a:off x="4589684" y="1684749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49" name="Freeform: Shape 848">
            <a:extLst>
              <a:ext uri="{FF2B5EF4-FFF2-40B4-BE49-F238E27FC236}">
                <a16:creationId xmlns:a16="http://schemas.microsoft.com/office/drawing/2014/main" id="{B9B24ADD-FD48-2353-A6F7-7BC95AD9A4BD}"/>
              </a:ext>
            </a:extLst>
          </p:cNvPr>
          <p:cNvSpPr/>
          <p:nvPr/>
        </p:nvSpPr>
        <p:spPr>
          <a:xfrm rot="18900000">
            <a:off x="4635990" y="2304284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0" name="Freeform: Shape 849">
            <a:extLst>
              <a:ext uri="{FF2B5EF4-FFF2-40B4-BE49-F238E27FC236}">
                <a16:creationId xmlns:a16="http://schemas.microsoft.com/office/drawing/2014/main" id="{8129A4C9-0DAF-226F-C687-D975C54F8B01}"/>
              </a:ext>
            </a:extLst>
          </p:cNvPr>
          <p:cNvSpPr/>
          <p:nvPr/>
        </p:nvSpPr>
        <p:spPr>
          <a:xfrm rot="18900000">
            <a:off x="3805587" y="3025364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1" name="Freeform: Shape 850">
            <a:extLst>
              <a:ext uri="{FF2B5EF4-FFF2-40B4-BE49-F238E27FC236}">
                <a16:creationId xmlns:a16="http://schemas.microsoft.com/office/drawing/2014/main" id="{09E450C5-B2E0-ABFE-8574-5D9AE26187C4}"/>
              </a:ext>
            </a:extLst>
          </p:cNvPr>
          <p:cNvSpPr/>
          <p:nvPr/>
        </p:nvSpPr>
        <p:spPr>
          <a:xfrm rot="18900000">
            <a:off x="6226102" y="3128703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2" name="Freeform: Shape 851">
            <a:extLst>
              <a:ext uri="{FF2B5EF4-FFF2-40B4-BE49-F238E27FC236}">
                <a16:creationId xmlns:a16="http://schemas.microsoft.com/office/drawing/2014/main" id="{25175420-1C7A-DDD0-2A22-149761DB6030}"/>
              </a:ext>
            </a:extLst>
          </p:cNvPr>
          <p:cNvSpPr/>
          <p:nvPr/>
        </p:nvSpPr>
        <p:spPr>
          <a:xfrm rot="18900000">
            <a:off x="5401890" y="3128604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3" name="Freeform: Shape 852">
            <a:extLst>
              <a:ext uri="{FF2B5EF4-FFF2-40B4-BE49-F238E27FC236}">
                <a16:creationId xmlns:a16="http://schemas.microsoft.com/office/drawing/2014/main" id="{4E5C5FE4-5347-AEDF-0D4D-5EFB5A510EBB}"/>
              </a:ext>
            </a:extLst>
          </p:cNvPr>
          <p:cNvSpPr/>
          <p:nvPr/>
        </p:nvSpPr>
        <p:spPr>
          <a:xfrm rot="18900000">
            <a:off x="4590131" y="3128539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4" name="Freeform: Shape 853">
            <a:extLst>
              <a:ext uri="{FF2B5EF4-FFF2-40B4-BE49-F238E27FC236}">
                <a16:creationId xmlns:a16="http://schemas.microsoft.com/office/drawing/2014/main" id="{3680B817-00F0-B0A2-27E7-F01142BD385D}"/>
              </a:ext>
            </a:extLst>
          </p:cNvPr>
          <p:cNvSpPr/>
          <p:nvPr/>
        </p:nvSpPr>
        <p:spPr>
          <a:xfrm rot="18900000">
            <a:off x="3759178" y="3128680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5" name="Freeform: Shape 854">
            <a:extLst>
              <a:ext uri="{FF2B5EF4-FFF2-40B4-BE49-F238E27FC236}">
                <a16:creationId xmlns:a16="http://schemas.microsoft.com/office/drawing/2014/main" id="{EECB5A40-E9D6-C512-6C70-62DC9AD41727}"/>
              </a:ext>
            </a:extLst>
          </p:cNvPr>
          <p:cNvSpPr/>
          <p:nvPr/>
        </p:nvSpPr>
        <p:spPr>
          <a:xfrm rot="18900000">
            <a:off x="3792366" y="3231591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6" name="Freeform: Shape 855">
            <a:extLst>
              <a:ext uri="{FF2B5EF4-FFF2-40B4-BE49-F238E27FC236}">
                <a16:creationId xmlns:a16="http://schemas.microsoft.com/office/drawing/2014/main" id="{BB726D9E-4C41-62CF-DCC7-0D9FCF3FB28F}"/>
              </a:ext>
            </a:extLst>
          </p:cNvPr>
          <p:cNvSpPr/>
          <p:nvPr/>
        </p:nvSpPr>
        <p:spPr>
          <a:xfrm rot="18900000">
            <a:off x="4242792" y="3540812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7" name="Freeform: Shape 856">
            <a:extLst>
              <a:ext uri="{FF2B5EF4-FFF2-40B4-BE49-F238E27FC236}">
                <a16:creationId xmlns:a16="http://schemas.microsoft.com/office/drawing/2014/main" id="{C2ADE8CB-D4BF-463C-D386-BF6872B3C92B}"/>
              </a:ext>
            </a:extLst>
          </p:cNvPr>
          <p:cNvSpPr/>
          <p:nvPr/>
        </p:nvSpPr>
        <p:spPr>
          <a:xfrm rot="18900000">
            <a:off x="6962840" y="467621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8" name="Freeform: Shape 857">
            <a:extLst>
              <a:ext uri="{FF2B5EF4-FFF2-40B4-BE49-F238E27FC236}">
                <a16:creationId xmlns:a16="http://schemas.microsoft.com/office/drawing/2014/main" id="{D426EEDB-D058-E1D3-2392-48CAF2D66660}"/>
              </a:ext>
            </a:extLst>
          </p:cNvPr>
          <p:cNvSpPr/>
          <p:nvPr/>
        </p:nvSpPr>
        <p:spPr>
          <a:xfrm rot="18900000">
            <a:off x="6150356" y="467625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59" name="Freeform: Shape 858">
            <a:extLst>
              <a:ext uri="{FF2B5EF4-FFF2-40B4-BE49-F238E27FC236}">
                <a16:creationId xmlns:a16="http://schemas.microsoft.com/office/drawing/2014/main" id="{F0EA0841-2957-D2D3-9656-A51B85A46ACE}"/>
              </a:ext>
            </a:extLst>
          </p:cNvPr>
          <p:cNvSpPr/>
          <p:nvPr/>
        </p:nvSpPr>
        <p:spPr>
          <a:xfrm rot="18900000">
            <a:off x="3779187" y="477860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0" name="Freeform: Shape 859">
            <a:extLst>
              <a:ext uri="{FF2B5EF4-FFF2-40B4-BE49-F238E27FC236}">
                <a16:creationId xmlns:a16="http://schemas.microsoft.com/office/drawing/2014/main" id="{D14823EE-7E9A-A195-B32B-18A0DF0E818F}"/>
              </a:ext>
            </a:extLst>
          </p:cNvPr>
          <p:cNvSpPr/>
          <p:nvPr/>
        </p:nvSpPr>
        <p:spPr>
          <a:xfrm rot="18900000">
            <a:off x="3779263" y="5085924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1" name="Freeform: Shape 860">
            <a:extLst>
              <a:ext uri="{FF2B5EF4-FFF2-40B4-BE49-F238E27FC236}">
                <a16:creationId xmlns:a16="http://schemas.microsoft.com/office/drawing/2014/main" id="{98A719AB-3370-8638-B566-E0BD83878DC0}"/>
              </a:ext>
            </a:extLst>
          </p:cNvPr>
          <p:cNvSpPr/>
          <p:nvPr/>
        </p:nvSpPr>
        <p:spPr>
          <a:xfrm rot="18900000">
            <a:off x="4590527" y="5086075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2" name="Freeform: Shape 861">
            <a:extLst>
              <a:ext uri="{FF2B5EF4-FFF2-40B4-BE49-F238E27FC236}">
                <a16:creationId xmlns:a16="http://schemas.microsoft.com/office/drawing/2014/main" id="{4C2EB35D-1229-F9C8-F317-5E8EE48BE5E3}"/>
              </a:ext>
            </a:extLst>
          </p:cNvPr>
          <p:cNvSpPr/>
          <p:nvPr/>
        </p:nvSpPr>
        <p:spPr>
          <a:xfrm rot="18900000">
            <a:off x="5405070" y="5086016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3" name="Freeform: Shape 862">
            <a:extLst>
              <a:ext uri="{FF2B5EF4-FFF2-40B4-BE49-F238E27FC236}">
                <a16:creationId xmlns:a16="http://schemas.microsoft.com/office/drawing/2014/main" id="{DC2B477F-4DC1-A510-3A4C-D273CE73301A}"/>
              </a:ext>
            </a:extLst>
          </p:cNvPr>
          <p:cNvSpPr/>
          <p:nvPr/>
        </p:nvSpPr>
        <p:spPr>
          <a:xfrm rot="18900000">
            <a:off x="5464498" y="5188609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4" name="Freeform: Shape 863">
            <a:extLst>
              <a:ext uri="{FF2B5EF4-FFF2-40B4-BE49-F238E27FC236}">
                <a16:creationId xmlns:a16="http://schemas.microsoft.com/office/drawing/2014/main" id="{BB62EBF7-9AD7-390C-95D8-9F4143A72E6F}"/>
              </a:ext>
            </a:extLst>
          </p:cNvPr>
          <p:cNvSpPr/>
          <p:nvPr/>
        </p:nvSpPr>
        <p:spPr>
          <a:xfrm rot="18900000">
            <a:off x="3779223" y="529078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5" name="Freeform: Shape 864">
            <a:extLst>
              <a:ext uri="{FF2B5EF4-FFF2-40B4-BE49-F238E27FC236}">
                <a16:creationId xmlns:a16="http://schemas.microsoft.com/office/drawing/2014/main" id="{555E835B-0D0D-9B6D-BD97-C4F70ACC72C2}"/>
              </a:ext>
            </a:extLst>
          </p:cNvPr>
          <p:cNvSpPr/>
          <p:nvPr/>
        </p:nvSpPr>
        <p:spPr>
          <a:xfrm rot="18900000">
            <a:off x="4568306" y="5290808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6" name="Freeform: Shape 865">
            <a:extLst>
              <a:ext uri="{FF2B5EF4-FFF2-40B4-BE49-F238E27FC236}">
                <a16:creationId xmlns:a16="http://schemas.microsoft.com/office/drawing/2014/main" id="{94D43EC5-2E74-2AF8-C282-D0C481B6826E}"/>
              </a:ext>
            </a:extLst>
          </p:cNvPr>
          <p:cNvSpPr/>
          <p:nvPr/>
        </p:nvSpPr>
        <p:spPr>
          <a:xfrm rot="18900000">
            <a:off x="5405199" y="549574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7" name="Freeform: Shape 866">
            <a:extLst>
              <a:ext uri="{FF2B5EF4-FFF2-40B4-BE49-F238E27FC236}">
                <a16:creationId xmlns:a16="http://schemas.microsoft.com/office/drawing/2014/main" id="{2C21334D-8734-4AF1-39B1-861AC21B538E}"/>
              </a:ext>
            </a:extLst>
          </p:cNvPr>
          <p:cNvSpPr/>
          <p:nvPr/>
        </p:nvSpPr>
        <p:spPr>
          <a:xfrm rot="18900000">
            <a:off x="4590450" y="549580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8" name="Freeform: Shape 867">
            <a:extLst>
              <a:ext uri="{FF2B5EF4-FFF2-40B4-BE49-F238E27FC236}">
                <a16:creationId xmlns:a16="http://schemas.microsoft.com/office/drawing/2014/main" id="{84181DA3-093D-F944-E694-0E318894D38F}"/>
              </a:ext>
            </a:extLst>
          </p:cNvPr>
          <p:cNvSpPr/>
          <p:nvPr/>
        </p:nvSpPr>
        <p:spPr>
          <a:xfrm rot="18900000">
            <a:off x="3779186" y="549565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69" name="Freeform: Shape 868">
            <a:extLst>
              <a:ext uri="{FF2B5EF4-FFF2-40B4-BE49-F238E27FC236}">
                <a16:creationId xmlns:a16="http://schemas.microsoft.com/office/drawing/2014/main" id="{E7482168-F3CC-9B11-C48C-C234B3912F06}"/>
              </a:ext>
            </a:extLst>
          </p:cNvPr>
          <p:cNvSpPr/>
          <p:nvPr/>
        </p:nvSpPr>
        <p:spPr>
          <a:xfrm rot="18900000">
            <a:off x="5314011" y="529081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0" name="Freeform: Shape 869">
            <a:extLst>
              <a:ext uri="{FF2B5EF4-FFF2-40B4-BE49-F238E27FC236}">
                <a16:creationId xmlns:a16="http://schemas.microsoft.com/office/drawing/2014/main" id="{7A95F9AE-D583-7CF4-BF36-4ED9CE4F29B4}"/>
              </a:ext>
            </a:extLst>
          </p:cNvPr>
          <p:cNvSpPr/>
          <p:nvPr/>
        </p:nvSpPr>
        <p:spPr>
          <a:xfrm rot="18900000">
            <a:off x="3762040" y="5188407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1" name="Freeform: Shape 870">
            <a:extLst>
              <a:ext uri="{FF2B5EF4-FFF2-40B4-BE49-F238E27FC236}">
                <a16:creationId xmlns:a16="http://schemas.microsoft.com/office/drawing/2014/main" id="{E190495D-2ECC-2E54-8EF3-367DE67E706B}"/>
              </a:ext>
            </a:extLst>
          </p:cNvPr>
          <p:cNvSpPr/>
          <p:nvPr/>
        </p:nvSpPr>
        <p:spPr>
          <a:xfrm rot="18900000">
            <a:off x="4590451" y="477875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2" name="Freeform: Shape 871">
            <a:extLst>
              <a:ext uri="{FF2B5EF4-FFF2-40B4-BE49-F238E27FC236}">
                <a16:creationId xmlns:a16="http://schemas.microsoft.com/office/drawing/2014/main" id="{C3B7584C-FEBD-926F-33BC-E3D67224D99E}"/>
              </a:ext>
            </a:extLst>
          </p:cNvPr>
          <p:cNvSpPr/>
          <p:nvPr/>
        </p:nvSpPr>
        <p:spPr>
          <a:xfrm rot="18900000">
            <a:off x="4590064" y="3231639"/>
            <a:ext cx="85344" cy="85344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3" name="Freeform: Shape 872">
            <a:extLst>
              <a:ext uri="{FF2B5EF4-FFF2-40B4-BE49-F238E27FC236}">
                <a16:creationId xmlns:a16="http://schemas.microsoft.com/office/drawing/2014/main" id="{C760AB38-6BCA-8F03-7F30-EB9A7C234E07}"/>
              </a:ext>
            </a:extLst>
          </p:cNvPr>
          <p:cNvSpPr/>
          <p:nvPr/>
        </p:nvSpPr>
        <p:spPr>
          <a:xfrm>
            <a:off x="6275726" y="1785603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4" name="Freeform: Shape 873">
            <a:extLst>
              <a:ext uri="{FF2B5EF4-FFF2-40B4-BE49-F238E27FC236}">
                <a16:creationId xmlns:a16="http://schemas.microsoft.com/office/drawing/2014/main" id="{431759F4-8B31-4E35-9B90-35F7A7936700}"/>
              </a:ext>
            </a:extLst>
          </p:cNvPr>
          <p:cNvSpPr/>
          <p:nvPr/>
        </p:nvSpPr>
        <p:spPr>
          <a:xfrm>
            <a:off x="5409248" y="1785603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5" name="Freeform: Shape 874">
            <a:extLst>
              <a:ext uri="{FF2B5EF4-FFF2-40B4-BE49-F238E27FC236}">
                <a16:creationId xmlns:a16="http://schemas.microsoft.com/office/drawing/2014/main" id="{8A3F7BDB-A0B5-6B9E-81DD-81F338CE632E}"/>
              </a:ext>
            </a:extLst>
          </p:cNvPr>
          <p:cNvSpPr/>
          <p:nvPr/>
        </p:nvSpPr>
        <p:spPr>
          <a:xfrm>
            <a:off x="5196570" y="2405012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6" name="Freeform: Shape 875">
            <a:extLst>
              <a:ext uri="{FF2B5EF4-FFF2-40B4-BE49-F238E27FC236}">
                <a16:creationId xmlns:a16="http://schemas.microsoft.com/office/drawing/2014/main" id="{1C6C6535-C9F1-7998-6813-C6E6351EFB95}"/>
              </a:ext>
            </a:extLst>
          </p:cNvPr>
          <p:cNvSpPr/>
          <p:nvPr/>
        </p:nvSpPr>
        <p:spPr>
          <a:xfrm>
            <a:off x="4265816" y="2611551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5 w 73375"/>
              <a:gd name="connsiteY1" fmla="*/ 0 h 73375"/>
              <a:gd name="connsiteX2" fmla="*/ 73375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5" y="0"/>
                </a:lnTo>
                <a:lnTo>
                  <a:pt x="73375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7" name="Freeform: Shape 876">
            <a:extLst>
              <a:ext uri="{FF2B5EF4-FFF2-40B4-BE49-F238E27FC236}">
                <a16:creationId xmlns:a16="http://schemas.microsoft.com/office/drawing/2014/main" id="{4C1A0817-2C0C-9C75-0083-40BBA46DF20B}"/>
              </a:ext>
            </a:extLst>
          </p:cNvPr>
          <p:cNvSpPr/>
          <p:nvPr/>
        </p:nvSpPr>
        <p:spPr>
          <a:xfrm>
            <a:off x="4334390" y="2714923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5 h 73375"/>
              <a:gd name="connsiteX3" fmla="*/ 0 w 73375"/>
              <a:gd name="connsiteY3" fmla="*/ 73375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5"/>
                </a:lnTo>
                <a:lnTo>
                  <a:pt x="0" y="73375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8" name="Freeform: Shape 877">
            <a:extLst>
              <a:ext uri="{FF2B5EF4-FFF2-40B4-BE49-F238E27FC236}">
                <a16:creationId xmlns:a16="http://schemas.microsoft.com/office/drawing/2014/main" id="{3658A3DA-4162-6060-D57E-3447B65752E4}"/>
              </a:ext>
            </a:extLst>
          </p:cNvPr>
          <p:cNvSpPr/>
          <p:nvPr/>
        </p:nvSpPr>
        <p:spPr>
          <a:xfrm>
            <a:off x="6231511" y="3333923"/>
            <a:ext cx="85344" cy="85344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79" name="Freeform: Shape 878">
            <a:extLst>
              <a:ext uri="{FF2B5EF4-FFF2-40B4-BE49-F238E27FC236}">
                <a16:creationId xmlns:a16="http://schemas.microsoft.com/office/drawing/2014/main" id="{6CB6B7C7-0C62-8523-F4C1-9C8B479619A5}"/>
              </a:ext>
            </a:extLst>
          </p:cNvPr>
          <p:cNvSpPr/>
          <p:nvPr/>
        </p:nvSpPr>
        <p:spPr>
          <a:xfrm>
            <a:off x="3510898" y="4261811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0" name="Freeform: Shape 879">
            <a:extLst>
              <a:ext uri="{FF2B5EF4-FFF2-40B4-BE49-F238E27FC236}">
                <a16:creationId xmlns:a16="http://schemas.microsoft.com/office/drawing/2014/main" id="{3C0467D5-DE3E-85F9-BA04-C1FF6CB317E8}"/>
              </a:ext>
            </a:extLst>
          </p:cNvPr>
          <p:cNvSpPr/>
          <p:nvPr/>
        </p:nvSpPr>
        <p:spPr>
          <a:xfrm>
            <a:off x="3638424" y="2921256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6 w 73375"/>
              <a:gd name="connsiteY1" fmla="*/ 0 h 73375"/>
              <a:gd name="connsiteX2" fmla="*/ 73376 w 73375"/>
              <a:gd name="connsiteY2" fmla="*/ 73375 h 73375"/>
              <a:gd name="connsiteX3" fmla="*/ 0 w 73375"/>
              <a:gd name="connsiteY3" fmla="*/ 73375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6" y="0"/>
                </a:lnTo>
                <a:lnTo>
                  <a:pt x="73376" y="73375"/>
                </a:lnTo>
                <a:lnTo>
                  <a:pt x="0" y="73375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1" name="Freeform: Shape 880">
            <a:extLst>
              <a:ext uri="{FF2B5EF4-FFF2-40B4-BE49-F238E27FC236}">
                <a16:creationId xmlns:a16="http://schemas.microsoft.com/office/drawing/2014/main" id="{0415B477-D079-1AF5-3324-7FD725FF40BC}"/>
              </a:ext>
            </a:extLst>
          </p:cNvPr>
          <p:cNvSpPr/>
          <p:nvPr/>
        </p:nvSpPr>
        <p:spPr>
          <a:xfrm>
            <a:off x="4599061" y="959448"/>
            <a:ext cx="98457" cy="86995"/>
          </a:xfrm>
          <a:custGeom>
            <a:avLst/>
            <a:gdLst>
              <a:gd name="connsiteX0" fmla="*/ 41608 w 83043"/>
              <a:gd name="connsiteY0" fmla="*/ 0 h 73375"/>
              <a:gd name="connsiteX1" fmla="*/ 0 w 83043"/>
              <a:gd name="connsiteY1" fmla="*/ 73376 h 73375"/>
              <a:gd name="connsiteX2" fmla="*/ 83044 w 83043"/>
              <a:gd name="connsiteY2" fmla="*/ 73376 h 73375"/>
              <a:gd name="connsiteX3" fmla="*/ 41608 w 83043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41608" y="0"/>
                </a:moveTo>
                <a:lnTo>
                  <a:pt x="0" y="73376"/>
                </a:lnTo>
                <a:lnTo>
                  <a:pt x="83044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2" name="Freeform: Shape 881">
            <a:extLst>
              <a:ext uri="{FF2B5EF4-FFF2-40B4-BE49-F238E27FC236}">
                <a16:creationId xmlns:a16="http://schemas.microsoft.com/office/drawing/2014/main" id="{934FCFF3-74A7-3DCD-7488-6B023D17FF35}"/>
              </a:ext>
            </a:extLst>
          </p:cNvPr>
          <p:cNvSpPr/>
          <p:nvPr/>
        </p:nvSpPr>
        <p:spPr>
          <a:xfrm>
            <a:off x="3889382" y="1569239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3" name="Freeform: Shape 882">
            <a:extLst>
              <a:ext uri="{FF2B5EF4-FFF2-40B4-BE49-F238E27FC236}">
                <a16:creationId xmlns:a16="http://schemas.microsoft.com/office/drawing/2014/main" id="{6BE51F0E-E1D1-4B90-7DF1-9AA23B0045DD}"/>
              </a:ext>
            </a:extLst>
          </p:cNvPr>
          <p:cNvSpPr/>
          <p:nvPr/>
        </p:nvSpPr>
        <p:spPr>
          <a:xfrm>
            <a:off x="3793583" y="1888769"/>
            <a:ext cx="98457" cy="86995"/>
          </a:xfrm>
          <a:custGeom>
            <a:avLst/>
            <a:gdLst>
              <a:gd name="connsiteX0" fmla="*/ 41608 w 83043"/>
              <a:gd name="connsiteY0" fmla="*/ 0 h 73375"/>
              <a:gd name="connsiteX1" fmla="*/ 0 w 83043"/>
              <a:gd name="connsiteY1" fmla="*/ 73376 h 73375"/>
              <a:gd name="connsiteX2" fmla="*/ 83044 w 83043"/>
              <a:gd name="connsiteY2" fmla="*/ 73376 h 73375"/>
              <a:gd name="connsiteX3" fmla="*/ 41608 w 83043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41608" y="0"/>
                </a:moveTo>
                <a:lnTo>
                  <a:pt x="0" y="73376"/>
                </a:lnTo>
                <a:lnTo>
                  <a:pt x="83044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4" name="Freeform: Shape 883">
            <a:extLst>
              <a:ext uri="{FF2B5EF4-FFF2-40B4-BE49-F238E27FC236}">
                <a16:creationId xmlns:a16="http://schemas.microsoft.com/office/drawing/2014/main" id="{59643600-EC22-FF29-FF7F-AC04029C5ADE}"/>
              </a:ext>
            </a:extLst>
          </p:cNvPr>
          <p:cNvSpPr/>
          <p:nvPr/>
        </p:nvSpPr>
        <p:spPr>
          <a:xfrm>
            <a:off x="4589646" y="1569239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5" name="Freeform: Shape 884">
            <a:extLst>
              <a:ext uri="{FF2B5EF4-FFF2-40B4-BE49-F238E27FC236}">
                <a16:creationId xmlns:a16="http://schemas.microsoft.com/office/drawing/2014/main" id="{DB4B20D0-8F97-69D6-70DA-91D47D618B98}"/>
              </a:ext>
            </a:extLst>
          </p:cNvPr>
          <p:cNvSpPr/>
          <p:nvPr/>
        </p:nvSpPr>
        <p:spPr>
          <a:xfrm>
            <a:off x="5666961" y="1569239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6" name="Freeform: Shape 885">
            <a:extLst>
              <a:ext uri="{FF2B5EF4-FFF2-40B4-BE49-F238E27FC236}">
                <a16:creationId xmlns:a16="http://schemas.microsoft.com/office/drawing/2014/main" id="{0BBB4459-D247-8D2D-5C46-4B0A4DBAE0FF}"/>
              </a:ext>
            </a:extLst>
          </p:cNvPr>
          <p:cNvSpPr/>
          <p:nvPr/>
        </p:nvSpPr>
        <p:spPr>
          <a:xfrm>
            <a:off x="6200397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7" name="Freeform: Shape 886">
            <a:extLst>
              <a:ext uri="{FF2B5EF4-FFF2-40B4-BE49-F238E27FC236}">
                <a16:creationId xmlns:a16="http://schemas.microsoft.com/office/drawing/2014/main" id="{74AAD161-A853-0522-FD17-9F9599542DB8}"/>
              </a:ext>
            </a:extLst>
          </p:cNvPr>
          <p:cNvSpPr/>
          <p:nvPr/>
        </p:nvSpPr>
        <p:spPr>
          <a:xfrm>
            <a:off x="5385914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8" name="Freeform: Shape 887">
            <a:extLst>
              <a:ext uri="{FF2B5EF4-FFF2-40B4-BE49-F238E27FC236}">
                <a16:creationId xmlns:a16="http://schemas.microsoft.com/office/drawing/2014/main" id="{1342A1EB-69E6-F058-C91D-5139A6CB1837}"/>
              </a:ext>
            </a:extLst>
          </p:cNvPr>
          <p:cNvSpPr/>
          <p:nvPr/>
        </p:nvSpPr>
        <p:spPr>
          <a:xfrm>
            <a:off x="4687081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89" name="Freeform: Shape 888">
            <a:extLst>
              <a:ext uri="{FF2B5EF4-FFF2-40B4-BE49-F238E27FC236}">
                <a16:creationId xmlns:a16="http://schemas.microsoft.com/office/drawing/2014/main" id="{F525B91A-7C2F-9E95-772A-0D3AFF70781B}"/>
              </a:ext>
            </a:extLst>
          </p:cNvPr>
          <p:cNvSpPr/>
          <p:nvPr/>
        </p:nvSpPr>
        <p:spPr>
          <a:xfrm>
            <a:off x="4147502" y="199214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0" name="Freeform: Shape 889">
            <a:extLst>
              <a:ext uri="{FF2B5EF4-FFF2-40B4-BE49-F238E27FC236}">
                <a16:creationId xmlns:a16="http://schemas.microsoft.com/office/drawing/2014/main" id="{FC1388BC-C1EF-CF18-8606-F001D8B288B0}"/>
              </a:ext>
            </a:extLst>
          </p:cNvPr>
          <p:cNvSpPr/>
          <p:nvPr/>
        </p:nvSpPr>
        <p:spPr>
          <a:xfrm>
            <a:off x="3715185" y="2814611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1" name="Freeform: Shape 890">
            <a:extLst>
              <a:ext uri="{FF2B5EF4-FFF2-40B4-BE49-F238E27FC236}">
                <a16:creationId xmlns:a16="http://schemas.microsoft.com/office/drawing/2014/main" id="{C672419D-60B5-924F-53E6-2AD8081E290A}"/>
              </a:ext>
            </a:extLst>
          </p:cNvPr>
          <p:cNvSpPr/>
          <p:nvPr/>
        </p:nvSpPr>
        <p:spPr>
          <a:xfrm>
            <a:off x="3775979" y="3333923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2" name="Freeform: Shape 891">
            <a:extLst>
              <a:ext uri="{FF2B5EF4-FFF2-40B4-BE49-F238E27FC236}">
                <a16:creationId xmlns:a16="http://schemas.microsoft.com/office/drawing/2014/main" id="{52E95523-25A4-053C-66CC-7FE6DCF987F4}"/>
              </a:ext>
            </a:extLst>
          </p:cNvPr>
          <p:cNvSpPr/>
          <p:nvPr/>
        </p:nvSpPr>
        <p:spPr>
          <a:xfrm>
            <a:off x="3745275" y="3436887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3" name="Freeform: Shape 892">
            <a:extLst>
              <a:ext uri="{FF2B5EF4-FFF2-40B4-BE49-F238E27FC236}">
                <a16:creationId xmlns:a16="http://schemas.microsoft.com/office/drawing/2014/main" id="{69F16044-D925-AB5C-4E9E-07878223B88F}"/>
              </a:ext>
            </a:extLst>
          </p:cNvPr>
          <p:cNvSpPr/>
          <p:nvPr/>
        </p:nvSpPr>
        <p:spPr>
          <a:xfrm>
            <a:off x="3757762" y="3635236"/>
            <a:ext cx="97536" cy="85344"/>
          </a:xfrm>
          <a:custGeom>
            <a:avLst/>
            <a:gdLst>
              <a:gd name="connsiteX0" fmla="*/ 41608 w 83216"/>
              <a:gd name="connsiteY0" fmla="*/ 0 h 73548"/>
              <a:gd name="connsiteX1" fmla="*/ 0 w 83216"/>
              <a:gd name="connsiteY1" fmla="*/ 73548 h 73548"/>
              <a:gd name="connsiteX2" fmla="*/ 83216 w 83216"/>
              <a:gd name="connsiteY2" fmla="*/ 73548 h 73548"/>
              <a:gd name="connsiteX3" fmla="*/ 41608 w 83216"/>
              <a:gd name="connsiteY3" fmla="*/ 0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0"/>
                </a:moveTo>
                <a:lnTo>
                  <a:pt x="0" y="73548"/>
                </a:lnTo>
                <a:lnTo>
                  <a:pt x="83216" y="73548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4" name="Freeform: Shape 893">
            <a:extLst>
              <a:ext uri="{FF2B5EF4-FFF2-40B4-BE49-F238E27FC236}">
                <a16:creationId xmlns:a16="http://schemas.microsoft.com/office/drawing/2014/main" id="{C7F04B4B-0199-2F54-0374-2E55B545A91D}"/>
              </a:ext>
            </a:extLst>
          </p:cNvPr>
          <p:cNvSpPr/>
          <p:nvPr/>
        </p:nvSpPr>
        <p:spPr>
          <a:xfrm>
            <a:off x="3745683" y="4046217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5" name="Freeform: Shape 894">
            <a:extLst>
              <a:ext uri="{FF2B5EF4-FFF2-40B4-BE49-F238E27FC236}">
                <a16:creationId xmlns:a16="http://schemas.microsoft.com/office/drawing/2014/main" id="{8CD32CE9-2C3B-9F00-B151-9AD789D53C10}"/>
              </a:ext>
            </a:extLst>
          </p:cNvPr>
          <p:cNvSpPr/>
          <p:nvPr/>
        </p:nvSpPr>
        <p:spPr>
          <a:xfrm>
            <a:off x="3684890" y="466656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6" name="Freeform: Shape 895">
            <a:extLst>
              <a:ext uri="{FF2B5EF4-FFF2-40B4-BE49-F238E27FC236}">
                <a16:creationId xmlns:a16="http://schemas.microsoft.com/office/drawing/2014/main" id="{C10C4481-CEEE-880B-1B10-7DB2D1DA127E}"/>
              </a:ext>
            </a:extLst>
          </p:cNvPr>
          <p:cNvSpPr/>
          <p:nvPr/>
        </p:nvSpPr>
        <p:spPr>
          <a:xfrm>
            <a:off x="3753873" y="4878765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7" name="Freeform: Shape 896">
            <a:extLst>
              <a:ext uri="{FF2B5EF4-FFF2-40B4-BE49-F238E27FC236}">
                <a16:creationId xmlns:a16="http://schemas.microsoft.com/office/drawing/2014/main" id="{901FFD17-0F05-A90F-A290-75C286F592CC}"/>
              </a:ext>
            </a:extLst>
          </p:cNvPr>
          <p:cNvSpPr/>
          <p:nvPr/>
        </p:nvSpPr>
        <p:spPr>
          <a:xfrm>
            <a:off x="3763085" y="4981113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8" name="Freeform: Shape 897">
            <a:extLst>
              <a:ext uri="{FF2B5EF4-FFF2-40B4-BE49-F238E27FC236}">
                <a16:creationId xmlns:a16="http://schemas.microsoft.com/office/drawing/2014/main" id="{051D739E-258A-0EF9-BF34-611908FF50DC}"/>
              </a:ext>
            </a:extLst>
          </p:cNvPr>
          <p:cNvSpPr/>
          <p:nvPr/>
        </p:nvSpPr>
        <p:spPr>
          <a:xfrm>
            <a:off x="3763085" y="5595612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3733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899" name="Freeform: Shape 898">
            <a:extLst>
              <a:ext uri="{FF2B5EF4-FFF2-40B4-BE49-F238E27FC236}">
                <a16:creationId xmlns:a16="http://schemas.microsoft.com/office/drawing/2014/main" id="{B9004B40-58DA-F0CE-9331-7211DD7F0C95}"/>
              </a:ext>
            </a:extLst>
          </p:cNvPr>
          <p:cNvSpPr/>
          <p:nvPr/>
        </p:nvSpPr>
        <p:spPr>
          <a:xfrm>
            <a:off x="4572657" y="4981113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0" name="Freeform: Shape 899">
            <a:extLst>
              <a:ext uri="{FF2B5EF4-FFF2-40B4-BE49-F238E27FC236}">
                <a16:creationId xmlns:a16="http://schemas.microsoft.com/office/drawing/2014/main" id="{49541DB7-F5F0-70F8-0BB4-83E84B5846D9}"/>
              </a:ext>
            </a:extLst>
          </p:cNvPr>
          <p:cNvSpPr/>
          <p:nvPr/>
        </p:nvSpPr>
        <p:spPr>
          <a:xfrm>
            <a:off x="4511861" y="4666560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1" name="Freeform: Shape 900">
            <a:extLst>
              <a:ext uri="{FF2B5EF4-FFF2-40B4-BE49-F238E27FC236}">
                <a16:creationId xmlns:a16="http://schemas.microsoft.com/office/drawing/2014/main" id="{1D4C2AB6-84AE-467F-A895-ECF1ABEB28D1}"/>
              </a:ext>
            </a:extLst>
          </p:cNvPr>
          <p:cNvSpPr/>
          <p:nvPr/>
        </p:nvSpPr>
        <p:spPr>
          <a:xfrm>
            <a:off x="5323686" y="4666560"/>
            <a:ext cx="98663" cy="87200"/>
          </a:xfrm>
          <a:custGeom>
            <a:avLst/>
            <a:gdLst>
              <a:gd name="connsiteX0" fmla="*/ 41608 w 83216"/>
              <a:gd name="connsiteY0" fmla="*/ 0 h 73548"/>
              <a:gd name="connsiteX1" fmla="*/ 0 w 83216"/>
              <a:gd name="connsiteY1" fmla="*/ 73548 h 73548"/>
              <a:gd name="connsiteX2" fmla="*/ 83217 w 83216"/>
              <a:gd name="connsiteY2" fmla="*/ 73548 h 73548"/>
              <a:gd name="connsiteX3" fmla="*/ 41608 w 83216"/>
              <a:gd name="connsiteY3" fmla="*/ 0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0"/>
                </a:moveTo>
                <a:lnTo>
                  <a:pt x="0" y="73548"/>
                </a:lnTo>
                <a:lnTo>
                  <a:pt x="83217" y="73548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2" name="Freeform: Shape 901">
            <a:extLst>
              <a:ext uri="{FF2B5EF4-FFF2-40B4-BE49-F238E27FC236}">
                <a16:creationId xmlns:a16="http://schemas.microsoft.com/office/drawing/2014/main" id="{44C97C15-F49F-9319-85A1-1F4EB4A2D964}"/>
              </a:ext>
            </a:extLst>
          </p:cNvPr>
          <p:cNvSpPr/>
          <p:nvPr/>
        </p:nvSpPr>
        <p:spPr>
          <a:xfrm>
            <a:off x="4572656" y="4046217"/>
            <a:ext cx="97536" cy="85344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6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6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3" name="Freeform: Shape 902">
            <a:extLst>
              <a:ext uri="{FF2B5EF4-FFF2-40B4-BE49-F238E27FC236}">
                <a16:creationId xmlns:a16="http://schemas.microsoft.com/office/drawing/2014/main" id="{FC67CA83-CB02-026F-A604-447E01392933}"/>
              </a:ext>
            </a:extLst>
          </p:cNvPr>
          <p:cNvSpPr/>
          <p:nvPr/>
        </p:nvSpPr>
        <p:spPr>
          <a:xfrm>
            <a:off x="3767792" y="1475691"/>
            <a:ext cx="98663" cy="87200"/>
          </a:xfrm>
          <a:custGeom>
            <a:avLst/>
            <a:gdLst>
              <a:gd name="connsiteX0" fmla="*/ 41608 w 83216"/>
              <a:gd name="connsiteY0" fmla="*/ 0 h 73548"/>
              <a:gd name="connsiteX1" fmla="*/ 0 w 83216"/>
              <a:gd name="connsiteY1" fmla="*/ 73548 h 73548"/>
              <a:gd name="connsiteX2" fmla="*/ 83217 w 83216"/>
              <a:gd name="connsiteY2" fmla="*/ 73548 h 73548"/>
              <a:gd name="connsiteX3" fmla="*/ 41608 w 83216"/>
              <a:gd name="connsiteY3" fmla="*/ 0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548">
                <a:moveTo>
                  <a:pt x="41608" y="0"/>
                </a:moveTo>
                <a:lnTo>
                  <a:pt x="0" y="73548"/>
                </a:lnTo>
                <a:lnTo>
                  <a:pt x="83217" y="73548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4" name="Freeform: Shape 903">
            <a:extLst>
              <a:ext uri="{FF2B5EF4-FFF2-40B4-BE49-F238E27FC236}">
                <a16:creationId xmlns:a16="http://schemas.microsoft.com/office/drawing/2014/main" id="{4E44EB64-B544-3D63-EB8C-FFE882DC6D26}"/>
              </a:ext>
            </a:extLst>
          </p:cNvPr>
          <p:cNvSpPr/>
          <p:nvPr/>
        </p:nvSpPr>
        <p:spPr>
          <a:xfrm>
            <a:off x="7170453" y="959448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5" name="Freeform: Shape 904">
            <a:extLst>
              <a:ext uri="{FF2B5EF4-FFF2-40B4-BE49-F238E27FC236}">
                <a16:creationId xmlns:a16="http://schemas.microsoft.com/office/drawing/2014/main" id="{62BFB3D7-E1E9-F691-CD38-88EF041DE441}"/>
              </a:ext>
            </a:extLst>
          </p:cNvPr>
          <p:cNvSpPr/>
          <p:nvPr/>
        </p:nvSpPr>
        <p:spPr>
          <a:xfrm>
            <a:off x="7004035" y="1440279"/>
            <a:ext cx="145128" cy="144925"/>
          </a:xfrm>
          <a:custGeom>
            <a:avLst/>
            <a:gdLst>
              <a:gd name="connsiteX0" fmla="*/ 61290 w 122407"/>
              <a:gd name="connsiteY0" fmla="*/ 0 h 122235"/>
              <a:gd name="connsiteX1" fmla="*/ 78037 w 122407"/>
              <a:gd name="connsiteY1" fmla="*/ 43162 h 122235"/>
              <a:gd name="connsiteX2" fmla="*/ 122408 w 122407"/>
              <a:gd name="connsiteY2" fmla="*/ 46615 h 122235"/>
              <a:gd name="connsiteX3" fmla="*/ 88396 w 122407"/>
              <a:gd name="connsiteY3" fmla="*/ 76829 h 122235"/>
              <a:gd name="connsiteX4" fmla="*/ 99100 w 122407"/>
              <a:gd name="connsiteY4" fmla="*/ 122235 h 122235"/>
              <a:gd name="connsiteX5" fmla="*/ 61290 w 122407"/>
              <a:gd name="connsiteY5" fmla="*/ 97719 h 122235"/>
              <a:gd name="connsiteX6" fmla="*/ 23480 w 122407"/>
              <a:gd name="connsiteY6" fmla="*/ 122235 h 122235"/>
              <a:gd name="connsiteX7" fmla="*/ 34012 w 122407"/>
              <a:gd name="connsiteY7" fmla="*/ 76829 h 122235"/>
              <a:gd name="connsiteX8" fmla="*/ 0 w 122407"/>
              <a:gd name="connsiteY8" fmla="*/ 46615 h 122235"/>
              <a:gd name="connsiteX9" fmla="*/ 44371 w 122407"/>
              <a:gd name="connsiteY9" fmla="*/ 43162 h 122235"/>
              <a:gd name="connsiteX10" fmla="*/ 61290 w 122407"/>
              <a:gd name="connsiteY10" fmla="*/ 0 h 12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407" h="122235">
                <a:moveTo>
                  <a:pt x="61290" y="0"/>
                </a:moveTo>
                <a:lnTo>
                  <a:pt x="78037" y="43162"/>
                </a:lnTo>
                <a:lnTo>
                  <a:pt x="122408" y="46615"/>
                </a:lnTo>
                <a:lnTo>
                  <a:pt x="88396" y="76829"/>
                </a:lnTo>
                <a:lnTo>
                  <a:pt x="99100" y="122235"/>
                </a:lnTo>
                <a:lnTo>
                  <a:pt x="61290" y="97719"/>
                </a:lnTo>
                <a:lnTo>
                  <a:pt x="23480" y="122235"/>
                </a:lnTo>
                <a:lnTo>
                  <a:pt x="34012" y="76829"/>
                </a:lnTo>
                <a:lnTo>
                  <a:pt x="0" y="46615"/>
                </a:lnTo>
                <a:lnTo>
                  <a:pt x="44371" y="43162"/>
                </a:lnTo>
                <a:lnTo>
                  <a:pt x="61290" y="0"/>
                </a:lnTo>
                <a:close/>
              </a:path>
            </a:pathLst>
          </a:custGeom>
          <a:solidFill>
            <a:srgbClr val="008D36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6" name="Freeform: Shape 905">
            <a:extLst>
              <a:ext uri="{FF2B5EF4-FFF2-40B4-BE49-F238E27FC236}">
                <a16:creationId xmlns:a16="http://schemas.microsoft.com/office/drawing/2014/main" id="{E1688CF4-812E-E0C0-EA22-620F4F0D29F2}"/>
              </a:ext>
            </a:extLst>
          </p:cNvPr>
          <p:cNvSpPr/>
          <p:nvPr/>
        </p:nvSpPr>
        <p:spPr>
          <a:xfrm>
            <a:off x="7818723" y="1440279"/>
            <a:ext cx="145128" cy="144925"/>
          </a:xfrm>
          <a:custGeom>
            <a:avLst/>
            <a:gdLst>
              <a:gd name="connsiteX0" fmla="*/ 61118 w 122407"/>
              <a:gd name="connsiteY0" fmla="*/ 0 h 122235"/>
              <a:gd name="connsiteX1" fmla="*/ 78037 w 122407"/>
              <a:gd name="connsiteY1" fmla="*/ 43162 h 122235"/>
              <a:gd name="connsiteX2" fmla="*/ 122408 w 122407"/>
              <a:gd name="connsiteY2" fmla="*/ 46615 h 122235"/>
              <a:gd name="connsiteX3" fmla="*/ 88396 w 122407"/>
              <a:gd name="connsiteY3" fmla="*/ 76829 h 122235"/>
              <a:gd name="connsiteX4" fmla="*/ 98928 w 122407"/>
              <a:gd name="connsiteY4" fmla="*/ 122235 h 122235"/>
              <a:gd name="connsiteX5" fmla="*/ 61118 w 122407"/>
              <a:gd name="connsiteY5" fmla="*/ 97719 h 122235"/>
              <a:gd name="connsiteX6" fmla="*/ 23308 w 122407"/>
              <a:gd name="connsiteY6" fmla="*/ 122235 h 122235"/>
              <a:gd name="connsiteX7" fmla="*/ 34012 w 122407"/>
              <a:gd name="connsiteY7" fmla="*/ 76829 h 122235"/>
              <a:gd name="connsiteX8" fmla="*/ 0 w 122407"/>
              <a:gd name="connsiteY8" fmla="*/ 46615 h 122235"/>
              <a:gd name="connsiteX9" fmla="*/ 44371 w 122407"/>
              <a:gd name="connsiteY9" fmla="*/ 43162 h 122235"/>
              <a:gd name="connsiteX10" fmla="*/ 61118 w 122407"/>
              <a:gd name="connsiteY10" fmla="*/ 0 h 1222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407" h="122235">
                <a:moveTo>
                  <a:pt x="61118" y="0"/>
                </a:moveTo>
                <a:lnTo>
                  <a:pt x="78037" y="43162"/>
                </a:lnTo>
                <a:lnTo>
                  <a:pt x="122408" y="46615"/>
                </a:lnTo>
                <a:lnTo>
                  <a:pt x="88396" y="76829"/>
                </a:lnTo>
                <a:lnTo>
                  <a:pt x="98928" y="122235"/>
                </a:lnTo>
                <a:lnTo>
                  <a:pt x="61118" y="97719"/>
                </a:lnTo>
                <a:lnTo>
                  <a:pt x="23308" y="122235"/>
                </a:lnTo>
                <a:lnTo>
                  <a:pt x="34012" y="76829"/>
                </a:lnTo>
                <a:lnTo>
                  <a:pt x="0" y="46615"/>
                </a:lnTo>
                <a:lnTo>
                  <a:pt x="44371" y="43162"/>
                </a:lnTo>
                <a:lnTo>
                  <a:pt x="61118" y="0"/>
                </a:lnTo>
                <a:close/>
              </a:path>
            </a:pathLst>
          </a:custGeom>
          <a:solidFill>
            <a:srgbClr val="008D36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7" name="Freeform: Shape 906">
            <a:extLst>
              <a:ext uri="{FF2B5EF4-FFF2-40B4-BE49-F238E27FC236}">
                <a16:creationId xmlns:a16="http://schemas.microsoft.com/office/drawing/2014/main" id="{EDB555AE-5202-52C4-B91A-90F7FD3C1AC1}"/>
              </a:ext>
            </a:extLst>
          </p:cNvPr>
          <p:cNvSpPr/>
          <p:nvPr/>
        </p:nvSpPr>
        <p:spPr>
          <a:xfrm>
            <a:off x="5461854" y="2198475"/>
            <a:ext cx="87200" cy="87200"/>
          </a:xfrm>
          <a:custGeom>
            <a:avLst/>
            <a:gdLst>
              <a:gd name="connsiteX0" fmla="*/ 73548 w 73548"/>
              <a:gd name="connsiteY0" fmla="*/ 36774 h 73548"/>
              <a:gd name="connsiteX1" fmla="*/ 36774 w 73548"/>
              <a:gd name="connsiteY1" fmla="*/ 73548 h 73548"/>
              <a:gd name="connsiteX2" fmla="*/ 0 w 73548"/>
              <a:gd name="connsiteY2" fmla="*/ 36774 h 73548"/>
              <a:gd name="connsiteX3" fmla="*/ 36774 w 73548"/>
              <a:gd name="connsiteY3" fmla="*/ 0 h 73548"/>
              <a:gd name="connsiteX4" fmla="*/ 73548 w 73548"/>
              <a:gd name="connsiteY4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48" h="73548">
                <a:moveTo>
                  <a:pt x="73548" y="36774"/>
                </a:moveTo>
                <a:cubicBezTo>
                  <a:pt x="73548" y="57084"/>
                  <a:pt x="57084" y="73548"/>
                  <a:pt x="36774" y="73548"/>
                </a:cubicBezTo>
                <a:cubicBezTo>
                  <a:pt x="16465" y="73548"/>
                  <a:pt x="0" y="57084"/>
                  <a:pt x="0" y="36774"/>
                </a:cubicBezTo>
                <a:cubicBezTo>
                  <a:pt x="0" y="16464"/>
                  <a:pt x="16465" y="0"/>
                  <a:pt x="36774" y="0"/>
                </a:cubicBezTo>
                <a:cubicBezTo>
                  <a:pt x="57084" y="0"/>
                  <a:pt x="73548" y="16464"/>
                  <a:pt x="73548" y="36774"/>
                </a:cubicBez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08" name="Freeform: Shape 907">
            <a:extLst>
              <a:ext uri="{FF2B5EF4-FFF2-40B4-BE49-F238E27FC236}">
                <a16:creationId xmlns:a16="http://schemas.microsoft.com/office/drawing/2014/main" id="{BEEB2A88-11CE-ECE8-346A-FDBCD6F271A0}"/>
              </a:ext>
            </a:extLst>
          </p:cNvPr>
          <p:cNvSpPr/>
          <p:nvPr/>
        </p:nvSpPr>
        <p:spPr>
          <a:xfrm>
            <a:off x="7842879" y="3024628"/>
            <a:ext cx="85344" cy="85344"/>
          </a:xfrm>
          <a:custGeom>
            <a:avLst/>
            <a:gdLst>
              <a:gd name="connsiteX0" fmla="*/ 73548 w 73548"/>
              <a:gd name="connsiteY0" fmla="*/ 36774 h 73548"/>
              <a:gd name="connsiteX1" fmla="*/ 36774 w 73548"/>
              <a:gd name="connsiteY1" fmla="*/ 73548 h 73548"/>
              <a:gd name="connsiteX2" fmla="*/ 0 w 73548"/>
              <a:gd name="connsiteY2" fmla="*/ 36774 h 73548"/>
              <a:gd name="connsiteX3" fmla="*/ 36774 w 73548"/>
              <a:gd name="connsiteY3" fmla="*/ 0 h 73548"/>
              <a:gd name="connsiteX4" fmla="*/ 73548 w 73548"/>
              <a:gd name="connsiteY4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48" h="73548">
                <a:moveTo>
                  <a:pt x="73548" y="36774"/>
                </a:moveTo>
                <a:cubicBezTo>
                  <a:pt x="73548" y="57084"/>
                  <a:pt x="57084" y="73548"/>
                  <a:pt x="36774" y="73548"/>
                </a:cubicBezTo>
                <a:cubicBezTo>
                  <a:pt x="16464" y="73548"/>
                  <a:pt x="0" y="57084"/>
                  <a:pt x="0" y="36774"/>
                </a:cubicBezTo>
                <a:cubicBezTo>
                  <a:pt x="0" y="16464"/>
                  <a:pt x="16464" y="0"/>
                  <a:pt x="36774" y="0"/>
                </a:cubicBezTo>
                <a:cubicBezTo>
                  <a:pt x="57084" y="0"/>
                  <a:pt x="73548" y="16464"/>
                  <a:pt x="73548" y="36774"/>
                </a:cubicBez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grpSp>
        <p:nvGrpSpPr>
          <p:cNvPr id="909" name="Graphic 6">
            <a:extLst>
              <a:ext uri="{FF2B5EF4-FFF2-40B4-BE49-F238E27FC236}">
                <a16:creationId xmlns:a16="http://schemas.microsoft.com/office/drawing/2014/main" id="{670007F5-2CED-9A54-25B4-9F0F8FCB435A}"/>
              </a:ext>
            </a:extLst>
          </p:cNvPr>
          <p:cNvGrpSpPr/>
          <p:nvPr/>
        </p:nvGrpSpPr>
        <p:grpSpPr>
          <a:xfrm>
            <a:off x="5188176" y="2398667"/>
            <a:ext cx="97536" cy="85344"/>
            <a:chOff x="5582543" y="2741859"/>
            <a:chExt cx="87532" cy="84252"/>
          </a:xfrm>
        </p:grpSpPr>
        <p:sp>
          <p:nvSpPr>
            <p:cNvPr id="910" name="Freeform: Shape 909">
              <a:extLst>
                <a:ext uri="{FF2B5EF4-FFF2-40B4-BE49-F238E27FC236}">
                  <a16:creationId xmlns:a16="http://schemas.microsoft.com/office/drawing/2014/main" id="{6D5D2F54-814D-503B-5F8B-73A14CBA61BE}"/>
                </a:ext>
              </a:extLst>
            </p:cNvPr>
            <p:cNvSpPr/>
            <p:nvPr/>
          </p:nvSpPr>
          <p:spPr>
            <a:xfrm>
              <a:off x="5582543" y="2741859"/>
              <a:ext cx="87532" cy="84252"/>
            </a:xfrm>
            <a:custGeom>
              <a:avLst/>
              <a:gdLst>
                <a:gd name="connsiteX0" fmla="*/ 0 w 87532"/>
                <a:gd name="connsiteY0" fmla="*/ 0 h 84252"/>
                <a:gd name="connsiteX1" fmla="*/ 87532 w 87532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0" y="0"/>
                  </a:moveTo>
                  <a:lnTo>
                    <a:pt x="87532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11" name="Freeform: Shape 910">
              <a:extLst>
                <a:ext uri="{FF2B5EF4-FFF2-40B4-BE49-F238E27FC236}">
                  <a16:creationId xmlns:a16="http://schemas.microsoft.com/office/drawing/2014/main" id="{2A3850AD-B4C4-337D-6FF2-11F4601BEC86}"/>
                </a:ext>
              </a:extLst>
            </p:cNvPr>
            <p:cNvSpPr/>
            <p:nvPr/>
          </p:nvSpPr>
          <p:spPr>
            <a:xfrm>
              <a:off x="5582543" y="2741859"/>
              <a:ext cx="87532" cy="84252"/>
            </a:xfrm>
            <a:custGeom>
              <a:avLst/>
              <a:gdLst>
                <a:gd name="connsiteX0" fmla="*/ 87532 w 87532"/>
                <a:gd name="connsiteY0" fmla="*/ 0 h 84252"/>
                <a:gd name="connsiteX1" fmla="*/ 0 w 87532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87532" y="0"/>
                  </a:moveTo>
                  <a:lnTo>
                    <a:pt x="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12" name="Graphic 6">
            <a:extLst>
              <a:ext uri="{FF2B5EF4-FFF2-40B4-BE49-F238E27FC236}">
                <a16:creationId xmlns:a16="http://schemas.microsoft.com/office/drawing/2014/main" id="{ECFA6B97-CECA-CAD8-476B-647A7B60951A}"/>
              </a:ext>
            </a:extLst>
          </p:cNvPr>
          <p:cNvGrpSpPr/>
          <p:nvPr/>
        </p:nvGrpSpPr>
        <p:grpSpPr>
          <a:xfrm>
            <a:off x="5230343" y="2708372"/>
            <a:ext cx="97536" cy="85344"/>
            <a:chOff x="5618109" y="3003076"/>
            <a:chExt cx="87360" cy="84252"/>
          </a:xfrm>
        </p:grpSpPr>
        <p:sp>
          <p:nvSpPr>
            <p:cNvPr id="913" name="Freeform: Shape 912">
              <a:extLst>
                <a:ext uri="{FF2B5EF4-FFF2-40B4-BE49-F238E27FC236}">
                  <a16:creationId xmlns:a16="http://schemas.microsoft.com/office/drawing/2014/main" id="{38E884EC-1E16-19BE-8C88-CCE84863DD00}"/>
                </a:ext>
              </a:extLst>
            </p:cNvPr>
            <p:cNvSpPr/>
            <p:nvPr/>
          </p:nvSpPr>
          <p:spPr>
            <a:xfrm>
              <a:off x="5618109" y="3003076"/>
              <a:ext cx="87360" cy="84252"/>
            </a:xfrm>
            <a:custGeom>
              <a:avLst/>
              <a:gdLst>
                <a:gd name="connsiteX0" fmla="*/ 0 w 87360"/>
                <a:gd name="connsiteY0" fmla="*/ 0 h 84252"/>
                <a:gd name="connsiteX1" fmla="*/ 87360 w 87360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0" y="0"/>
                  </a:moveTo>
                  <a:lnTo>
                    <a:pt x="87360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14" name="Freeform: Shape 913">
              <a:extLst>
                <a:ext uri="{FF2B5EF4-FFF2-40B4-BE49-F238E27FC236}">
                  <a16:creationId xmlns:a16="http://schemas.microsoft.com/office/drawing/2014/main" id="{654FF823-E125-FEE5-E3D3-C46AB34620E5}"/>
                </a:ext>
              </a:extLst>
            </p:cNvPr>
            <p:cNvSpPr/>
            <p:nvPr/>
          </p:nvSpPr>
          <p:spPr>
            <a:xfrm>
              <a:off x="5618109" y="3003076"/>
              <a:ext cx="87360" cy="84252"/>
            </a:xfrm>
            <a:custGeom>
              <a:avLst/>
              <a:gdLst>
                <a:gd name="connsiteX0" fmla="*/ 87360 w 87360"/>
                <a:gd name="connsiteY0" fmla="*/ 0 h 84252"/>
                <a:gd name="connsiteX1" fmla="*/ 0 w 87360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87360" y="0"/>
                  </a:moveTo>
                  <a:lnTo>
                    <a:pt x="0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15" name="Graphic 6">
            <a:extLst>
              <a:ext uri="{FF2B5EF4-FFF2-40B4-BE49-F238E27FC236}">
                <a16:creationId xmlns:a16="http://schemas.microsoft.com/office/drawing/2014/main" id="{3999CF36-9ED8-BC5F-202B-5BA444A75B99}"/>
              </a:ext>
            </a:extLst>
          </p:cNvPr>
          <p:cNvGrpSpPr/>
          <p:nvPr/>
        </p:nvGrpSpPr>
        <p:grpSpPr>
          <a:xfrm>
            <a:off x="5433811" y="4048108"/>
            <a:ext cx="97536" cy="85344"/>
            <a:chOff x="5789721" y="4133060"/>
            <a:chExt cx="87360" cy="84252"/>
          </a:xfrm>
        </p:grpSpPr>
        <p:sp>
          <p:nvSpPr>
            <p:cNvPr id="916" name="Freeform: Shape 915">
              <a:extLst>
                <a:ext uri="{FF2B5EF4-FFF2-40B4-BE49-F238E27FC236}">
                  <a16:creationId xmlns:a16="http://schemas.microsoft.com/office/drawing/2014/main" id="{4CCEA71F-33B2-F567-6616-57DC4A4EA912}"/>
                </a:ext>
              </a:extLst>
            </p:cNvPr>
            <p:cNvSpPr/>
            <p:nvPr/>
          </p:nvSpPr>
          <p:spPr>
            <a:xfrm>
              <a:off x="5789721" y="4133060"/>
              <a:ext cx="87360" cy="84252"/>
            </a:xfrm>
            <a:custGeom>
              <a:avLst/>
              <a:gdLst>
                <a:gd name="connsiteX0" fmla="*/ 0 w 87360"/>
                <a:gd name="connsiteY0" fmla="*/ 0 h 84252"/>
                <a:gd name="connsiteX1" fmla="*/ 8736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0" y="0"/>
                  </a:moveTo>
                  <a:lnTo>
                    <a:pt x="8736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17" name="Freeform: Shape 916">
              <a:extLst>
                <a:ext uri="{FF2B5EF4-FFF2-40B4-BE49-F238E27FC236}">
                  <a16:creationId xmlns:a16="http://schemas.microsoft.com/office/drawing/2014/main" id="{4740185B-CF53-845C-7E47-E6492D205085}"/>
                </a:ext>
              </a:extLst>
            </p:cNvPr>
            <p:cNvSpPr/>
            <p:nvPr/>
          </p:nvSpPr>
          <p:spPr>
            <a:xfrm>
              <a:off x="5789721" y="4133060"/>
              <a:ext cx="87360" cy="84252"/>
            </a:xfrm>
            <a:custGeom>
              <a:avLst/>
              <a:gdLst>
                <a:gd name="connsiteX0" fmla="*/ 87360 w 87360"/>
                <a:gd name="connsiteY0" fmla="*/ 0 h 84252"/>
                <a:gd name="connsiteX1" fmla="*/ 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87360" y="0"/>
                  </a:moveTo>
                  <a:lnTo>
                    <a:pt x="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18" name="Graphic 6">
            <a:extLst>
              <a:ext uri="{FF2B5EF4-FFF2-40B4-BE49-F238E27FC236}">
                <a16:creationId xmlns:a16="http://schemas.microsoft.com/office/drawing/2014/main" id="{0843C0E4-9C1D-99F8-C1CF-D34B19E4CB52}"/>
              </a:ext>
            </a:extLst>
          </p:cNvPr>
          <p:cNvGrpSpPr/>
          <p:nvPr/>
        </p:nvGrpSpPr>
        <p:grpSpPr>
          <a:xfrm>
            <a:off x="9386737" y="5549426"/>
            <a:ext cx="103780" cy="99892"/>
            <a:chOff x="9075564" y="5088668"/>
            <a:chExt cx="87532" cy="84252"/>
          </a:xfrm>
        </p:grpSpPr>
        <p:sp>
          <p:nvSpPr>
            <p:cNvPr id="919" name="Freeform: Shape 918">
              <a:extLst>
                <a:ext uri="{FF2B5EF4-FFF2-40B4-BE49-F238E27FC236}">
                  <a16:creationId xmlns:a16="http://schemas.microsoft.com/office/drawing/2014/main" id="{794B12A8-7485-5642-C2D2-B0B097A75200}"/>
                </a:ext>
              </a:extLst>
            </p:cNvPr>
            <p:cNvSpPr/>
            <p:nvPr/>
          </p:nvSpPr>
          <p:spPr>
            <a:xfrm>
              <a:off x="9075564" y="5088668"/>
              <a:ext cx="87532" cy="84252"/>
            </a:xfrm>
            <a:custGeom>
              <a:avLst/>
              <a:gdLst>
                <a:gd name="connsiteX0" fmla="*/ 0 w 87532"/>
                <a:gd name="connsiteY0" fmla="*/ 0 h 84252"/>
                <a:gd name="connsiteX1" fmla="*/ 87533 w 87532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0" y="0"/>
                  </a:moveTo>
                  <a:lnTo>
                    <a:pt x="87533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0" name="Freeform: Shape 919">
              <a:extLst>
                <a:ext uri="{FF2B5EF4-FFF2-40B4-BE49-F238E27FC236}">
                  <a16:creationId xmlns:a16="http://schemas.microsoft.com/office/drawing/2014/main" id="{484A94A7-A228-EF5D-9B2C-CCF2AF66B6E7}"/>
                </a:ext>
              </a:extLst>
            </p:cNvPr>
            <p:cNvSpPr/>
            <p:nvPr/>
          </p:nvSpPr>
          <p:spPr>
            <a:xfrm>
              <a:off x="9075564" y="5088668"/>
              <a:ext cx="87532" cy="84252"/>
            </a:xfrm>
            <a:custGeom>
              <a:avLst/>
              <a:gdLst>
                <a:gd name="connsiteX0" fmla="*/ 87533 w 87532"/>
                <a:gd name="connsiteY0" fmla="*/ 0 h 84252"/>
                <a:gd name="connsiteX1" fmla="*/ 0 w 87532"/>
                <a:gd name="connsiteY1" fmla="*/ 84253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532" h="84252">
                  <a:moveTo>
                    <a:pt x="87533" y="0"/>
                  </a:moveTo>
                  <a:lnTo>
                    <a:pt x="0" y="84253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21" name="Graphic 6">
            <a:extLst>
              <a:ext uri="{FF2B5EF4-FFF2-40B4-BE49-F238E27FC236}">
                <a16:creationId xmlns:a16="http://schemas.microsoft.com/office/drawing/2014/main" id="{48055F82-18CE-C786-057B-C743DDFFC852}"/>
              </a:ext>
            </a:extLst>
          </p:cNvPr>
          <p:cNvGrpSpPr/>
          <p:nvPr/>
        </p:nvGrpSpPr>
        <p:grpSpPr>
          <a:xfrm>
            <a:off x="3922951" y="4255464"/>
            <a:ext cx="97536" cy="85344"/>
            <a:chOff x="4515404" y="4307952"/>
            <a:chExt cx="87360" cy="84079"/>
          </a:xfrm>
        </p:grpSpPr>
        <p:sp>
          <p:nvSpPr>
            <p:cNvPr id="922" name="Freeform: Shape 921">
              <a:extLst>
                <a:ext uri="{FF2B5EF4-FFF2-40B4-BE49-F238E27FC236}">
                  <a16:creationId xmlns:a16="http://schemas.microsoft.com/office/drawing/2014/main" id="{1845267C-B843-8F73-002F-8450F9DF6BBE}"/>
                </a:ext>
              </a:extLst>
            </p:cNvPr>
            <p:cNvSpPr/>
            <p:nvPr/>
          </p:nvSpPr>
          <p:spPr>
            <a:xfrm>
              <a:off x="4515404" y="4307952"/>
              <a:ext cx="87360" cy="84079"/>
            </a:xfrm>
            <a:custGeom>
              <a:avLst/>
              <a:gdLst>
                <a:gd name="connsiteX0" fmla="*/ 0 w 87360"/>
                <a:gd name="connsiteY0" fmla="*/ 0 h 84079"/>
                <a:gd name="connsiteX1" fmla="*/ 8736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0" y="0"/>
                  </a:moveTo>
                  <a:lnTo>
                    <a:pt x="8736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3" name="Freeform: Shape 922">
              <a:extLst>
                <a:ext uri="{FF2B5EF4-FFF2-40B4-BE49-F238E27FC236}">
                  <a16:creationId xmlns:a16="http://schemas.microsoft.com/office/drawing/2014/main" id="{174A94DF-C030-1645-EC7D-A4FA2F3403F0}"/>
                </a:ext>
              </a:extLst>
            </p:cNvPr>
            <p:cNvSpPr/>
            <p:nvPr/>
          </p:nvSpPr>
          <p:spPr>
            <a:xfrm>
              <a:off x="4515404" y="4307952"/>
              <a:ext cx="87360" cy="84079"/>
            </a:xfrm>
            <a:custGeom>
              <a:avLst/>
              <a:gdLst>
                <a:gd name="connsiteX0" fmla="*/ 87360 w 87360"/>
                <a:gd name="connsiteY0" fmla="*/ 0 h 84079"/>
                <a:gd name="connsiteX1" fmla="*/ 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87360" y="0"/>
                  </a:moveTo>
                  <a:lnTo>
                    <a:pt x="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24" name="Graphic 6">
            <a:extLst>
              <a:ext uri="{FF2B5EF4-FFF2-40B4-BE49-F238E27FC236}">
                <a16:creationId xmlns:a16="http://schemas.microsoft.com/office/drawing/2014/main" id="{62827DAB-C396-B77C-0755-197123F276A6}"/>
              </a:ext>
            </a:extLst>
          </p:cNvPr>
          <p:cNvGrpSpPr/>
          <p:nvPr/>
        </p:nvGrpSpPr>
        <p:grpSpPr>
          <a:xfrm>
            <a:off x="3412848" y="4358632"/>
            <a:ext cx="97536" cy="85344"/>
            <a:chOff x="4085164" y="4394967"/>
            <a:chExt cx="87360" cy="84079"/>
          </a:xfrm>
        </p:grpSpPr>
        <p:sp>
          <p:nvSpPr>
            <p:cNvPr id="925" name="Freeform: Shape 924">
              <a:extLst>
                <a:ext uri="{FF2B5EF4-FFF2-40B4-BE49-F238E27FC236}">
                  <a16:creationId xmlns:a16="http://schemas.microsoft.com/office/drawing/2014/main" id="{EFC69ACF-A7FF-C365-0D52-2FF902462E11}"/>
                </a:ext>
              </a:extLst>
            </p:cNvPr>
            <p:cNvSpPr/>
            <p:nvPr/>
          </p:nvSpPr>
          <p:spPr>
            <a:xfrm>
              <a:off x="4085164" y="4394967"/>
              <a:ext cx="87360" cy="84079"/>
            </a:xfrm>
            <a:custGeom>
              <a:avLst/>
              <a:gdLst>
                <a:gd name="connsiteX0" fmla="*/ 0 w 87360"/>
                <a:gd name="connsiteY0" fmla="*/ 0 h 84079"/>
                <a:gd name="connsiteX1" fmla="*/ 8736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0" y="0"/>
                  </a:moveTo>
                  <a:lnTo>
                    <a:pt x="8736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6" name="Freeform: Shape 925">
              <a:extLst>
                <a:ext uri="{FF2B5EF4-FFF2-40B4-BE49-F238E27FC236}">
                  <a16:creationId xmlns:a16="http://schemas.microsoft.com/office/drawing/2014/main" id="{DEB96357-1BCB-30C0-EA5E-A8BF5CF0B004}"/>
                </a:ext>
              </a:extLst>
            </p:cNvPr>
            <p:cNvSpPr/>
            <p:nvPr/>
          </p:nvSpPr>
          <p:spPr>
            <a:xfrm>
              <a:off x="4085164" y="4394967"/>
              <a:ext cx="87360" cy="84079"/>
            </a:xfrm>
            <a:custGeom>
              <a:avLst/>
              <a:gdLst>
                <a:gd name="connsiteX0" fmla="*/ 87360 w 87360"/>
                <a:gd name="connsiteY0" fmla="*/ 0 h 84079"/>
                <a:gd name="connsiteX1" fmla="*/ 0 w 87360"/>
                <a:gd name="connsiteY1" fmla="*/ 84080 h 840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079">
                  <a:moveTo>
                    <a:pt x="87360" y="0"/>
                  </a:moveTo>
                  <a:lnTo>
                    <a:pt x="0" y="84080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grpSp>
        <p:nvGrpSpPr>
          <p:cNvPr id="927" name="Graphic 6">
            <a:extLst>
              <a:ext uri="{FF2B5EF4-FFF2-40B4-BE49-F238E27FC236}">
                <a16:creationId xmlns:a16="http://schemas.microsoft.com/office/drawing/2014/main" id="{40154E16-E5FF-ED31-DFA4-761EBEFDAE2B}"/>
              </a:ext>
            </a:extLst>
          </p:cNvPr>
          <p:cNvGrpSpPr/>
          <p:nvPr/>
        </p:nvGrpSpPr>
        <p:grpSpPr>
          <a:xfrm>
            <a:off x="3020800" y="4457455"/>
            <a:ext cx="97536" cy="85344"/>
            <a:chOff x="3748500" y="4481809"/>
            <a:chExt cx="87360" cy="84252"/>
          </a:xfrm>
        </p:grpSpPr>
        <p:sp>
          <p:nvSpPr>
            <p:cNvPr id="928" name="Freeform: Shape 927">
              <a:extLst>
                <a:ext uri="{FF2B5EF4-FFF2-40B4-BE49-F238E27FC236}">
                  <a16:creationId xmlns:a16="http://schemas.microsoft.com/office/drawing/2014/main" id="{5BB6A303-6595-50CE-F273-2659407788DB}"/>
                </a:ext>
              </a:extLst>
            </p:cNvPr>
            <p:cNvSpPr/>
            <p:nvPr/>
          </p:nvSpPr>
          <p:spPr>
            <a:xfrm>
              <a:off x="3748500" y="4481809"/>
              <a:ext cx="87360" cy="84252"/>
            </a:xfrm>
            <a:custGeom>
              <a:avLst/>
              <a:gdLst>
                <a:gd name="connsiteX0" fmla="*/ 0 w 87360"/>
                <a:gd name="connsiteY0" fmla="*/ 0 h 84252"/>
                <a:gd name="connsiteX1" fmla="*/ 8736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0" y="0"/>
                  </a:moveTo>
                  <a:lnTo>
                    <a:pt x="8736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  <p:sp>
          <p:nvSpPr>
            <p:cNvPr id="929" name="Freeform: Shape 928">
              <a:extLst>
                <a:ext uri="{FF2B5EF4-FFF2-40B4-BE49-F238E27FC236}">
                  <a16:creationId xmlns:a16="http://schemas.microsoft.com/office/drawing/2014/main" id="{DD303B52-6C89-9B2D-E739-21CEADE76CC9}"/>
                </a:ext>
              </a:extLst>
            </p:cNvPr>
            <p:cNvSpPr/>
            <p:nvPr/>
          </p:nvSpPr>
          <p:spPr>
            <a:xfrm>
              <a:off x="3748500" y="4481809"/>
              <a:ext cx="87360" cy="84252"/>
            </a:xfrm>
            <a:custGeom>
              <a:avLst/>
              <a:gdLst>
                <a:gd name="connsiteX0" fmla="*/ 87360 w 87360"/>
                <a:gd name="connsiteY0" fmla="*/ 0 h 84252"/>
                <a:gd name="connsiteX1" fmla="*/ 0 w 87360"/>
                <a:gd name="connsiteY1" fmla="*/ 84252 h 842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7360" h="84252">
                  <a:moveTo>
                    <a:pt x="87360" y="0"/>
                  </a:moveTo>
                  <a:lnTo>
                    <a:pt x="0" y="84252"/>
                  </a:lnTo>
                </a:path>
              </a:pathLst>
            </a:custGeom>
            <a:ln w="17264" cap="flat">
              <a:solidFill>
                <a:srgbClr val="1D1D1B"/>
              </a:solidFill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4267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elvetica"/>
                <a:ea typeface="MS PGothic"/>
                <a:cs typeface="+mn-cs"/>
              </a:endParaRPr>
            </a:p>
          </p:txBody>
        </p:sp>
      </p:grpSp>
      <p:sp>
        <p:nvSpPr>
          <p:cNvPr id="930" name="Freeform: Shape 929">
            <a:extLst>
              <a:ext uri="{FF2B5EF4-FFF2-40B4-BE49-F238E27FC236}">
                <a16:creationId xmlns:a16="http://schemas.microsoft.com/office/drawing/2014/main" id="{FF164CED-D3C2-2E37-E065-59F77EA37941}"/>
              </a:ext>
            </a:extLst>
          </p:cNvPr>
          <p:cNvSpPr/>
          <p:nvPr/>
        </p:nvSpPr>
        <p:spPr>
          <a:xfrm>
            <a:off x="10845357" y="761713"/>
            <a:ext cx="175833" cy="69596"/>
          </a:xfrm>
          <a:custGeom>
            <a:avLst/>
            <a:gdLst>
              <a:gd name="connsiteX0" fmla="*/ 148304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4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4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4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1" name="Freeform: Shape 930">
            <a:extLst>
              <a:ext uri="{FF2B5EF4-FFF2-40B4-BE49-F238E27FC236}">
                <a16:creationId xmlns:a16="http://schemas.microsoft.com/office/drawing/2014/main" id="{B40160EF-AA66-65A2-CF43-0C86E69FF9AD}"/>
              </a:ext>
            </a:extLst>
          </p:cNvPr>
          <p:cNvSpPr/>
          <p:nvPr/>
        </p:nvSpPr>
        <p:spPr>
          <a:xfrm>
            <a:off x="8540483" y="864879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2" name="Freeform: Shape 931">
            <a:extLst>
              <a:ext uri="{FF2B5EF4-FFF2-40B4-BE49-F238E27FC236}">
                <a16:creationId xmlns:a16="http://schemas.microsoft.com/office/drawing/2014/main" id="{AAE10677-EE65-0083-9D2B-B09DBB81A805}"/>
              </a:ext>
            </a:extLst>
          </p:cNvPr>
          <p:cNvSpPr/>
          <p:nvPr/>
        </p:nvSpPr>
        <p:spPr>
          <a:xfrm>
            <a:off x="7109455" y="1071418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3" name="Freeform: Shape 932">
            <a:extLst>
              <a:ext uri="{FF2B5EF4-FFF2-40B4-BE49-F238E27FC236}">
                <a16:creationId xmlns:a16="http://schemas.microsoft.com/office/drawing/2014/main" id="{8274ECEE-068A-D019-558F-DA1A331630DD}"/>
              </a:ext>
            </a:extLst>
          </p:cNvPr>
          <p:cNvSpPr/>
          <p:nvPr/>
        </p:nvSpPr>
        <p:spPr>
          <a:xfrm>
            <a:off x="7109455" y="1174789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610 h 58700"/>
              <a:gd name="connsiteX3" fmla="*/ 0 w 148304"/>
              <a:gd name="connsiteY3" fmla="*/ 17610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4" name="Freeform: Shape 933">
            <a:extLst>
              <a:ext uri="{FF2B5EF4-FFF2-40B4-BE49-F238E27FC236}">
                <a16:creationId xmlns:a16="http://schemas.microsoft.com/office/drawing/2014/main" id="{FA053EC1-550E-E1CB-A236-C6E0187F05E5}"/>
              </a:ext>
            </a:extLst>
          </p:cNvPr>
          <p:cNvSpPr/>
          <p:nvPr/>
        </p:nvSpPr>
        <p:spPr>
          <a:xfrm>
            <a:off x="7109455" y="127795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5" name="Freeform: Shape 934">
            <a:extLst>
              <a:ext uri="{FF2B5EF4-FFF2-40B4-BE49-F238E27FC236}">
                <a16:creationId xmlns:a16="http://schemas.microsoft.com/office/drawing/2014/main" id="{57D83E90-2B12-14CD-ECAC-46B4BC6242BE}"/>
              </a:ext>
            </a:extLst>
          </p:cNvPr>
          <p:cNvSpPr/>
          <p:nvPr/>
        </p:nvSpPr>
        <p:spPr>
          <a:xfrm>
            <a:off x="8638532" y="1379486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6" name="Freeform: Shape 935">
            <a:extLst>
              <a:ext uri="{FF2B5EF4-FFF2-40B4-BE49-F238E27FC236}">
                <a16:creationId xmlns:a16="http://schemas.microsoft.com/office/drawing/2014/main" id="{5903101E-75B0-DC20-0425-6FA69B560595}"/>
              </a:ext>
            </a:extLst>
          </p:cNvPr>
          <p:cNvSpPr/>
          <p:nvPr/>
        </p:nvSpPr>
        <p:spPr>
          <a:xfrm>
            <a:off x="8580603" y="148244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7" name="Freeform: Shape 936">
            <a:extLst>
              <a:ext uri="{FF2B5EF4-FFF2-40B4-BE49-F238E27FC236}">
                <a16:creationId xmlns:a16="http://schemas.microsoft.com/office/drawing/2014/main" id="{B2A5EE30-C654-3C0E-4C11-5F2367334AA7}"/>
              </a:ext>
            </a:extLst>
          </p:cNvPr>
          <p:cNvSpPr/>
          <p:nvPr/>
        </p:nvSpPr>
        <p:spPr>
          <a:xfrm>
            <a:off x="7675028" y="1587662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8" name="Freeform: Shape 937">
            <a:extLst>
              <a:ext uri="{FF2B5EF4-FFF2-40B4-BE49-F238E27FC236}">
                <a16:creationId xmlns:a16="http://schemas.microsoft.com/office/drawing/2014/main" id="{6AEE7779-4EED-B196-D1A5-608192039E2A}"/>
              </a:ext>
            </a:extLst>
          </p:cNvPr>
          <p:cNvSpPr/>
          <p:nvPr/>
        </p:nvSpPr>
        <p:spPr>
          <a:xfrm>
            <a:off x="6988683" y="1691033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39" name="Freeform: Shape 938">
            <a:extLst>
              <a:ext uri="{FF2B5EF4-FFF2-40B4-BE49-F238E27FC236}">
                <a16:creationId xmlns:a16="http://schemas.microsoft.com/office/drawing/2014/main" id="{CC6B15F0-BFCB-2127-8812-02CF6AE8B0FE}"/>
              </a:ext>
            </a:extLst>
          </p:cNvPr>
          <p:cNvSpPr/>
          <p:nvPr/>
        </p:nvSpPr>
        <p:spPr>
          <a:xfrm>
            <a:off x="6975992" y="1794199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0" name="Freeform: Shape 939">
            <a:extLst>
              <a:ext uri="{FF2B5EF4-FFF2-40B4-BE49-F238E27FC236}">
                <a16:creationId xmlns:a16="http://schemas.microsoft.com/office/drawing/2014/main" id="{8B172C63-FFA2-D84E-F553-E86457EED91D}"/>
              </a:ext>
            </a:extLst>
          </p:cNvPr>
          <p:cNvSpPr/>
          <p:nvPr/>
        </p:nvSpPr>
        <p:spPr>
          <a:xfrm>
            <a:off x="6775387" y="1897571"/>
            <a:ext cx="175835" cy="69596"/>
          </a:xfrm>
          <a:custGeom>
            <a:avLst/>
            <a:gdLst>
              <a:gd name="connsiteX0" fmla="*/ 148305 w 148305"/>
              <a:gd name="connsiteY0" fmla="*/ 29350 h 58700"/>
              <a:gd name="connsiteX1" fmla="*/ 79936 w 148305"/>
              <a:gd name="connsiteY1" fmla="*/ 0 h 58700"/>
              <a:gd name="connsiteX2" fmla="*/ 79936 w 148305"/>
              <a:gd name="connsiteY2" fmla="*/ 17610 h 58700"/>
              <a:gd name="connsiteX3" fmla="*/ 0 w 148305"/>
              <a:gd name="connsiteY3" fmla="*/ 17610 h 58700"/>
              <a:gd name="connsiteX4" fmla="*/ 0 w 148305"/>
              <a:gd name="connsiteY4" fmla="*/ 40918 h 58700"/>
              <a:gd name="connsiteX5" fmla="*/ 79936 w 148305"/>
              <a:gd name="connsiteY5" fmla="*/ 40918 h 58700"/>
              <a:gd name="connsiteX6" fmla="*/ 79936 w 148305"/>
              <a:gd name="connsiteY6" fmla="*/ 58700 h 58700"/>
              <a:gd name="connsiteX7" fmla="*/ 148305 w 148305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5" h="58700">
                <a:moveTo>
                  <a:pt x="148305" y="29350"/>
                </a:moveTo>
                <a:lnTo>
                  <a:pt x="79936" y="0"/>
                </a:lnTo>
                <a:lnTo>
                  <a:pt x="79936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1" name="Freeform: Shape 940">
            <a:extLst>
              <a:ext uri="{FF2B5EF4-FFF2-40B4-BE49-F238E27FC236}">
                <a16:creationId xmlns:a16="http://schemas.microsoft.com/office/drawing/2014/main" id="{E921A512-64B3-3FF0-37A3-F6F11B52909A}"/>
              </a:ext>
            </a:extLst>
          </p:cNvPr>
          <p:cNvSpPr/>
          <p:nvPr/>
        </p:nvSpPr>
        <p:spPr>
          <a:xfrm>
            <a:off x="6394656" y="200073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2" name="Freeform: Shape 941">
            <a:extLst>
              <a:ext uri="{FF2B5EF4-FFF2-40B4-BE49-F238E27FC236}">
                <a16:creationId xmlns:a16="http://schemas.microsoft.com/office/drawing/2014/main" id="{CE95D74F-2BF6-4F0C-D300-920CF301D556}"/>
              </a:ext>
            </a:extLst>
          </p:cNvPr>
          <p:cNvSpPr/>
          <p:nvPr/>
        </p:nvSpPr>
        <p:spPr>
          <a:xfrm>
            <a:off x="6394656" y="2103905"/>
            <a:ext cx="175833" cy="69801"/>
          </a:xfrm>
          <a:custGeom>
            <a:avLst/>
            <a:gdLst>
              <a:gd name="connsiteX0" fmla="*/ 148305 w 148304"/>
              <a:gd name="connsiteY0" fmla="*/ 29523 h 58873"/>
              <a:gd name="connsiteX1" fmla="*/ 79936 w 148304"/>
              <a:gd name="connsiteY1" fmla="*/ 0 h 58873"/>
              <a:gd name="connsiteX2" fmla="*/ 79936 w 148304"/>
              <a:gd name="connsiteY2" fmla="*/ 17783 h 58873"/>
              <a:gd name="connsiteX3" fmla="*/ 0 w 148304"/>
              <a:gd name="connsiteY3" fmla="*/ 17783 h 58873"/>
              <a:gd name="connsiteX4" fmla="*/ 0 w 148304"/>
              <a:gd name="connsiteY4" fmla="*/ 41090 h 58873"/>
              <a:gd name="connsiteX5" fmla="*/ 79936 w 148304"/>
              <a:gd name="connsiteY5" fmla="*/ 41090 h 58873"/>
              <a:gd name="connsiteX6" fmla="*/ 79936 w 148304"/>
              <a:gd name="connsiteY6" fmla="*/ 58873 h 58873"/>
              <a:gd name="connsiteX7" fmla="*/ 148305 w 148304"/>
              <a:gd name="connsiteY7" fmla="*/ 29523 h 5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3">
                <a:moveTo>
                  <a:pt x="148305" y="29523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305" y="29523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3" name="Freeform: Shape 942">
            <a:extLst>
              <a:ext uri="{FF2B5EF4-FFF2-40B4-BE49-F238E27FC236}">
                <a16:creationId xmlns:a16="http://schemas.microsoft.com/office/drawing/2014/main" id="{872A061D-00DB-598A-85BC-7F582160DA0D}"/>
              </a:ext>
            </a:extLst>
          </p:cNvPr>
          <p:cNvSpPr/>
          <p:nvPr/>
        </p:nvSpPr>
        <p:spPr>
          <a:xfrm>
            <a:off x="6067347" y="2207277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4" name="Freeform: Shape 943">
            <a:extLst>
              <a:ext uri="{FF2B5EF4-FFF2-40B4-BE49-F238E27FC236}">
                <a16:creationId xmlns:a16="http://schemas.microsoft.com/office/drawing/2014/main" id="{00B0C7D5-B02B-991A-9156-C4FBFDDF8A10}"/>
              </a:ext>
            </a:extLst>
          </p:cNvPr>
          <p:cNvSpPr/>
          <p:nvPr/>
        </p:nvSpPr>
        <p:spPr>
          <a:xfrm>
            <a:off x="8044914" y="3033223"/>
            <a:ext cx="170688" cy="73152"/>
          </a:xfrm>
          <a:custGeom>
            <a:avLst/>
            <a:gdLst>
              <a:gd name="connsiteX0" fmla="*/ 148478 w 148477"/>
              <a:gd name="connsiteY0" fmla="*/ 29350 h 58873"/>
              <a:gd name="connsiteX1" fmla="*/ 79936 w 148477"/>
              <a:gd name="connsiteY1" fmla="*/ 0 h 58873"/>
              <a:gd name="connsiteX2" fmla="*/ 79936 w 148477"/>
              <a:gd name="connsiteY2" fmla="*/ 17783 h 58873"/>
              <a:gd name="connsiteX3" fmla="*/ 0 w 148477"/>
              <a:gd name="connsiteY3" fmla="*/ 17783 h 58873"/>
              <a:gd name="connsiteX4" fmla="*/ 0 w 148477"/>
              <a:gd name="connsiteY4" fmla="*/ 41090 h 58873"/>
              <a:gd name="connsiteX5" fmla="*/ 79936 w 148477"/>
              <a:gd name="connsiteY5" fmla="*/ 41090 h 58873"/>
              <a:gd name="connsiteX6" fmla="*/ 79936 w 148477"/>
              <a:gd name="connsiteY6" fmla="*/ 58873 h 58873"/>
              <a:gd name="connsiteX7" fmla="*/ 148478 w 148477"/>
              <a:gd name="connsiteY7" fmla="*/ 29350 h 5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873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5" name="Freeform: Shape 944">
            <a:extLst>
              <a:ext uri="{FF2B5EF4-FFF2-40B4-BE49-F238E27FC236}">
                <a16:creationId xmlns:a16="http://schemas.microsoft.com/office/drawing/2014/main" id="{43430009-ADA8-1688-C0C9-78B6BCF8666F}"/>
              </a:ext>
            </a:extLst>
          </p:cNvPr>
          <p:cNvSpPr/>
          <p:nvPr/>
        </p:nvSpPr>
        <p:spPr>
          <a:xfrm>
            <a:off x="7144251" y="3136391"/>
            <a:ext cx="170688" cy="73152"/>
          </a:xfrm>
          <a:custGeom>
            <a:avLst/>
            <a:gdLst>
              <a:gd name="connsiteX0" fmla="*/ 148478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0918 h 58700"/>
              <a:gd name="connsiteX5" fmla="*/ 79936 w 148477"/>
              <a:gd name="connsiteY5" fmla="*/ 40918 h 58700"/>
              <a:gd name="connsiteX6" fmla="*/ 79936 w 148477"/>
              <a:gd name="connsiteY6" fmla="*/ 58700 h 58700"/>
              <a:gd name="connsiteX7" fmla="*/ 148478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6" name="Freeform: Shape 945">
            <a:extLst>
              <a:ext uri="{FF2B5EF4-FFF2-40B4-BE49-F238E27FC236}">
                <a16:creationId xmlns:a16="http://schemas.microsoft.com/office/drawing/2014/main" id="{8EC50237-A327-1E0E-AD9D-44E353C393E6}"/>
              </a:ext>
            </a:extLst>
          </p:cNvPr>
          <p:cNvSpPr/>
          <p:nvPr/>
        </p:nvSpPr>
        <p:spPr>
          <a:xfrm>
            <a:off x="6836388" y="3239353"/>
            <a:ext cx="170688" cy="73152"/>
          </a:xfrm>
          <a:custGeom>
            <a:avLst/>
            <a:gdLst>
              <a:gd name="connsiteX0" fmla="*/ 148305 w 148304"/>
              <a:gd name="connsiteY0" fmla="*/ 29523 h 58872"/>
              <a:gd name="connsiteX1" fmla="*/ 79936 w 148304"/>
              <a:gd name="connsiteY1" fmla="*/ 0 h 58872"/>
              <a:gd name="connsiteX2" fmla="*/ 79936 w 148304"/>
              <a:gd name="connsiteY2" fmla="*/ 17783 h 58872"/>
              <a:gd name="connsiteX3" fmla="*/ 0 w 148304"/>
              <a:gd name="connsiteY3" fmla="*/ 17783 h 58872"/>
              <a:gd name="connsiteX4" fmla="*/ 0 w 148304"/>
              <a:gd name="connsiteY4" fmla="*/ 41090 h 58872"/>
              <a:gd name="connsiteX5" fmla="*/ 79936 w 148304"/>
              <a:gd name="connsiteY5" fmla="*/ 41090 h 58872"/>
              <a:gd name="connsiteX6" fmla="*/ 79936 w 148304"/>
              <a:gd name="connsiteY6" fmla="*/ 58873 h 58872"/>
              <a:gd name="connsiteX7" fmla="*/ 148305 w 148304"/>
              <a:gd name="connsiteY7" fmla="*/ 29523 h 58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2">
                <a:moveTo>
                  <a:pt x="148305" y="29523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305" y="29523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7" name="Freeform: Shape 946">
            <a:extLst>
              <a:ext uri="{FF2B5EF4-FFF2-40B4-BE49-F238E27FC236}">
                <a16:creationId xmlns:a16="http://schemas.microsoft.com/office/drawing/2014/main" id="{D0C2ADB0-073F-F9E5-94D2-4FA46D259DB9}"/>
              </a:ext>
            </a:extLst>
          </p:cNvPr>
          <p:cNvSpPr/>
          <p:nvPr/>
        </p:nvSpPr>
        <p:spPr>
          <a:xfrm>
            <a:off x="6423516" y="3445687"/>
            <a:ext cx="170688" cy="73152"/>
          </a:xfrm>
          <a:custGeom>
            <a:avLst/>
            <a:gdLst>
              <a:gd name="connsiteX0" fmla="*/ 148305 w 148305"/>
              <a:gd name="connsiteY0" fmla="*/ 29350 h 58700"/>
              <a:gd name="connsiteX1" fmla="*/ 79764 w 148305"/>
              <a:gd name="connsiteY1" fmla="*/ 0 h 58700"/>
              <a:gd name="connsiteX2" fmla="*/ 79764 w 148305"/>
              <a:gd name="connsiteY2" fmla="*/ 17610 h 58700"/>
              <a:gd name="connsiteX3" fmla="*/ 0 w 148305"/>
              <a:gd name="connsiteY3" fmla="*/ 17610 h 58700"/>
              <a:gd name="connsiteX4" fmla="*/ 0 w 148305"/>
              <a:gd name="connsiteY4" fmla="*/ 40918 h 58700"/>
              <a:gd name="connsiteX5" fmla="*/ 79764 w 148305"/>
              <a:gd name="connsiteY5" fmla="*/ 40918 h 58700"/>
              <a:gd name="connsiteX6" fmla="*/ 79764 w 148305"/>
              <a:gd name="connsiteY6" fmla="*/ 58700 h 58700"/>
              <a:gd name="connsiteX7" fmla="*/ 148305 w 148305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5" h="58700">
                <a:moveTo>
                  <a:pt x="148305" y="29350"/>
                </a:moveTo>
                <a:lnTo>
                  <a:pt x="79764" y="0"/>
                </a:lnTo>
                <a:lnTo>
                  <a:pt x="79764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764" y="40918"/>
                </a:lnTo>
                <a:lnTo>
                  <a:pt x="79764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8" name="Freeform: Shape 947">
            <a:extLst>
              <a:ext uri="{FF2B5EF4-FFF2-40B4-BE49-F238E27FC236}">
                <a16:creationId xmlns:a16="http://schemas.microsoft.com/office/drawing/2014/main" id="{CCF131A5-8727-DED2-61C1-22D82DE6AFCA}"/>
              </a:ext>
            </a:extLst>
          </p:cNvPr>
          <p:cNvSpPr/>
          <p:nvPr/>
        </p:nvSpPr>
        <p:spPr>
          <a:xfrm>
            <a:off x="6254027" y="3548649"/>
            <a:ext cx="170688" cy="73152"/>
          </a:xfrm>
          <a:custGeom>
            <a:avLst/>
            <a:gdLst>
              <a:gd name="connsiteX0" fmla="*/ 148305 w 148305"/>
              <a:gd name="connsiteY0" fmla="*/ 29350 h 58700"/>
              <a:gd name="connsiteX1" fmla="*/ 79764 w 148305"/>
              <a:gd name="connsiteY1" fmla="*/ 0 h 58700"/>
              <a:gd name="connsiteX2" fmla="*/ 79764 w 148305"/>
              <a:gd name="connsiteY2" fmla="*/ 17783 h 58700"/>
              <a:gd name="connsiteX3" fmla="*/ 0 w 148305"/>
              <a:gd name="connsiteY3" fmla="*/ 17783 h 58700"/>
              <a:gd name="connsiteX4" fmla="*/ 0 w 148305"/>
              <a:gd name="connsiteY4" fmla="*/ 40918 h 58700"/>
              <a:gd name="connsiteX5" fmla="*/ 79764 w 148305"/>
              <a:gd name="connsiteY5" fmla="*/ 40918 h 58700"/>
              <a:gd name="connsiteX6" fmla="*/ 79764 w 148305"/>
              <a:gd name="connsiteY6" fmla="*/ 58700 h 58700"/>
              <a:gd name="connsiteX7" fmla="*/ 148305 w 148305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5" h="58700">
                <a:moveTo>
                  <a:pt x="148305" y="29350"/>
                </a:moveTo>
                <a:lnTo>
                  <a:pt x="79764" y="0"/>
                </a:lnTo>
                <a:lnTo>
                  <a:pt x="79764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4" y="40918"/>
                </a:lnTo>
                <a:lnTo>
                  <a:pt x="79764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49" name="Freeform: Shape 948">
            <a:extLst>
              <a:ext uri="{FF2B5EF4-FFF2-40B4-BE49-F238E27FC236}">
                <a16:creationId xmlns:a16="http://schemas.microsoft.com/office/drawing/2014/main" id="{CF273CA6-2AF2-BB39-AD2A-0B7FADCAFA7D}"/>
              </a:ext>
            </a:extLst>
          </p:cNvPr>
          <p:cNvSpPr/>
          <p:nvPr/>
        </p:nvSpPr>
        <p:spPr>
          <a:xfrm>
            <a:off x="6178495" y="3651815"/>
            <a:ext cx="170688" cy="73152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0" name="Freeform: Shape 949">
            <a:extLst>
              <a:ext uri="{FF2B5EF4-FFF2-40B4-BE49-F238E27FC236}">
                <a16:creationId xmlns:a16="http://schemas.microsoft.com/office/drawing/2014/main" id="{DB61345A-5113-0923-445B-861D9E4CE50A}"/>
              </a:ext>
            </a:extLst>
          </p:cNvPr>
          <p:cNvSpPr/>
          <p:nvPr/>
        </p:nvSpPr>
        <p:spPr>
          <a:xfrm>
            <a:off x="6103167" y="3754776"/>
            <a:ext cx="170688" cy="73152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1" name="Freeform: Shape 950">
            <a:extLst>
              <a:ext uri="{FF2B5EF4-FFF2-40B4-BE49-F238E27FC236}">
                <a16:creationId xmlns:a16="http://schemas.microsoft.com/office/drawing/2014/main" id="{34509FBC-8302-4B8F-1509-3488785AC0EA}"/>
              </a:ext>
            </a:extLst>
          </p:cNvPr>
          <p:cNvSpPr/>
          <p:nvPr/>
        </p:nvSpPr>
        <p:spPr>
          <a:xfrm>
            <a:off x="6047900" y="3857944"/>
            <a:ext cx="170688" cy="73152"/>
          </a:xfrm>
          <a:custGeom>
            <a:avLst/>
            <a:gdLst>
              <a:gd name="connsiteX0" fmla="*/ 148477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0918 h 58700"/>
              <a:gd name="connsiteX5" fmla="*/ 79936 w 148477"/>
              <a:gd name="connsiteY5" fmla="*/ 40918 h 58700"/>
              <a:gd name="connsiteX6" fmla="*/ 79936 w 148477"/>
              <a:gd name="connsiteY6" fmla="*/ 58700 h 58700"/>
              <a:gd name="connsiteX7" fmla="*/ 148477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7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477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2" name="Freeform: Shape 951">
            <a:extLst>
              <a:ext uri="{FF2B5EF4-FFF2-40B4-BE49-F238E27FC236}">
                <a16:creationId xmlns:a16="http://schemas.microsoft.com/office/drawing/2014/main" id="{F15E2D68-6771-1A6B-5F80-E8A41B9535E3}"/>
              </a:ext>
            </a:extLst>
          </p:cNvPr>
          <p:cNvSpPr/>
          <p:nvPr/>
        </p:nvSpPr>
        <p:spPr>
          <a:xfrm>
            <a:off x="5927332" y="3960908"/>
            <a:ext cx="170688" cy="73152"/>
          </a:xfrm>
          <a:custGeom>
            <a:avLst/>
            <a:gdLst>
              <a:gd name="connsiteX0" fmla="*/ 148305 w 148304"/>
              <a:gd name="connsiteY0" fmla="*/ 29350 h 58872"/>
              <a:gd name="connsiteX1" fmla="*/ 79763 w 148304"/>
              <a:gd name="connsiteY1" fmla="*/ 0 h 58872"/>
              <a:gd name="connsiteX2" fmla="*/ 79763 w 148304"/>
              <a:gd name="connsiteY2" fmla="*/ 17783 h 58872"/>
              <a:gd name="connsiteX3" fmla="*/ 0 w 148304"/>
              <a:gd name="connsiteY3" fmla="*/ 17783 h 58872"/>
              <a:gd name="connsiteX4" fmla="*/ 0 w 148304"/>
              <a:gd name="connsiteY4" fmla="*/ 41090 h 58872"/>
              <a:gd name="connsiteX5" fmla="*/ 79763 w 148304"/>
              <a:gd name="connsiteY5" fmla="*/ 41090 h 58872"/>
              <a:gd name="connsiteX6" fmla="*/ 79763 w 148304"/>
              <a:gd name="connsiteY6" fmla="*/ 58873 h 58872"/>
              <a:gd name="connsiteX7" fmla="*/ 148305 w 148304"/>
              <a:gd name="connsiteY7" fmla="*/ 29350 h 588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2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873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3" name="Freeform: Shape 952">
            <a:extLst>
              <a:ext uri="{FF2B5EF4-FFF2-40B4-BE49-F238E27FC236}">
                <a16:creationId xmlns:a16="http://schemas.microsoft.com/office/drawing/2014/main" id="{EC31C7EA-E1D9-DFFB-DA1E-48445BE053A6}"/>
              </a:ext>
            </a:extLst>
          </p:cNvPr>
          <p:cNvSpPr/>
          <p:nvPr/>
        </p:nvSpPr>
        <p:spPr>
          <a:xfrm>
            <a:off x="7626106" y="4580114"/>
            <a:ext cx="176037" cy="69596"/>
          </a:xfrm>
          <a:custGeom>
            <a:avLst/>
            <a:gdLst>
              <a:gd name="connsiteX0" fmla="*/ 148478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0918 h 58700"/>
              <a:gd name="connsiteX5" fmla="*/ 79936 w 148477"/>
              <a:gd name="connsiteY5" fmla="*/ 40918 h 58700"/>
              <a:gd name="connsiteX6" fmla="*/ 79936 w 148477"/>
              <a:gd name="connsiteY6" fmla="*/ 58700 h 58700"/>
              <a:gd name="connsiteX7" fmla="*/ 148478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4" name="Freeform: Shape 953">
            <a:extLst>
              <a:ext uri="{FF2B5EF4-FFF2-40B4-BE49-F238E27FC236}">
                <a16:creationId xmlns:a16="http://schemas.microsoft.com/office/drawing/2014/main" id="{C71EFD29-96F7-C6C4-6B27-1B040E33F1FC}"/>
              </a:ext>
            </a:extLst>
          </p:cNvPr>
          <p:cNvSpPr/>
          <p:nvPr/>
        </p:nvSpPr>
        <p:spPr>
          <a:xfrm>
            <a:off x="7415063" y="4682462"/>
            <a:ext cx="176037" cy="69596"/>
          </a:xfrm>
          <a:custGeom>
            <a:avLst/>
            <a:gdLst>
              <a:gd name="connsiteX0" fmla="*/ 148478 w 148477"/>
              <a:gd name="connsiteY0" fmla="*/ 29350 h 58700"/>
              <a:gd name="connsiteX1" fmla="*/ 79936 w 148477"/>
              <a:gd name="connsiteY1" fmla="*/ 0 h 58700"/>
              <a:gd name="connsiteX2" fmla="*/ 79936 w 148477"/>
              <a:gd name="connsiteY2" fmla="*/ 17783 h 58700"/>
              <a:gd name="connsiteX3" fmla="*/ 0 w 148477"/>
              <a:gd name="connsiteY3" fmla="*/ 17783 h 58700"/>
              <a:gd name="connsiteX4" fmla="*/ 0 w 148477"/>
              <a:gd name="connsiteY4" fmla="*/ 41090 h 58700"/>
              <a:gd name="connsiteX5" fmla="*/ 79936 w 148477"/>
              <a:gd name="connsiteY5" fmla="*/ 41090 h 58700"/>
              <a:gd name="connsiteX6" fmla="*/ 79936 w 148477"/>
              <a:gd name="connsiteY6" fmla="*/ 58700 h 58700"/>
              <a:gd name="connsiteX7" fmla="*/ 148478 w 148477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477" h="58700">
                <a:moveTo>
                  <a:pt x="148478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700"/>
                </a:lnTo>
                <a:lnTo>
                  <a:pt x="148478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5" name="Freeform: Shape 954">
            <a:extLst>
              <a:ext uri="{FF2B5EF4-FFF2-40B4-BE49-F238E27FC236}">
                <a16:creationId xmlns:a16="http://schemas.microsoft.com/office/drawing/2014/main" id="{6E9B81D6-1626-5688-EA86-F63C6AF2AE6A}"/>
              </a:ext>
            </a:extLst>
          </p:cNvPr>
          <p:cNvSpPr/>
          <p:nvPr/>
        </p:nvSpPr>
        <p:spPr>
          <a:xfrm>
            <a:off x="7273824" y="4785015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6" name="Freeform: Shape 955">
            <a:extLst>
              <a:ext uri="{FF2B5EF4-FFF2-40B4-BE49-F238E27FC236}">
                <a16:creationId xmlns:a16="http://schemas.microsoft.com/office/drawing/2014/main" id="{6492B93C-D811-E133-0068-BA6A101FEFC8}"/>
              </a:ext>
            </a:extLst>
          </p:cNvPr>
          <p:cNvSpPr/>
          <p:nvPr/>
        </p:nvSpPr>
        <p:spPr>
          <a:xfrm>
            <a:off x="9350711" y="5366838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7" name="Freeform: Shape 956">
            <a:extLst>
              <a:ext uri="{FF2B5EF4-FFF2-40B4-BE49-F238E27FC236}">
                <a16:creationId xmlns:a16="http://schemas.microsoft.com/office/drawing/2014/main" id="{432F5CAC-302D-BAE7-F96B-D8DC63D9C45B}"/>
              </a:ext>
            </a:extLst>
          </p:cNvPr>
          <p:cNvSpPr/>
          <p:nvPr/>
        </p:nvSpPr>
        <p:spPr>
          <a:xfrm>
            <a:off x="5957016" y="4887362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0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0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8" name="Freeform: Shape 957">
            <a:extLst>
              <a:ext uri="{FF2B5EF4-FFF2-40B4-BE49-F238E27FC236}">
                <a16:creationId xmlns:a16="http://schemas.microsoft.com/office/drawing/2014/main" id="{A041BE54-AFE5-DA2F-C0E0-D9FB38DEE066}"/>
              </a:ext>
            </a:extLst>
          </p:cNvPr>
          <p:cNvSpPr/>
          <p:nvPr/>
        </p:nvSpPr>
        <p:spPr>
          <a:xfrm>
            <a:off x="5898064" y="4989712"/>
            <a:ext cx="175833" cy="69801"/>
          </a:xfrm>
          <a:custGeom>
            <a:avLst/>
            <a:gdLst>
              <a:gd name="connsiteX0" fmla="*/ 148305 w 148304"/>
              <a:gd name="connsiteY0" fmla="*/ 29523 h 58873"/>
              <a:gd name="connsiteX1" fmla="*/ 79936 w 148304"/>
              <a:gd name="connsiteY1" fmla="*/ 0 h 58873"/>
              <a:gd name="connsiteX2" fmla="*/ 79936 w 148304"/>
              <a:gd name="connsiteY2" fmla="*/ 17783 h 58873"/>
              <a:gd name="connsiteX3" fmla="*/ 0 w 148304"/>
              <a:gd name="connsiteY3" fmla="*/ 17783 h 58873"/>
              <a:gd name="connsiteX4" fmla="*/ 0 w 148304"/>
              <a:gd name="connsiteY4" fmla="*/ 41090 h 58873"/>
              <a:gd name="connsiteX5" fmla="*/ 79936 w 148304"/>
              <a:gd name="connsiteY5" fmla="*/ 41090 h 58873"/>
              <a:gd name="connsiteX6" fmla="*/ 79936 w 148304"/>
              <a:gd name="connsiteY6" fmla="*/ 58873 h 58873"/>
              <a:gd name="connsiteX7" fmla="*/ 148305 w 148304"/>
              <a:gd name="connsiteY7" fmla="*/ 29523 h 58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873">
                <a:moveTo>
                  <a:pt x="148305" y="29523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936" y="41090"/>
                </a:lnTo>
                <a:lnTo>
                  <a:pt x="79936" y="58873"/>
                </a:lnTo>
                <a:lnTo>
                  <a:pt x="148305" y="29523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59" name="Freeform: Shape 958">
            <a:extLst>
              <a:ext uri="{FF2B5EF4-FFF2-40B4-BE49-F238E27FC236}">
                <a16:creationId xmlns:a16="http://schemas.microsoft.com/office/drawing/2014/main" id="{1C466498-C333-04F4-445F-B97A60AE41EE}"/>
              </a:ext>
            </a:extLst>
          </p:cNvPr>
          <p:cNvSpPr/>
          <p:nvPr/>
        </p:nvSpPr>
        <p:spPr>
          <a:xfrm>
            <a:off x="5898064" y="5092263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936 w 148304"/>
              <a:gd name="connsiteY1" fmla="*/ 0 h 58700"/>
              <a:gd name="connsiteX2" fmla="*/ 79936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936 w 148304"/>
              <a:gd name="connsiteY5" fmla="*/ 40918 h 58700"/>
              <a:gd name="connsiteX6" fmla="*/ 79936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936" y="0"/>
                </a:lnTo>
                <a:lnTo>
                  <a:pt x="79936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936" y="40918"/>
                </a:lnTo>
                <a:lnTo>
                  <a:pt x="79936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0" name="Freeform: Shape 959">
            <a:extLst>
              <a:ext uri="{FF2B5EF4-FFF2-40B4-BE49-F238E27FC236}">
                <a16:creationId xmlns:a16="http://schemas.microsoft.com/office/drawing/2014/main" id="{0492AE10-2046-770E-C3C9-B2D5CBA811C0}"/>
              </a:ext>
            </a:extLst>
          </p:cNvPr>
          <p:cNvSpPr/>
          <p:nvPr/>
        </p:nvSpPr>
        <p:spPr>
          <a:xfrm>
            <a:off x="5735739" y="5194611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1 h 58700"/>
              <a:gd name="connsiteX5" fmla="*/ 79763 w 148304"/>
              <a:gd name="connsiteY5" fmla="*/ 41091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1"/>
                </a:lnTo>
                <a:lnTo>
                  <a:pt x="79763" y="41091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1" name="Freeform: Shape 960">
            <a:extLst>
              <a:ext uri="{FF2B5EF4-FFF2-40B4-BE49-F238E27FC236}">
                <a16:creationId xmlns:a16="http://schemas.microsoft.com/office/drawing/2014/main" id="{14E5B219-5B96-EBF1-A4D1-CB70F0CD3DAB}"/>
              </a:ext>
            </a:extLst>
          </p:cNvPr>
          <p:cNvSpPr/>
          <p:nvPr/>
        </p:nvSpPr>
        <p:spPr>
          <a:xfrm>
            <a:off x="5735739" y="5297165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610 h 58700"/>
              <a:gd name="connsiteX3" fmla="*/ 0 w 148304"/>
              <a:gd name="connsiteY3" fmla="*/ 17610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610"/>
                </a:lnTo>
                <a:lnTo>
                  <a:pt x="0" y="17610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2" name="Freeform: Shape 961">
            <a:extLst>
              <a:ext uri="{FF2B5EF4-FFF2-40B4-BE49-F238E27FC236}">
                <a16:creationId xmlns:a16="http://schemas.microsoft.com/office/drawing/2014/main" id="{95C478FE-17E1-2D4F-F926-4C022E61991C}"/>
              </a:ext>
            </a:extLst>
          </p:cNvPr>
          <p:cNvSpPr/>
          <p:nvPr/>
        </p:nvSpPr>
        <p:spPr>
          <a:xfrm>
            <a:off x="5735739" y="5399511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0918 h 58700"/>
              <a:gd name="connsiteX5" fmla="*/ 79763 w 148304"/>
              <a:gd name="connsiteY5" fmla="*/ 40918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0918"/>
                </a:lnTo>
                <a:lnTo>
                  <a:pt x="79763" y="40918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3" name="Freeform: Shape 962">
            <a:extLst>
              <a:ext uri="{FF2B5EF4-FFF2-40B4-BE49-F238E27FC236}">
                <a16:creationId xmlns:a16="http://schemas.microsoft.com/office/drawing/2014/main" id="{D884525B-7AB5-FEBC-AEA8-15F90455E909}"/>
              </a:ext>
            </a:extLst>
          </p:cNvPr>
          <p:cNvSpPr/>
          <p:nvPr/>
        </p:nvSpPr>
        <p:spPr>
          <a:xfrm>
            <a:off x="5735739" y="5501861"/>
            <a:ext cx="175833" cy="69596"/>
          </a:xfrm>
          <a:custGeom>
            <a:avLst/>
            <a:gdLst>
              <a:gd name="connsiteX0" fmla="*/ 148305 w 148304"/>
              <a:gd name="connsiteY0" fmla="*/ 29350 h 58700"/>
              <a:gd name="connsiteX1" fmla="*/ 79763 w 148304"/>
              <a:gd name="connsiteY1" fmla="*/ 0 h 58700"/>
              <a:gd name="connsiteX2" fmla="*/ 79763 w 148304"/>
              <a:gd name="connsiteY2" fmla="*/ 17783 h 58700"/>
              <a:gd name="connsiteX3" fmla="*/ 0 w 148304"/>
              <a:gd name="connsiteY3" fmla="*/ 17783 h 58700"/>
              <a:gd name="connsiteX4" fmla="*/ 0 w 148304"/>
              <a:gd name="connsiteY4" fmla="*/ 41090 h 58700"/>
              <a:gd name="connsiteX5" fmla="*/ 79763 w 148304"/>
              <a:gd name="connsiteY5" fmla="*/ 41090 h 58700"/>
              <a:gd name="connsiteX6" fmla="*/ 79763 w 148304"/>
              <a:gd name="connsiteY6" fmla="*/ 58701 h 58700"/>
              <a:gd name="connsiteX7" fmla="*/ 148305 w 148304"/>
              <a:gd name="connsiteY7" fmla="*/ 29350 h 58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304" h="58700">
                <a:moveTo>
                  <a:pt x="148305" y="29350"/>
                </a:moveTo>
                <a:lnTo>
                  <a:pt x="79763" y="0"/>
                </a:lnTo>
                <a:lnTo>
                  <a:pt x="79763" y="17783"/>
                </a:lnTo>
                <a:lnTo>
                  <a:pt x="0" y="17783"/>
                </a:lnTo>
                <a:lnTo>
                  <a:pt x="0" y="41090"/>
                </a:lnTo>
                <a:lnTo>
                  <a:pt x="79763" y="41090"/>
                </a:lnTo>
                <a:lnTo>
                  <a:pt x="79763" y="58701"/>
                </a:lnTo>
                <a:lnTo>
                  <a:pt x="148305" y="29350"/>
                </a:ln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4" name="Freeform: Shape 963">
            <a:extLst>
              <a:ext uri="{FF2B5EF4-FFF2-40B4-BE49-F238E27FC236}">
                <a16:creationId xmlns:a16="http://schemas.microsoft.com/office/drawing/2014/main" id="{150C9461-16D8-F257-349C-898703F52692}"/>
              </a:ext>
            </a:extLst>
          </p:cNvPr>
          <p:cNvSpPr/>
          <p:nvPr/>
        </p:nvSpPr>
        <p:spPr>
          <a:xfrm>
            <a:off x="9389398" y="4561768"/>
            <a:ext cx="98663" cy="86995"/>
          </a:xfrm>
          <a:custGeom>
            <a:avLst/>
            <a:gdLst>
              <a:gd name="connsiteX0" fmla="*/ 41608 w 83216"/>
              <a:gd name="connsiteY0" fmla="*/ 0 h 73375"/>
              <a:gd name="connsiteX1" fmla="*/ 0 w 83216"/>
              <a:gd name="connsiteY1" fmla="*/ 73376 h 73375"/>
              <a:gd name="connsiteX2" fmla="*/ 83217 w 83216"/>
              <a:gd name="connsiteY2" fmla="*/ 73376 h 73375"/>
              <a:gd name="connsiteX3" fmla="*/ 41608 w 83216"/>
              <a:gd name="connsiteY3" fmla="*/ 0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41608" y="0"/>
                </a:moveTo>
                <a:lnTo>
                  <a:pt x="0" y="73376"/>
                </a:lnTo>
                <a:lnTo>
                  <a:pt x="83217" y="73376"/>
                </a:lnTo>
                <a:lnTo>
                  <a:pt x="41608" y="0"/>
                </a:lnTo>
                <a:close/>
              </a:path>
            </a:pathLst>
          </a:custGeom>
          <a:solidFill>
            <a:srgbClr val="9D6934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5" name="Freeform: Shape 964">
            <a:extLst>
              <a:ext uri="{FF2B5EF4-FFF2-40B4-BE49-F238E27FC236}">
                <a16:creationId xmlns:a16="http://schemas.microsoft.com/office/drawing/2014/main" id="{C7489FAD-6AE9-DF2E-2CDB-7E2471CDEBBA}"/>
              </a:ext>
            </a:extLst>
          </p:cNvPr>
          <p:cNvSpPr/>
          <p:nvPr/>
        </p:nvSpPr>
        <p:spPr>
          <a:xfrm>
            <a:off x="9389398" y="4373037"/>
            <a:ext cx="98663" cy="86995"/>
          </a:xfrm>
          <a:custGeom>
            <a:avLst/>
            <a:gdLst>
              <a:gd name="connsiteX0" fmla="*/ 83217 w 83216"/>
              <a:gd name="connsiteY0" fmla="*/ 36601 h 73375"/>
              <a:gd name="connsiteX1" fmla="*/ 0 w 83216"/>
              <a:gd name="connsiteY1" fmla="*/ 0 h 73375"/>
              <a:gd name="connsiteX2" fmla="*/ 0 w 83216"/>
              <a:gd name="connsiteY2" fmla="*/ 73376 h 73375"/>
              <a:gd name="connsiteX3" fmla="*/ 83217 w 83216"/>
              <a:gd name="connsiteY3" fmla="*/ 36601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216" h="73375">
                <a:moveTo>
                  <a:pt x="83217" y="36601"/>
                </a:moveTo>
                <a:lnTo>
                  <a:pt x="0" y="0"/>
                </a:lnTo>
                <a:lnTo>
                  <a:pt x="0" y="73376"/>
                </a:lnTo>
                <a:lnTo>
                  <a:pt x="83217" y="36601"/>
                </a:lnTo>
                <a:close/>
              </a:path>
            </a:pathLst>
          </a:custGeom>
          <a:solidFill>
            <a:srgbClr val="333399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6" name="Freeform: Shape 965">
            <a:extLst>
              <a:ext uri="{FF2B5EF4-FFF2-40B4-BE49-F238E27FC236}">
                <a16:creationId xmlns:a16="http://schemas.microsoft.com/office/drawing/2014/main" id="{976DD595-A102-3E7F-A69E-D325529FFBBA}"/>
              </a:ext>
            </a:extLst>
          </p:cNvPr>
          <p:cNvSpPr/>
          <p:nvPr/>
        </p:nvSpPr>
        <p:spPr>
          <a:xfrm rot="18900000">
            <a:off x="9397663" y="4767488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7" name="Freeform: Shape 966">
            <a:extLst>
              <a:ext uri="{FF2B5EF4-FFF2-40B4-BE49-F238E27FC236}">
                <a16:creationId xmlns:a16="http://schemas.microsoft.com/office/drawing/2014/main" id="{D09F9C60-DDD5-686D-0E97-C78ABE3AA61D}"/>
              </a:ext>
            </a:extLst>
          </p:cNvPr>
          <p:cNvSpPr/>
          <p:nvPr/>
        </p:nvSpPr>
        <p:spPr>
          <a:xfrm>
            <a:off x="9395128" y="4962767"/>
            <a:ext cx="86995" cy="86995"/>
          </a:xfrm>
          <a:custGeom>
            <a:avLst/>
            <a:gdLst>
              <a:gd name="connsiteX0" fmla="*/ 0 w 73375"/>
              <a:gd name="connsiteY0" fmla="*/ 0 h 73375"/>
              <a:gd name="connsiteX1" fmla="*/ 73375 w 73375"/>
              <a:gd name="connsiteY1" fmla="*/ 0 h 73375"/>
              <a:gd name="connsiteX2" fmla="*/ 73375 w 73375"/>
              <a:gd name="connsiteY2" fmla="*/ 73376 h 73375"/>
              <a:gd name="connsiteX3" fmla="*/ 0 w 73375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3375" h="73375">
                <a:moveTo>
                  <a:pt x="0" y="0"/>
                </a:moveTo>
                <a:lnTo>
                  <a:pt x="73375" y="0"/>
                </a:lnTo>
                <a:lnTo>
                  <a:pt x="73375" y="73376"/>
                </a:lnTo>
                <a:lnTo>
                  <a:pt x="0" y="73376"/>
                </a:lnTo>
                <a:close/>
              </a:path>
            </a:pathLst>
          </a:custGeom>
          <a:solidFill>
            <a:srgbClr val="E3061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8" name="Freeform: Shape 967">
            <a:extLst>
              <a:ext uri="{FF2B5EF4-FFF2-40B4-BE49-F238E27FC236}">
                <a16:creationId xmlns:a16="http://schemas.microsoft.com/office/drawing/2014/main" id="{E1F366C1-A5AC-9D3F-33A2-411478DD3217}"/>
              </a:ext>
            </a:extLst>
          </p:cNvPr>
          <p:cNvSpPr/>
          <p:nvPr/>
        </p:nvSpPr>
        <p:spPr>
          <a:xfrm>
            <a:off x="9395128" y="5160300"/>
            <a:ext cx="87200" cy="87200"/>
          </a:xfrm>
          <a:custGeom>
            <a:avLst/>
            <a:gdLst>
              <a:gd name="connsiteX0" fmla="*/ 73548 w 73548"/>
              <a:gd name="connsiteY0" fmla="*/ 36774 h 73548"/>
              <a:gd name="connsiteX1" fmla="*/ 36774 w 73548"/>
              <a:gd name="connsiteY1" fmla="*/ 73548 h 73548"/>
              <a:gd name="connsiteX2" fmla="*/ 0 w 73548"/>
              <a:gd name="connsiteY2" fmla="*/ 36774 h 73548"/>
              <a:gd name="connsiteX3" fmla="*/ 36774 w 73548"/>
              <a:gd name="connsiteY3" fmla="*/ 0 h 73548"/>
              <a:gd name="connsiteX4" fmla="*/ 73548 w 73548"/>
              <a:gd name="connsiteY4" fmla="*/ 36774 h 73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548" h="73548">
                <a:moveTo>
                  <a:pt x="73548" y="36774"/>
                </a:moveTo>
                <a:cubicBezTo>
                  <a:pt x="73548" y="57084"/>
                  <a:pt x="57084" y="73548"/>
                  <a:pt x="36774" y="73548"/>
                </a:cubicBezTo>
                <a:cubicBezTo>
                  <a:pt x="16464" y="73548"/>
                  <a:pt x="0" y="57084"/>
                  <a:pt x="0" y="36774"/>
                </a:cubicBezTo>
                <a:cubicBezTo>
                  <a:pt x="0" y="16464"/>
                  <a:pt x="16464" y="0"/>
                  <a:pt x="36774" y="0"/>
                </a:cubicBezTo>
                <a:cubicBezTo>
                  <a:pt x="57084" y="0"/>
                  <a:pt x="73548" y="16464"/>
                  <a:pt x="73548" y="36774"/>
                </a:cubicBezTo>
                <a:close/>
              </a:path>
            </a:pathLst>
          </a:custGeom>
          <a:solidFill>
            <a:srgbClr val="1D1D1B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69" name="Freeform: Shape 968">
            <a:extLst>
              <a:ext uri="{FF2B5EF4-FFF2-40B4-BE49-F238E27FC236}">
                <a16:creationId xmlns:a16="http://schemas.microsoft.com/office/drawing/2014/main" id="{77CDB715-1632-2B22-83BE-2BFE6EF93983}"/>
              </a:ext>
            </a:extLst>
          </p:cNvPr>
          <p:cNvSpPr/>
          <p:nvPr/>
        </p:nvSpPr>
        <p:spPr>
          <a:xfrm rot="18900000">
            <a:off x="3776176" y="85877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0" name="Freeform: Shape 969">
            <a:extLst>
              <a:ext uri="{FF2B5EF4-FFF2-40B4-BE49-F238E27FC236}">
                <a16:creationId xmlns:a16="http://schemas.microsoft.com/office/drawing/2014/main" id="{54B13D02-2F89-22CA-3B99-01AAD36849E2}"/>
              </a:ext>
            </a:extLst>
          </p:cNvPr>
          <p:cNvSpPr/>
          <p:nvPr/>
        </p:nvSpPr>
        <p:spPr>
          <a:xfrm rot="18900000">
            <a:off x="4594699" y="85883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1" name="Freeform: Shape 970">
            <a:extLst>
              <a:ext uri="{FF2B5EF4-FFF2-40B4-BE49-F238E27FC236}">
                <a16:creationId xmlns:a16="http://schemas.microsoft.com/office/drawing/2014/main" id="{33E835E0-C72B-7ABB-3260-DAF3B755847E}"/>
              </a:ext>
            </a:extLst>
          </p:cNvPr>
          <p:cNvSpPr/>
          <p:nvPr/>
        </p:nvSpPr>
        <p:spPr>
          <a:xfrm rot="18900000">
            <a:off x="5398996" y="858580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2" name="Freeform: Shape 971">
            <a:extLst>
              <a:ext uri="{FF2B5EF4-FFF2-40B4-BE49-F238E27FC236}">
                <a16:creationId xmlns:a16="http://schemas.microsoft.com/office/drawing/2014/main" id="{7F4C9299-6A0F-F4D3-1275-C941A1F62195}"/>
              </a:ext>
            </a:extLst>
          </p:cNvPr>
          <p:cNvSpPr/>
          <p:nvPr/>
        </p:nvSpPr>
        <p:spPr>
          <a:xfrm rot="18900000">
            <a:off x="6210115" y="858669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3" name="Freeform: Shape 972">
            <a:extLst>
              <a:ext uri="{FF2B5EF4-FFF2-40B4-BE49-F238E27FC236}">
                <a16:creationId xmlns:a16="http://schemas.microsoft.com/office/drawing/2014/main" id="{49704A6E-FE80-C9CD-A816-FBBE6BA34926}"/>
              </a:ext>
            </a:extLst>
          </p:cNvPr>
          <p:cNvSpPr/>
          <p:nvPr/>
        </p:nvSpPr>
        <p:spPr>
          <a:xfrm rot="18900000">
            <a:off x="7026575" y="858741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4" name="Freeform: Shape 973">
            <a:extLst>
              <a:ext uri="{FF2B5EF4-FFF2-40B4-BE49-F238E27FC236}">
                <a16:creationId xmlns:a16="http://schemas.microsoft.com/office/drawing/2014/main" id="{8308FBBD-7003-D1D1-4C39-B8B2AEB07112}"/>
              </a:ext>
            </a:extLst>
          </p:cNvPr>
          <p:cNvSpPr/>
          <p:nvPr/>
        </p:nvSpPr>
        <p:spPr>
          <a:xfrm rot="18900000">
            <a:off x="7840190" y="85879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5" name="Freeform: Shape 974">
            <a:extLst>
              <a:ext uri="{FF2B5EF4-FFF2-40B4-BE49-F238E27FC236}">
                <a16:creationId xmlns:a16="http://schemas.microsoft.com/office/drawing/2014/main" id="{91836114-358D-DCFA-B6C6-983A7D1B6A12}"/>
              </a:ext>
            </a:extLst>
          </p:cNvPr>
          <p:cNvSpPr/>
          <p:nvPr/>
        </p:nvSpPr>
        <p:spPr>
          <a:xfrm rot="18900000">
            <a:off x="3776050" y="961813"/>
            <a:ext cx="82083" cy="82083"/>
          </a:xfrm>
          <a:custGeom>
            <a:avLst/>
            <a:gdLst>
              <a:gd name="connsiteX0" fmla="*/ 0 w 69232"/>
              <a:gd name="connsiteY0" fmla="*/ 0 h 69232"/>
              <a:gd name="connsiteX1" fmla="*/ 69232 w 69232"/>
              <a:gd name="connsiteY1" fmla="*/ 0 h 69232"/>
              <a:gd name="connsiteX2" fmla="*/ 69232 w 69232"/>
              <a:gd name="connsiteY2" fmla="*/ 69232 h 69232"/>
              <a:gd name="connsiteX3" fmla="*/ 0 w 69232"/>
              <a:gd name="connsiteY3" fmla="*/ 69232 h 692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232" h="69232">
                <a:moveTo>
                  <a:pt x="0" y="0"/>
                </a:moveTo>
                <a:lnTo>
                  <a:pt x="69232" y="0"/>
                </a:lnTo>
                <a:lnTo>
                  <a:pt x="69232" y="69232"/>
                </a:lnTo>
                <a:lnTo>
                  <a:pt x="0" y="69232"/>
                </a:lnTo>
                <a:close/>
              </a:path>
            </a:pathLst>
          </a:custGeom>
          <a:solidFill>
            <a:srgbClr val="F8B133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6" name="Freeform: Shape 975">
            <a:extLst>
              <a:ext uri="{FF2B5EF4-FFF2-40B4-BE49-F238E27FC236}">
                <a16:creationId xmlns:a16="http://schemas.microsoft.com/office/drawing/2014/main" id="{A74D0F81-CF8E-2387-2037-39838D898C87}"/>
              </a:ext>
            </a:extLst>
          </p:cNvPr>
          <p:cNvSpPr/>
          <p:nvPr/>
        </p:nvSpPr>
        <p:spPr>
          <a:xfrm>
            <a:off x="9366062" y="3941537"/>
            <a:ext cx="145128" cy="145128"/>
          </a:xfrm>
          <a:custGeom>
            <a:avLst/>
            <a:gdLst>
              <a:gd name="connsiteX0" fmla="*/ 61290 w 122407"/>
              <a:gd name="connsiteY0" fmla="*/ 0 h 122407"/>
              <a:gd name="connsiteX1" fmla="*/ 78037 w 122407"/>
              <a:gd name="connsiteY1" fmla="*/ 43335 h 122407"/>
              <a:gd name="connsiteX2" fmla="*/ 122408 w 122407"/>
              <a:gd name="connsiteY2" fmla="*/ 46788 h 122407"/>
              <a:gd name="connsiteX3" fmla="*/ 88396 w 122407"/>
              <a:gd name="connsiteY3" fmla="*/ 77001 h 122407"/>
              <a:gd name="connsiteX4" fmla="*/ 99100 w 122407"/>
              <a:gd name="connsiteY4" fmla="*/ 122408 h 122407"/>
              <a:gd name="connsiteX5" fmla="*/ 61290 w 122407"/>
              <a:gd name="connsiteY5" fmla="*/ 97719 h 122407"/>
              <a:gd name="connsiteX6" fmla="*/ 23480 w 122407"/>
              <a:gd name="connsiteY6" fmla="*/ 122408 h 122407"/>
              <a:gd name="connsiteX7" fmla="*/ 34012 w 122407"/>
              <a:gd name="connsiteY7" fmla="*/ 77001 h 122407"/>
              <a:gd name="connsiteX8" fmla="*/ 0 w 122407"/>
              <a:gd name="connsiteY8" fmla="*/ 46788 h 122407"/>
              <a:gd name="connsiteX9" fmla="*/ 44371 w 122407"/>
              <a:gd name="connsiteY9" fmla="*/ 43335 h 122407"/>
              <a:gd name="connsiteX10" fmla="*/ 61290 w 122407"/>
              <a:gd name="connsiteY10" fmla="*/ 0 h 1224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2407" h="122407">
                <a:moveTo>
                  <a:pt x="61290" y="0"/>
                </a:moveTo>
                <a:lnTo>
                  <a:pt x="78037" y="43335"/>
                </a:lnTo>
                <a:lnTo>
                  <a:pt x="122408" y="46788"/>
                </a:lnTo>
                <a:lnTo>
                  <a:pt x="88396" y="77001"/>
                </a:lnTo>
                <a:lnTo>
                  <a:pt x="99100" y="122408"/>
                </a:lnTo>
                <a:lnTo>
                  <a:pt x="61290" y="97719"/>
                </a:lnTo>
                <a:lnTo>
                  <a:pt x="23480" y="122408"/>
                </a:lnTo>
                <a:lnTo>
                  <a:pt x="34012" y="77001"/>
                </a:lnTo>
                <a:lnTo>
                  <a:pt x="0" y="46788"/>
                </a:lnTo>
                <a:lnTo>
                  <a:pt x="44371" y="43335"/>
                </a:lnTo>
                <a:lnTo>
                  <a:pt x="61290" y="0"/>
                </a:lnTo>
                <a:close/>
              </a:path>
            </a:pathLst>
          </a:custGeom>
          <a:solidFill>
            <a:srgbClr val="008D36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7" name="Freeform: Shape 976">
            <a:extLst>
              <a:ext uri="{FF2B5EF4-FFF2-40B4-BE49-F238E27FC236}">
                <a16:creationId xmlns:a16="http://schemas.microsoft.com/office/drawing/2014/main" id="{679B0976-FC21-6D26-8DCF-2E05DD30C5D7}"/>
              </a:ext>
            </a:extLst>
          </p:cNvPr>
          <p:cNvSpPr/>
          <p:nvPr/>
        </p:nvSpPr>
        <p:spPr>
          <a:xfrm>
            <a:off x="9389399" y="4168343"/>
            <a:ext cx="98457" cy="86995"/>
          </a:xfrm>
          <a:custGeom>
            <a:avLst/>
            <a:gdLst>
              <a:gd name="connsiteX0" fmla="*/ 41435 w 83043"/>
              <a:gd name="connsiteY0" fmla="*/ 73376 h 73375"/>
              <a:gd name="connsiteX1" fmla="*/ 83044 w 83043"/>
              <a:gd name="connsiteY1" fmla="*/ 0 h 73375"/>
              <a:gd name="connsiteX2" fmla="*/ 0 w 83043"/>
              <a:gd name="connsiteY2" fmla="*/ 0 h 73375"/>
              <a:gd name="connsiteX3" fmla="*/ 41435 w 83043"/>
              <a:gd name="connsiteY3" fmla="*/ 73376 h 73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043" h="73375">
                <a:moveTo>
                  <a:pt x="41435" y="73376"/>
                </a:moveTo>
                <a:lnTo>
                  <a:pt x="83044" y="0"/>
                </a:lnTo>
                <a:lnTo>
                  <a:pt x="0" y="0"/>
                </a:lnTo>
                <a:lnTo>
                  <a:pt x="41435" y="73376"/>
                </a:lnTo>
                <a:close/>
              </a:path>
            </a:pathLst>
          </a:custGeom>
          <a:solidFill>
            <a:srgbClr val="662482"/>
          </a:solidFill>
          <a:ln w="17264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elvetica"/>
              <a:ea typeface="MS PGothic"/>
              <a:cs typeface="+mn-cs"/>
            </a:endParaRPr>
          </a:p>
        </p:txBody>
      </p:sp>
      <p:sp>
        <p:nvSpPr>
          <p:cNvPr id="978" name="TextBox 977">
            <a:extLst>
              <a:ext uri="{FF2B5EF4-FFF2-40B4-BE49-F238E27FC236}">
                <a16:creationId xmlns:a16="http://schemas.microsoft.com/office/drawing/2014/main" id="{B916EB89-D872-BCCF-DBE1-104522F72552}"/>
              </a:ext>
            </a:extLst>
          </p:cNvPr>
          <p:cNvSpPr txBox="1"/>
          <p:nvPr/>
        </p:nvSpPr>
        <p:spPr>
          <a:xfrm>
            <a:off x="2833521" y="5858887"/>
            <a:ext cx="284052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0</a:t>
            </a:r>
          </a:p>
        </p:txBody>
      </p:sp>
      <p:sp>
        <p:nvSpPr>
          <p:cNvPr id="979" name="TextBox 978">
            <a:extLst>
              <a:ext uri="{FF2B5EF4-FFF2-40B4-BE49-F238E27FC236}">
                <a16:creationId xmlns:a16="http://schemas.microsoft.com/office/drawing/2014/main" id="{98F43DA8-3C4C-4977-6829-C2E8A2D17BC4}"/>
              </a:ext>
            </a:extLst>
          </p:cNvPr>
          <p:cNvSpPr txBox="1"/>
          <p:nvPr/>
        </p:nvSpPr>
        <p:spPr>
          <a:xfrm>
            <a:off x="3481382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0</a:t>
            </a:r>
          </a:p>
        </p:txBody>
      </p:sp>
      <p:sp>
        <p:nvSpPr>
          <p:cNvPr id="980" name="TextBox 979">
            <a:extLst>
              <a:ext uri="{FF2B5EF4-FFF2-40B4-BE49-F238E27FC236}">
                <a16:creationId xmlns:a16="http://schemas.microsoft.com/office/drawing/2014/main" id="{05764428-479D-44A5-7706-55C5A6C3521E}"/>
              </a:ext>
            </a:extLst>
          </p:cNvPr>
          <p:cNvSpPr txBox="1"/>
          <p:nvPr/>
        </p:nvSpPr>
        <p:spPr>
          <a:xfrm>
            <a:off x="4160563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20</a:t>
            </a:r>
          </a:p>
        </p:txBody>
      </p:sp>
      <p:sp>
        <p:nvSpPr>
          <p:cNvPr id="981" name="TextBox 980">
            <a:extLst>
              <a:ext uri="{FF2B5EF4-FFF2-40B4-BE49-F238E27FC236}">
                <a16:creationId xmlns:a16="http://schemas.microsoft.com/office/drawing/2014/main" id="{DC9931B6-6579-9B88-FB41-ED548D2EEE9E}"/>
              </a:ext>
            </a:extLst>
          </p:cNvPr>
          <p:cNvSpPr txBox="1"/>
          <p:nvPr/>
        </p:nvSpPr>
        <p:spPr>
          <a:xfrm>
            <a:off x="4839747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30</a:t>
            </a:r>
          </a:p>
        </p:txBody>
      </p:sp>
      <p:sp>
        <p:nvSpPr>
          <p:cNvPr id="982" name="TextBox 981">
            <a:extLst>
              <a:ext uri="{FF2B5EF4-FFF2-40B4-BE49-F238E27FC236}">
                <a16:creationId xmlns:a16="http://schemas.microsoft.com/office/drawing/2014/main" id="{D4732F1D-24F4-B3EB-B4F9-EC6BC12B2511}"/>
              </a:ext>
            </a:extLst>
          </p:cNvPr>
          <p:cNvSpPr txBox="1"/>
          <p:nvPr/>
        </p:nvSpPr>
        <p:spPr>
          <a:xfrm>
            <a:off x="5519128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40</a:t>
            </a:r>
          </a:p>
        </p:txBody>
      </p:sp>
      <p:sp>
        <p:nvSpPr>
          <p:cNvPr id="983" name="TextBox 982">
            <a:extLst>
              <a:ext uri="{FF2B5EF4-FFF2-40B4-BE49-F238E27FC236}">
                <a16:creationId xmlns:a16="http://schemas.microsoft.com/office/drawing/2014/main" id="{6EF3B566-A058-D6BF-193D-C0154DC00528}"/>
              </a:ext>
            </a:extLst>
          </p:cNvPr>
          <p:cNvSpPr txBox="1"/>
          <p:nvPr/>
        </p:nvSpPr>
        <p:spPr>
          <a:xfrm>
            <a:off x="6198314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984" name="TextBox 983">
            <a:extLst>
              <a:ext uri="{FF2B5EF4-FFF2-40B4-BE49-F238E27FC236}">
                <a16:creationId xmlns:a16="http://schemas.microsoft.com/office/drawing/2014/main" id="{A3FEAA4D-C4BC-7138-BA4A-43E79904E94A}"/>
              </a:ext>
            </a:extLst>
          </p:cNvPr>
          <p:cNvSpPr txBox="1"/>
          <p:nvPr/>
        </p:nvSpPr>
        <p:spPr>
          <a:xfrm>
            <a:off x="6877492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60</a:t>
            </a:r>
          </a:p>
        </p:txBody>
      </p:sp>
      <p:sp>
        <p:nvSpPr>
          <p:cNvPr id="985" name="TextBox 984">
            <a:extLst>
              <a:ext uri="{FF2B5EF4-FFF2-40B4-BE49-F238E27FC236}">
                <a16:creationId xmlns:a16="http://schemas.microsoft.com/office/drawing/2014/main" id="{E34CE532-FFE5-4A97-08E9-E6F368285D13}"/>
              </a:ext>
            </a:extLst>
          </p:cNvPr>
          <p:cNvSpPr txBox="1"/>
          <p:nvPr/>
        </p:nvSpPr>
        <p:spPr>
          <a:xfrm>
            <a:off x="5672664" y="6019922"/>
            <a:ext cx="279743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Treatment Duration, weeks</a:t>
            </a:r>
          </a:p>
        </p:txBody>
      </p:sp>
      <p:sp>
        <p:nvSpPr>
          <p:cNvPr id="986" name="TextBox 985">
            <a:extLst>
              <a:ext uri="{FF2B5EF4-FFF2-40B4-BE49-F238E27FC236}">
                <a16:creationId xmlns:a16="http://schemas.microsoft.com/office/drawing/2014/main" id="{7E473B45-B884-CBE7-3736-B8159E18E875}"/>
              </a:ext>
            </a:extLst>
          </p:cNvPr>
          <p:cNvSpPr txBox="1"/>
          <p:nvPr/>
        </p:nvSpPr>
        <p:spPr>
          <a:xfrm>
            <a:off x="7556876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70</a:t>
            </a:r>
          </a:p>
        </p:txBody>
      </p:sp>
      <p:sp>
        <p:nvSpPr>
          <p:cNvPr id="987" name="TextBox 986">
            <a:extLst>
              <a:ext uri="{FF2B5EF4-FFF2-40B4-BE49-F238E27FC236}">
                <a16:creationId xmlns:a16="http://schemas.microsoft.com/office/drawing/2014/main" id="{8B57A488-5469-4919-72F6-A3A2CFEF45F0}"/>
              </a:ext>
            </a:extLst>
          </p:cNvPr>
          <p:cNvSpPr txBox="1"/>
          <p:nvPr/>
        </p:nvSpPr>
        <p:spPr>
          <a:xfrm>
            <a:off x="8236060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80</a:t>
            </a:r>
          </a:p>
        </p:txBody>
      </p:sp>
      <p:sp>
        <p:nvSpPr>
          <p:cNvPr id="988" name="TextBox 987">
            <a:extLst>
              <a:ext uri="{FF2B5EF4-FFF2-40B4-BE49-F238E27FC236}">
                <a16:creationId xmlns:a16="http://schemas.microsoft.com/office/drawing/2014/main" id="{DD9CC7F6-A953-8D3C-5BE4-79E515635D4A}"/>
              </a:ext>
            </a:extLst>
          </p:cNvPr>
          <p:cNvSpPr txBox="1"/>
          <p:nvPr/>
        </p:nvSpPr>
        <p:spPr>
          <a:xfrm>
            <a:off x="8915240" y="5858887"/>
            <a:ext cx="3834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90</a:t>
            </a:r>
          </a:p>
        </p:txBody>
      </p:sp>
      <p:sp>
        <p:nvSpPr>
          <p:cNvPr id="989" name="TextBox 988">
            <a:extLst>
              <a:ext uri="{FF2B5EF4-FFF2-40B4-BE49-F238E27FC236}">
                <a16:creationId xmlns:a16="http://schemas.microsoft.com/office/drawing/2014/main" id="{4F7AD608-BF08-F5BB-092C-A4253238F0AA}"/>
              </a:ext>
            </a:extLst>
          </p:cNvPr>
          <p:cNvSpPr txBox="1"/>
          <p:nvPr/>
        </p:nvSpPr>
        <p:spPr>
          <a:xfrm>
            <a:off x="9563103" y="5858887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990" name="TextBox 989">
            <a:extLst>
              <a:ext uri="{FF2B5EF4-FFF2-40B4-BE49-F238E27FC236}">
                <a16:creationId xmlns:a16="http://schemas.microsoft.com/office/drawing/2014/main" id="{F40D8812-CEB0-2286-568C-C7E923A36916}"/>
              </a:ext>
            </a:extLst>
          </p:cNvPr>
          <p:cNvSpPr txBox="1"/>
          <p:nvPr/>
        </p:nvSpPr>
        <p:spPr>
          <a:xfrm>
            <a:off x="10230495" y="5858887"/>
            <a:ext cx="47295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10</a:t>
            </a:r>
          </a:p>
        </p:txBody>
      </p:sp>
      <p:sp>
        <p:nvSpPr>
          <p:cNvPr id="991" name="TextBox 990">
            <a:extLst>
              <a:ext uri="{FF2B5EF4-FFF2-40B4-BE49-F238E27FC236}">
                <a16:creationId xmlns:a16="http://schemas.microsoft.com/office/drawing/2014/main" id="{B0D6F63A-D801-B4FC-49B3-54DEB86889B5}"/>
              </a:ext>
            </a:extLst>
          </p:cNvPr>
          <p:cNvSpPr txBox="1"/>
          <p:nvPr/>
        </p:nvSpPr>
        <p:spPr>
          <a:xfrm>
            <a:off x="10921670" y="5858887"/>
            <a:ext cx="48282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20</a:t>
            </a:r>
          </a:p>
        </p:txBody>
      </p:sp>
      <p:sp>
        <p:nvSpPr>
          <p:cNvPr id="992" name="TextBox 991">
            <a:extLst>
              <a:ext uri="{FF2B5EF4-FFF2-40B4-BE49-F238E27FC236}">
                <a16:creationId xmlns:a16="http://schemas.microsoft.com/office/drawing/2014/main" id="{2DB37065-E465-AB96-66C6-683BE0C20932}"/>
              </a:ext>
            </a:extLst>
          </p:cNvPr>
          <p:cNvSpPr txBox="1"/>
          <p:nvPr/>
        </p:nvSpPr>
        <p:spPr>
          <a:xfrm>
            <a:off x="9458808" y="3877791"/>
            <a:ext cx="40588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CR</a:t>
            </a:r>
          </a:p>
        </p:txBody>
      </p:sp>
      <p:sp>
        <p:nvSpPr>
          <p:cNvPr id="993" name="TextBox 992">
            <a:extLst>
              <a:ext uri="{FF2B5EF4-FFF2-40B4-BE49-F238E27FC236}">
                <a16:creationId xmlns:a16="http://schemas.microsoft.com/office/drawing/2014/main" id="{1D348E00-766B-62DD-9AB8-66CB36165D77}"/>
              </a:ext>
            </a:extLst>
          </p:cNvPr>
          <p:cNvSpPr txBox="1"/>
          <p:nvPr/>
        </p:nvSpPr>
        <p:spPr>
          <a:xfrm>
            <a:off x="9458809" y="4075323"/>
            <a:ext cx="44916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CRi</a:t>
            </a:r>
          </a:p>
        </p:txBody>
      </p:sp>
      <p:sp>
        <p:nvSpPr>
          <p:cNvPr id="994" name="TextBox 993">
            <a:extLst>
              <a:ext uri="{FF2B5EF4-FFF2-40B4-BE49-F238E27FC236}">
                <a16:creationId xmlns:a16="http://schemas.microsoft.com/office/drawing/2014/main" id="{5B680BA3-6046-615A-782F-0106113EA318}"/>
              </a:ext>
            </a:extLst>
          </p:cNvPr>
          <p:cNvSpPr txBox="1"/>
          <p:nvPr/>
        </p:nvSpPr>
        <p:spPr>
          <a:xfrm>
            <a:off x="9454911" y="426466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R</a:t>
            </a:r>
          </a:p>
        </p:txBody>
      </p:sp>
      <p:sp>
        <p:nvSpPr>
          <p:cNvPr id="995" name="TextBox 994">
            <a:extLst>
              <a:ext uri="{FF2B5EF4-FFF2-40B4-BE49-F238E27FC236}">
                <a16:creationId xmlns:a16="http://schemas.microsoft.com/office/drawing/2014/main" id="{4DF210F5-7EB1-3D0E-2FC6-5EFCC12306E9}"/>
              </a:ext>
            </a:extLst>
          </p:cNvPr>
          <p:cNvSpPr txBox="1"/>
          <p:nvPr/>
        </p:nvSpPr>
        <p:spPr>
          <a:xfrm>
            <a:off x="9458809" y="4464242"/>
            <a:ext cx="54373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R-L</a:t>
            </a:r>
          </a:p>
        </p:txBody>
      </p:sp>
      <p:sp>
        <p:nvSpPr>
          <p:cNvPr id="996" name="TextBox 995">
            <a:extLst>
              <a:ext uri="{FF2B5EF4-FFF2-40B4-BE49-F238E27FC236}">
                <a16:creationId xmlns:a16="http://schemas.microsoft.com/office/drawing/2014/main" id="{8161AC61-E2D4-0B09-90FB-B68F24C526D9}"/>
              </a:ext>
            </a:extLst>
          </p:cNvPr>
          <p:cNvSpPr txBox="1"/>
          <p:nvPr/>
        </p:nvSpPr>
        <p:spPr>
          <a:xfrm>
            <a:off x="9458809" y="466812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SD</a:t>
            </a:r>
          </a:p>
        </p:txBody>
      </p:sp>
      <p:sp>
        <p:nvSpPr>
          <p:cNvPr id="997" name="TextBox 996">
            <a:extLst>
              <a:ext uri="{FF2B5EF4-FFF2-40B4-BE49-F238E27FC236}">
                <a16:creationId xmlns:a16="http://schemas.microsoft.com/office/drawing/2014/main" id="{4BC2F6E3-E982-ED97-E159-52B45E2B519C}"/>
              </a:ext>
            </a:extLst>
          </p:cNvPr>
          <p:cNvSpPr txBox="1"/>
          <p:nvPr/>
        </p:nvSpPr>
        <p:spPr>
          <a:xfrm>
            <a:off x="9458809" y="486565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D</a:t>
            </a:r>
          </a:p>
        </p:txBody>
      </p:sp>
      <p:sp>
        <p:nvSpPr>
          <p:cNvPr id="998" name="TextBox 997">
            <a:extLst>
              <a:ext uri="{FF2B5EF4-FFF2-40B4-BE49-F238E27FC236}">
                <a16:creationId xmlns:a16="http://schemas.microsoft.com/office/drawing/2014/main" id="{59899E08-1A91-703A-7ACB-AE3A24DB7FF0}"/>
              </a:ext>
            </a:extLst>
          </p:cNvPr>
          <p:cNvSpPr txBox="1"/>
          <p:nvPr/>
        </p:nvSpPr>
        <p:spPr>
          <a:xfrm>
            <a:off x="9458809" y="5063187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NE</a:t>
            </a:r>
          </a:p>
        </p:txBody>
      </p:sp>
      <p:sp>
        <p:nvSpPr>
          <p:cNvPr id="999" name="TextBox 998">
            <a:extLst>
              <a:ext uri="{FF2B5EF4-FFF2-40B4-BE49-F238E27FC236}">
                <a16:creationId xmlns:a16="http://schemas.microsoft.com/office/drawing/2014/main" id="{B0D3425C-94D1-87F5-9079-CA8374EBF0FC}"/>
              </a:ext>
            </a:extLst>
          </p:cNvPr>
          <p:cNvSpPr txBox="1"/>
          <p:nvPr/>
        </p:nvSpPr>
        <p:spPr>
          <a:xfrm>
            <a:off x="9446219" y="5254369"/>
            <a:ext cx="15632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Ongoing treatment</a:t>
            </a:r>
          </a:p>
        </p:txBody>
      </p:sp>
      <p:sp>
        <p:nvSpPr>
          <p:cNvPr id="1000" name="TextBox 999">
            <a:extLst>
              <a:ext uri="{FF2B5EF4-FFF2-40B4-BE49-F238E27FC236}">
                <a16:creationId xmlns:a16="http://schemas.microsoft.com/office/drawing/2014/main" id="{DE2B39B6-4712-DFE3-3151-370CC3676B96}"/>
              </a:ext>
            </a:extLst>
          </p:cNvPr>
          <p:cNvSpPr txBox="1"/>
          <p:nvPr/>
        </p:nvSpPr>
        <p:spPr>
          <a:xfrm>
            <a:off x="9458809" y="5452106"/>
            <a:ext cx="6110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Death</a:t>
            </a:r>
          </a:p>
        </p:txBody>
      </p:sp>
      <p:sp>
        <p:nvSpPr>
          <p:cNvPr id="1001" name="TextBox 1000">
            <a:extLst>
              <a:ext uri="{FF2B5EF4-FFF2-40B4-BE49-F238E27FC236}">
                <a16:creationId xmlns:a16="http://schemas.microsoft.com/office/drawing/2014/main" id="{70DDC0BF-0DAA-EEA5-3192-5072DD0FC58B}"/>
              </a:ext>
            </a:extLst>
          </p:cNvPr>
          <p:cNvSpPr txBox="1"/>
          <p:nvPr/>
        </p:nvSpPr>
        <p:spPr>
          <a:xfrm>
            <a:off x="9445002" y="2620803"/>
            <a:ext cx="3545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50</a:t>
            </a:r>
          </a:p>
        </p:txBody>
      </p:sp>
      <p:sp>
        <p:nvSpPr>
          <p:cNvPr id="1002" name="TextBox 1001">
            <a:extLst>
              <a:ext uri="{FF2B5EF4-FFF2-40B4-BE49-F238E27FC236}">
                <a16:creationId xmlns:a16="http://schemas.microsoft.com/office/drawing/2014/main" id="{737E2D75-A2C5-FB4A-42E1-987416F594C1}"/>
              </a:ext>
            </a:extLst>
          </p:cNvPr>
          <p:cNvSpPr txBox="1"/>
          <p:nvPr/>
        </p:nvSpPr>
        <p:spPr>
          <a:xfrm>
            <a:off x="9445002" y="2812527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100</a:t>
            </a:r>
          </a:p>
        </p:txBody>
      </p:sp>
      <p:sp>
        <p:nvSpPr>
          <p:cNvPr id="1003" name="TextBox 1002">
            <a:extLst>
              <a:ext uri="{FF2B5EF4-FFF2-40B4-BE49-F238E27FC236}">
                <a16:creationId xmlns:a16="http://schemas.microsoft.com/office/drawing/2014/main" id="{C6223052-A55F-F5EA-A8B1-2DEDE50ECD29}"/>
              </a:ext>
            </a:extLst>
          </p:cNvPr>
          <p:cNvSpPr txBox="1"/>
          <p:nvPr/>
        </p:nvSpPr>
        <p:spPr>
          <a:xfrm>
            <a:off x="9445002" y="3022761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200</a:t>
            </a:r>
          </a:p>
        </p:txBody>
      </p:sp>
      <p:sp>
        <p:nvSpPr>
          <p:cNvPr id="1004" name="TextBox 1003">
            <a:extLst>
              <a:ext uri="{FF2B5EF4-FFF2-40B4-BE49-F238E27FC236}">
                <a16:creationId xmlns:a16="http://schemas.microsoft.com/office/drawing/2014/main" id="{9D9EC309-D083-1CC2-19BA-3B903FE7BAA5}"/>
              </a:ext>
            </a:extLst>
          </p:cNvPr>
          <p:cNvSpPr txBox="1"/>
          <p:nvPr/>
        </p:nvSpPr>
        <p:spPr>
          <a:xfrm>
            <a:off x="9445002" y="3220497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350</a:t>
            </a:r>
          </a:p>
        </p:txBody>
      </p:sp>
      <p:sp>
        <p:nvSpPr>
          <p:cNvPr id="1005" name="TextBox 1004">
            <a:extLst>
              <a:ext uri="{FF2B5EF4-FFF2-40B4-BE49-F238E27FC236}">
                <a16:creationId xmlns:a16="http://schemas.microsoft.com/office/drawing/2014/main" id="{4FBE0B73-0993-39E7-B02B-348755004311}"/>
              </a:ext>
            </a:extLst>
          </p:cNvPr>
          <p:cNvSpPr txBox="1"/>
          <p:nvPr/>
        </p:nvSpPr>
        <p:spPr>
          <a:xfrm>
            <a:off x="9445002" y="3424381"/>
            <a:ext cx="4395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500</a:t>
            </a:r>
          </a:p>
        </p:txBody>
      </p:sp>
      <p:sp>
        <p:nvSpPr>
          <p:cNvPr id="1006" name="TextBox 1005">
            <a:extLst>
              <a:ext uri="{FF2B5EF4-FFF2-40B4-BE49-F238E27FC236}">
                <a16:creationId xmlns:a16="http://schemas.microsoft.com/office/drawing/2014/main" id="{BFB380E9-F564-D3BC-DC8D-D291EFEEAEA6}"/>
              </a:ext>
            </a:extLst>
          </p:cNvPr>
          <p:cNvSpPr txBox="1"/>
          <p:nvPr/>
        </p:nvSpPr>
        <p:spPr>
          <a:xfrm>
            <a:off x="9243934" y="2439326"/>
            <a:ext cx="1192955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sng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Dose level (mg)</a:t>
            </a:r>
          </a:p>
        </p:txBody>
      </p:sp>
      <p:sp>
        <p:nvSpPr>
          <p:cNvPr id="1007" name="TextBox 1006">
            <a:extLst>
              <a:ext uri="{FF2B5EF4-FFF2-40B4-BE49-F238E27FC236}">
                <a16:creationId xmlns:a16="http://schemas.microsoft.com/office/drawing/2014/main" id="{51853E29-DD69-3807-0092-3FA6E0415114}"/>
              </a:ext>
            </a:extLst>
          </p:cNvPr>
          <p:cNvSpPr txBox="1"/>
          <p:nvPr/>
        </p:nvSpPr>
        <p:spPr>
          <a:xfrm>
            <a:off x="9243934" y="3692257"/>
            <a:ext cx="910827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67" b="1" i="0" u="sng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Responses</a:t>
            </a:r>
          </a:p>
        </p:txBody>
      </p:sp>
      <p:sp>
        <p:nvSpPr>
          <p:cNvPr id="1008" name="Rectangle 1007">
            <a:extLst>
              <a:ext uri="{FF2B5EF4-FFF2-40B4-BE49-F238E27FC236}">
                <a16:creationId xmlns:a16="http://schemas.microsoft.com/office/drawing/2014/main" id="{A0080866-6E3F-BD30-E4D8-0FCFB22DEB67}"/>
              </a:ext>
            </a:extLst>
          </p:cNvPr>
          <p:cNvSpPr/>
          <p:nvPr/>
        </p:nvSpPr>
        <p:spPr>
          <a:xfrm>
            <a:off x="9387601" y="2719001"/>
            <a:ext cx="98457" cy="95356"/>
          </a:xfrm>
          <a:prstGeom prst="rect">
            <a:avLst/>
          </a:prstGeom>
          <a:solidFill>
            <a:srgbClr val="A7CAEB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09" name="Rectangle 1008">
            <a:extLst>
              <a:ext uri="{FF2B5EF4-FFF2-40B4-BE49-F238E27FC236}">
                <a16:creationId xmlns:a16="http://schemas.microsoft.com/office/drawing/2014/main" id="{D1FE4B87-FEA0-5CDA-D13B-3B1FC7EBC587}"/>
              </a:ext>
            </a:extLst>
          </p:cNvPr>
          <p:cNvSpPr/>
          <p:nvPr/>
        </p:nvSpPr>
        <p:spPr>
          <a:xfrm>
            <a:off x="9387601" y="2920070"/>
            <a:ext cx="98457" cy="95356"/>
          </a:xfrm>
          <a:prstGeom prst="rect">
            <a:avLst/>
          </a:prstGeom>
          <a:solidFill>
            <a:srgbClr val="CADCA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0" name="Rectangle 1009">
            <a:extLst>
              <a:ext uri="{FF2B5EF4-FFF2-40B4-BE49-F238E27FC236}">
                <a16:creationId xmlns:a16="http://schemas.microsoft.com/office/drawing/2014/main" id="{1B98E32C-B034-DF90-1427-E9E6F553539C}"/>
              </a:ext>
            </a:extLst>
          </p:cNvPr>
          <p:cNvSpPr/>
          <p:nvPr/>
        </p:nvSpPr>
        <p:spPr>
          <a:xfrm>
            <a:off x="9387601" y="3121139"/>
            <a:ext cx="98457" cy="95356"/>
          </a:xfrm>
          <a:prstGeom prst="rect">
            <a:avLst/>
          </a:prstGeom>
          <a:solidFill>
            <a:srgbClr val="C5DC6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1" name="Rectangle 1010">
            <a:extLst>
              <a:ext uri="{FF2B5EF4-FFF2-40B4-BE49-F238E27FC236}">
                <a16:creationId xmlns:a16="http://schemas.microsoft.com/office/drawing/2014/main" id="{4467EE72-2CA5-22CC-9062-60B5F1F64A1A}"/>
              </a:ext>
            </a:extLst>
          </p:cNvPr>
          <p:cNvSpPr/>
          <p:nvPr/>
        </p:nvSpPr>
        <p:spPr>
          <a:xfrm>
            <a:off x="9387601" y="3322210"/>
            <a:ext cx="98457" cy="95356"/>
          </a:xfrm>
          <a:prstGeom prst="rect">
            <a:avLst/>
          </a:prstGeom>
          <a:solidFill>
            <a:srgbClr val="58C5C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2" name="Rectangle 1011">
            <a:extLst>
              <a:ext uri="{FF2B5EF4-FFF2-40B4-BE49-F238E27FC236}">
                <a16:creationId xmlns:a16="http://schemas.microsoft.com/office/drawing/2014/main" id="{C529E2FC-ED62-B62D-76FB-FA2C4463A716}"/>
              </a:ext>
            </a:extLst>
          </p:cNvPr>
          <p:cNvSpPr/>
          <p:nvPr/>
        </p:nvSpPr>
        <p:spPr>
          <a:xfrm>
            <a:off x="9387601" y="3523278"/>
            <a:ext cx="98457" cy="95356"/>
          </a:xfrm>
          <a:prstGeom prst="rect">
            <a:avLst/>
          </a:prstGeom>
          <a:solidFill>
            <a:srgbClr val="FCD18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267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elvetica"/>
              <a:ea typeface="+mn-ea"/>
              <a:cs typeface="+mn-cs"/>
            </a:endParaRPr>
          </a:p>
        </p:txBody>
      </p:sp>
      <p:sp>
        <p:nvSpPr>
          <p:cNvPr id="1013" name="TextBox 1012">
            <a:extLst>
              <a:ext uri="{FF2B5EF4-FFF2-40B4-BE49-F238E27FC236}">
                <a16:creationId xmlns:a16="http://schemas.microsoft.com/office/drawing/2014/main" id="{719511A1-5F6D-43D5-5923-CFA8E0B06438}"/>
              </a:ext>
            </a:extLst>
          </p:cNvPr>
          <p:cNvSpPr txBox="1"/>
          <p:nvPr/>
        </p:nvSpPr>
        <p:spPr>
          <a:xfrm>
            <a:off x="1831911" y="570041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BCL2i</a:t>
            </a:r>
          </a:p>
        </p:txBody>
      </p:sp>
      <p:sp>
        <p:nvSpPr>
          <p:cNvPr id="1014" name="TextBox 1013">
            <a:extLst>
              <a:ext uri="{FF2B5EF4-FFF2-40B4-BE49-F238E27FC236}">
                <a16:creationId xmlns:a16="http://schemas.microsoft.com/office/drawing/2014/main" id="{E72E6981-0165-8DBC-7AFD-6E011159E5BD}"/>
              </a:ext>
            </a:extLst>
          </p:cNvPr>
          <p:cNvSpPr txBox="1"/>
          <p:nvPr/>
        </p:nvSpPr>
        <p:spPr>
          <a:xfrm>
            <a:off x="672374" y="570041"/>
            <a:ext cx="55496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cBTKi</a:t>
            </a:r>
            <a:endParaRPr kumimoji="0" lang="en-US" sz="1000" b="1" i="0" u="none" strike="noStrike" kern="1200" cap="none" spc="0" normalizeH="0" baseline="0" noProof="0" dirty="0">
              <a:ln/>
              <a:solidFill>
                <a:srgbClr val="1D1D1B"/>
              </a:solidFill>
              <a:effectLst/>
              <a:uLnTx/>
              <a:uFillTx/>
              <a:latin typeface="Arial"/>
              <a:ea typeface="MS PGothic"/>
              <a:cs typeface="Arial"/>
              <a:sym typeface="Arial"/>
              <a:rtl val="0"/>
            </a:endParaRPr>
          </a:p>
        </p:txBody>
      </p:sp>
      <p:sp>
        <p:nvSpPr>
          <p:cNvPr id="1015" name="TextBox 1014">
            <a:extLst>
              <a:ext uri="{FF2B5EF4-FFF2-40B4-BE49-F238E27FC236}">
                <a16:creationId xmlns:a16="http://schemas.microsoft.com/office/drawing/2014/main" id="{2E4E1700-18C6-6366-453E-ADD8AF836792}"/>
              </a:ext>
            </a:extLst>
          </p:cNvPr>
          <p:cNvSpPr txBox="1"/>
          <p:nvPr/>
        </p:nvSpPr>
        <p:spPr>
          <a:xfrm>
            <a:off x="1216169" y="570041"/>
            <a:ext cx="6335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ncBTKi</a:t>
            </a:r>
            <a:endParaRPr kumimoji="0" lang="en-US" sz="1000" b="1" i="0" u="none" strike="noStrike" kern="1200" cap="none" spc="0" normalizeH="0" baseline="0" noProof="0" dirty="0">
              <a:ln/>
              <a:solidFill>
                <a:srgbClr val="1D1D1B"/>
              </a:solidFill>
              <a:effectLst/>
              <a:uLnTx/>
              <a:uFillTx/>
              <a:latin typeface="Arial"/>
              <a:ea typeface="MS PGothic"/>
              <a:cs typeface="Arial"/>
              <a:sym typeface="Arial"/>
              <a:rtl val="0"/>
            </a:endParaRPr>
          </a:p>
        </p:txBody>
      </p:sp>
      <p:sp>
        <p:nvSpPr>
          <p:cNvPr id="1016" name="TextBox 1015">
            <a:extLst>
              <a:ext uri="{FF2B5EF4-FFF2-40B4-BE49-F238E27FC236}">
                <a16:creationId xmlns:a16="http://schemas.microsoft.com/office/drawing/2014/main" id="{0B284683-3CA9-BC68-3FCA-9CE06349F19D}"/>
              </a:ext>
            </a:extLst>
          </p:cNvPr>
          <p:cNvSpPr txBox="1"/>
          <p:nvPr/>
        </p:nvSpPr>
        <p:spPr>
          <a:xfrm>
            <a:off x="989724" y="421002"/>
            <a:ext cx="1136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Prior Treatment</a:t>
            </a:r>
          </a:p>
        </p:txBody>
      </p:sp>
      <p:graphicFrame>
        <p:nvGraphicFramePr>
          <p:cNvPr id="1017" name="Table 1016">
            <a:extLst>
              <a:ext uri="{FF2B5EF4-FFF2-40B4-BE49-F238E27FC236}">
                <a16:creationId xmlns:a16="http://schemas.microsoft.com/office/drawing/2014/main" id="{D1BBDD33-A85C-B5EF-554D-1790F6CC88BA}"/>
              </a:ext>
            </a:extLst>
          </p:cNvPr>
          <p:cNvGraphicFramePr>
            <a:graphicFrameLocks noGrp="1"/>
          </p:cNvGraphicFramePr>
          <p:nvPr/>
        </p:nvGraphicFramePr>
        <p:xfrm>
          <a:off x="660400" y="763307"/>
          <a:ext cx="2310816" cy="5041463"/>
        </p:xfrm>
        <a:graphic>
          <a:graphicData uri="http://schemas.openxmlformats.org/drawingml/2006/table">
            <a:tbl>
              <a:tblPr firstRow="1" bandRow="1"/>
              <a:tblGrid>
                <a:gridCol w="577704">
                  <a:extLst>
                    <a:ext uri="{9D8B030D-6E8A-4147-A177-3AD203B41FA5}">
                      <a16:colId xmlns:a16="http://schemas.microsoft.com/office/drawing/2014/main" val="38908657"/>
                    </a:ext>
                  </a:extLst>
                </a:gridCol>
                <a:gridCol w="577704">
                  <a:extLst>
                    <a:ext uri="{9D8B030D-6E8A-4147-A177-3AD203B41FA5}">
                      <a16:colId xmlns:a16="http://schemas.microsoft.com/office/drawing/2014/main" val="4031392828"/>
                    </a:ext>
                  </a:extLst>
                </a:gridCol>
                <a:gridCol w="577704">
                  <a:extLst>
                    <a:ext uri="{9D8B030D-6E8A-4147-A177-3AD203B41FA5}">
                      <a16:colId xmlns:a16="http://schemas.microsoft.com/office/drawing/2014/main" val="4184422008"/>
                    </a:ext>
                  </a:extLst>
                </a:gridCol>
                <a:gridCol w="577704">
                  <a:extLst>
                    <a:ext uri="{9D8B030D-6E8A-4147-A177-3AD203B41FA5}">
                      <a16:colId xmlns:a16="http://schemas.microsoft.com/office/drawing/2014/main" val="368442751"/>
                    </a:ext>
                  </a:extLst>
                </a:gridCol>
              </a:tblGrid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4093981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8803813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607343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044936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9211074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808803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771730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472503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781828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07720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717580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426090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1203644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1752197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17533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6533284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05908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27346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94246743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586732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U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629993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831095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781340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5697283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518020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59518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172840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520922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695520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48053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6535467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049077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0573238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2392399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7149587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450946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7024721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059674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3049288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78701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2270605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U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70945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619382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7577671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28648614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4386089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089924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/>
                        <a:t>N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513676"/>
                  </a:ext>
                </a:extLst>
              </a:tr>
              <a:tr h="102887"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7E6E6">
                        <a:lumMod val="75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endParaRPr lang="en-US" sz="600" b="1" dirty="0"/>
                    </a:p>
                  </a:txBody>
                  <a:tcPr marL="0" marR="0" marT="0" marB="0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FA1A8"/>
                    </a:solidFill>
                  </a:tcPr>
                </a:tc>
                <a:tc>
                  <a:txBody>
                    <a:bodyPr/>
                    <a:lstStyle>
                      <a:lvl1pPr marL="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1pPr>
                      <a:lvl2pPr marL="609585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2pPr>
                      <a:lvl3pPr marL="1219170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3pPr>
                      <a:lvl4pPr marL="182875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4pPr>
                      <a:lvl5pPr marL="243833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5pPr>
                      <a:lvl6pPr marL="3047924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6pPr>
                      <a:lvl7pPr marL="3657509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7pPr>
                      <a:lvl8pPr marL="4267093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8pPr>
                      <a:lvl9pPr marL="4876678" algn="l" defTabSz="609585" rtl="0" eaLnBrk="1" latinLnBrk="0" hangingPunct="1">
                        <a:defRPr sz="2400" kern="1200">
                          <a:solidFill>
                            <a:schemeClr val="tx1"/>
                          </a:solidFill>
                          <a:latin typeface="Helvetica"/>
                        </a:defRPr>
                      </a:lvl9pPr>
                    </a:lstStyle>
                    <a:p>
                      <a:pPr algn="ctr"/>
                      <a:r>
                        <a:rPr lang="en-US" sz="600" b="1" dirty="0"/>
                        <a:t>Y</a:t>
                      </a:r>
                    </a:p>
                  </a:txBody>
                  <a:tcPr marL="0" marR="0" marT="0" marB="0" anchor="ctr">
                    <a:lnL w="12700" cmpd="sng">
                      <a:solidFill>
                        <a:sysClr val="windowText" lastClr="000000"/>
                      </a:solidFill>
                    </a:lnL>
                    <a:lnR w="12700" cmpd="sng">
                      <a:solidFill>
                        <a:sysClr val="windowText" lastClr="000000"/>
                      </a:solidFill>
                    </a:lnR>
                    <a:lnT w="12700" cmpd="sng">
                      <a:solidFill>
                        <a:sysClr val="windowText" lastClr="000000"/>
                      </a:solidFill>
                    </a:lnT>
                    <a:lnB w="12700" cmpd="sng">
                      <a:solidFill>
                        <a:sysClr val="windowText" lastClr="000000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0974362"/>
                  </a:ext>
                </a:extLst>
              </a:tr>
            </a:tbl>
          </a:graphicData>
        </a:graphic>
      </p:graphicFrame>
      <p:sp>
        <p:nvSpPr>
          <p:cNvPr id="1018" name="TextBox 1017">
            <a:extLst>
              <a:ext uri="{FF2B5EF4-FFF2-40B4-BE49-F238E27FC236}">
                <a16:creationId xmlns:a16="http://schemas.microsoft.com/office/drawing/2014/main" id="{9E2792F4-2AC7-ED1F-F563-E860228C228E}"/>
              </a:ext>
            </a:extLst>
          </p:cNvPr>
          <p:cNvSpPr txBox="1"/>
          <p:nvPr/>
        </p:nvSpPr>
        <p:spPr>
          <a:xfrm>
            <a:off x="2300785" y="570041"/>
            <a:ext cx="75303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 err="1">
                <a:ln/>
                <a:solidFill>
                  <a:srgbClr val="1D1D1B"/>
                </a:solidFill>
                <a:effectLst/>
                <a:uLnTx/>
                <a:uFillTx/>
                <a:latin typeface="Arial"/>
                <a:ea typeface="MS PGothic"/>
                <a:cs typeface="Arial"/>
                <a:sym typeface="Arial"/>
                <a:rtl val="0"/>
              </a:rPr>
              <a:t>BTKmut</a:t>
            </a:r>
            <a:endParaRPr kumimoji="0" lang="en-US" sz="1000" b="1" i="0" u="none" strike="noStrike" kern="1200" cap="none" spc="0" normalizeH="0" baseline="0" noProof="0" dirty="0">
              <a:ln/>
              <a:solidFill>
                <a:srgbClr val="1D1D1B"/>
              </a:solidFill>
              <a:effectLst/>
              <a:uLnTx/>
              <a:uFillTx/>
              <a:latin typeface="Arial"/>
              <a:ea typeface="MS PGothic"/>
              <a:cs typeface="Arial"/>
              <a:sym typeface="Arial"/>
              <a:rtl val="0"/>
            </a:endParaRPr>
          </a:p>
        </p:txBody>
      </p:sp>
      <p:cxnSp>
        <p:nvCxnSpPr>
          <p:cNvPr id="1019" name="Straight Connector 1018">
            <a:extLst>
              <a:ext uri="{FF2B5EF4-FFF2-40B4-BE49-F238E27FC236}">
                <a16:creationId xmlns:a16="http://schemas.microsoft.com/office/drawing/2014/main" id="{E5056560-6EB3-4237-FC5B-417879E5B446}"/>
              </a:ext>
            </a:extLst>
          </p:cNvPr>
          <p:cNvCxnSpPr>
            <a:cxnSpLocks/>
          </p:cNvCxnSpPr>
          <p:nvPr/>
        </p:nvCxnSpPr>
        <p:spPr>
          <a:xfrm flipH="1">
            <a:off x="680193" y="620448"/>
            <a:ext cx="1642316" cy="0"/>
          </a:xfrm>
          <a:prstGeom prst="line">
            <a:avLst/>
          </a:prstGeom>
          <a:noFill/>
          <a:ln w="317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</p:cxnSp>
      <p:sp>
        <p:nvSpPr>
          <p:cNvPr id="1020" name="TextBox 1019">
            <a:extLst>
              <a:ext uri="{FF2B5EF4-FFF2-40B4-BE49-F238E27FC236}">
                <a16:creationId xmlns:a16="http://schemas.microsoft.com/office/drawing/2014/main" id="{C1A292A6-142B-4CEC-234C-5EBE18BF1DFD}"/>
              </a:ext>
            </a:extLst>
          </p:cNvPr>
          <p:cNvSpPr txBox="1"/>
          <p:nvPr/>
        </p:nvSpPr>
        <p:spPr>
          <a:xfrm>
            <a:off x="9765459" y="948299"/>
            <a:ext cx="203132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ORR 78% acros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Helvetica"/>
                <a:ea typeface="+mn-ea"/>
                <a:cs typeface="+mn-cs"/>
              </a:rPr>
              <a:t>all dose level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DC1DD4-2CC1-8394-16B8-3E61DF10C995}"/>
              </a:ext>
            </a:extLst>
          </p:cNvPr>
          <p:cNvSpPr txBox="1"/>
          <p:nvPr/>
        </p:nvSpPr>
        <p:spPr>
          <a:xfrm>
            <a:off x="8331557" y="6438071"/>
            <a:ext cx="3831476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Thompson MC et al ASH 2024; Abstract 885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CB11F941-5D29-223E-DB1E-7B18FE7142F2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503270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medical report&#10;&#10;AI-generated content may be incorrect.">
            <a:extLst>
              <a:ext uri="{FF2B5EF4-FFF2-40B4-BE49-F238E27FC236}">
                <a16:creationId xmlns:a16="http://schemas.microsoft.com/office/drawing/2014/main" id="{5C77AD25-1964-1276-7B89-52CCE9734C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9" y="332657"/>
            <a:ext cx="5513490" cy="3096344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Picture 5" descr="A close-up of a card&#10;&#10;AI-generated content may be incorrect.">
            <a:extLst>
              <a:ext uri="{FF2B5EF4-FFF2-40B4-BE49-F238E27FC236}">
                <a16:creationId xmlns:a16="http://schemas.microsoft.com/office/drawing/2014/main" id="{A1379B03-17F5-2C26-A2FF-1D3BDFBE532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1944" y="2564904"/>
            <a:ext cx="6019959" cy="3362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788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E64F9F5-3326-FDD4-4C98-4AC5AC459F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E7A887-C2BF-5690-4F00-68257C75ED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92631"/>
            <a:ext cx="12192000" cy="669519"/>
          </a:xfrm>
        </p:spPr>
        <p:txBody>
          <a:bodyPr>
            <a:noAutofit/>
          </a:bodyPr>
          <a:lstStyle/>
          <a:p>
            <a:pPr algn="ctr"/>
            <a:r>
              <a:rPr lang="en-US" sz="4400" b="1" dirty="0"/>
              <a:t>BTK Degrad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B96759D-C7CE-D6B0-5C5D-F2D6FAF554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5059" y="1773716"/>
            <a:ext cx="9753600" cy="3756752"/>
          </a:xfrm>
        </p:spPr>
        <p:txBody>
          <a:bodyPr>
            <a:normAutofit/>
          </a:bodyPr>
          <a:lstStyle/>
          <a:p>
            <a:r>
              <a:rPr lang="en-US" sz="2400" b="1" dirty="0"/>
              <a:t>Two phase 1 studies of distinct molecules, in heavily pretreated patients most with prior BTKi and BCL-2i exposure, both with very nice ORR approximately 76%</a:t>
            </a:r>
          </a:p>
          <a:p>
            <a:endParaRPr lang="en-US" sz="2400" b="1" dirty="0"/>
          </a:p>
          <a:p>
            <a:r>
              <a:rPr lang="en-US" sz="2400" b="1" dirty="0"/>
              <a:t>Follow-up short but very encouraging</a:t>
            </a:r>
          </a:p>
          <a:p>
            <a:endParaRPr lang="en-US" sz="2400" b="1" dirty="0"/>
          </a:p>
          <a:p>
            <a:r>
              <a:rPr lang="en-US" sz="2400" b="1" dirty="0"/>
              <a:t>Mechanisms of resistance still to emerge but important </a:t>
            </a:r>
          </a:p>
          <a:p>
            <a:endParaRPr lang="en-US" sz="2400" b="1" dirty="0"/>
          </a:p>
          <a:p>
            <a:endParaRPr lang="en-US" sz="2400" b="1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6CC870B-77BE-9588-6AD0-C2CB403C8E07}"/>
              </a:ext>
            </a:extLst>
          </p:cNvPr>
          <p:cNvSpPr txBox="1"/>
          <p:nvPr/>
        </p:nvSpPr>
        <p:spPr>
          <a:xfrm>
            <a:off x="4007768" y="6503764"/>
            <a:ext cx="342433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urtesy of Jennifer R Brown, MD, PhD</a:t>
            </a:r>
          </a:p>
        </p:txBody>
      </p:sp>
    </p:spTree>
    <p:extLst>
      <p:ext uri="{BB962C8B-B14F-4D97-AF65-F5344CB8AC3E}">
        <p14:creationId xmlns:p14="http://schemas.microsoft.com/office/powerpoint/2010/main" val="18972794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BB43059F-360E-BC86-D9FC-1E47204BA5B1}"/>
              </a:ext>
            </a:extLst>
          </p:cNvPr>
          <p:cNvSpPr txBox="1"/>
          <p:nvPr/>
        </p:nvSpPr>
        <p:spPr>
          <a:xfrm>
            <a:off x="0" y="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B3E8DC6-9430-956F-F866-F89684157BCE}"/>
              </a:ext>
            </a:extLst>
          </p:cNvPr>
          <p:cNvSpPr txBox="1"/>
          <p:nvPr/>
        </p:nvSpPr>
        <p:spPr>
          <a:xfrm>
            <a:off x="763786" y="908720"/>
            <a:ext cx="10876830" cy="58939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>
              <a:spcBef>
                <a:spcPts val="1800"/>
              </a:spcBef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olo Ghia, MD, PhD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gerbeins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P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brutinib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early-stage chronic lymphocytic leukemia: The randomized, placebo-controlled, double-blind,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hase III CLL12 trial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J Clin Oncol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February;43(4):392-402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Davids MS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-based regimens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frontline or relapsed/refractory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igher-risk CLL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oled analysis of 5 clinical trials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Adv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July 9;8(13):3345-5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hia P et al. Impact of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 treatment by line of therapy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with chronic lymphocytic leukemia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ooled analysis from ELEVATE-TN, ELEVATE-RR, and ASCEND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EHA 2024;Abstract P703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imon F et al. Efficacy and safety of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calabrutinib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reatment in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ry old (≥80y) and/or frail patients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th chronic lymphocytic leukemia (CLL) – Primary endpoint analysis of the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hase II CLL-Frail trial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4618.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hadman M et al. Sustained superiority of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s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ndamustine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+ rituximab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reatment-naive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chronic lymphocytic leukemia/small lymphocytic lymphoma (TN CLL)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5-year follow-up of cohort 1 from the SEQUOIA study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3249. 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own JR et al. Sustained benefit of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zanubrutini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s ibrutinib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with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/R CLL/SLL: Final comparative analysis of ALPINE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2024 December 26;144(26):2706-17.</a:t>
            </a:r>
          </a:p>
          <a:p>
            <a:pPr marL="285750" indent="-28575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en-US" sz="2000" b="0" dirty="0">
              <a:solidFill>
                <a:srgbClr val="000000"/>
              </a:solidFill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66014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C77F7C-8A6A-8768-1C1B-E6E5DC1E9C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D1C58CD-3F66-4735-E597-14B4513CB524}"/>
              </a:ext>
            </a:extLst>
          </p:cNvPr>
          <p:cNvSpPr txBox="1"/>
          <p:nvPr/>
        </p:nvSpPr>
        <p:spPr>
          <a:xfrm>
            <a:off x="0" y="0"/>
            <a:ext cx="12192000" cy="764704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4556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MS PGothic" charset="0"/>
                <a:cs typeface="Calibri" panose="020F0502020204030204" pitchFamily="34" charset="0"/>
              </a:rPr>
              <a:t>Key Datase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23B83C3-B3B8-A4F6-E1FC-EB45BEE93FA0}"/>
              </a:ext>
            </a:extLst>
          </p:cNvPr>
          <p:cNvSpPr txBox="1"/>
          <p:nvPr/>
        </p:nvSpPr>
        <p:spPr>
          <a:xfrm>
            <a:off x="763786" y="620688"/>
            <a:ext cx="11092854" cy="58169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8425">
              <a:spcBef>
                <a:spcPts val="1800"/>
              </a:spcBef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0432FF"/>
                </a:solidFill>
                <a:effectLst/>
                <a:uLnTx/>
                <a:uFillTx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olo Ghia, MD, PhD (continued)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ozarac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S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TKi-induced cardiovascular toxicity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CLL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isk mitigation and management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strategies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 Rev</a:t>
            </a:r>
            <a:r>
              <a:rPr lang="en-US" sz="2000" b="0" i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5 March;70:101268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l-</a:t>
            </a: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awaf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O et al.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-obinutuzumab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for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eviously untreated chronic lymphocytic leukemia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6-year results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f the randomized phase 3 CLL14 study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lood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2024 October 31;144(18):1924-35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ürstenau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irst-line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combinations versus chemoimmunotherapy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fit patients with chronic lymphocytic </a:t>
            </a: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ukaemia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(GAIA/CLL13): 4-year follow-up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from a </a:t>
            </a: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ulticentre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pen-label, </a:t>
            </a: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andomised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phase 3 trial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cet Oncol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June;25(6):744-59.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Roeker L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inimal residual disease (MRD)-adapted duration of front-line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b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and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obinutuzumab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treatment for fit patients with chronic lymphocytic leukemia (CLL). ASH 2024;Abstract 1010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Sharman JP et al.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CRISTALLO: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Results from a Phase III trial of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 err="1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o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inutuzumab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versus fludarabine, cyclophosphamide and rituximab or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ndamustine</a:t>
            </a:r>
            <a:r>
              <a:rPr lang="en-US" sz="20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-r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tuximab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 patients with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ntreated chronic lymphocytic leukemia without del(17p) or </a:t>
            </a:r>
            <a:r>
              <a:rPr lang="en-US" sz="200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P53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mutations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ASH 2024;Abstract 3237. </a:t>
            </a:r>
          </a:p>
          <a:p>
            <a:pPr marL="285750" marR="0" lvl="0" indent="-285750" algn="l" defTabSz="455613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Kater AP et al. Activity of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etoclax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in patients with relapsed or refractory chronic lymphocytic </a:t>
            </a:r>
            <a:r>
              <a:rPr lang="en-US" sz="200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ukaemia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 Analysis of the </a:t>
            </a:r>
            <a:r>
              <a:rPr lang="en-US" sz="200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VENICE-1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2000" b="0" dirty="0" err="1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ulticentre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open-label, single-arm, phase 3b </a:t>
            </a:r>
            <a:b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</a:b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rial. </a:t>
            </a:r>
            <a:r>
              <a:rPr lang="en-US" sz="2000" b="0" i="1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ancet Oncol </a:t>
            </a:r>
            <a:r>
              <a:rPr lang="en-US" sz="2000" b="0" dirty="0">
                <a:solidFill>
                  <a:srgbClr val="000000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2024 April;25(4):463-73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54312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CFG_REPOLL" val="true"/>
  <p:tag name="KPI_CFG_RPCLEARS" val="true"/>
  <p:tag name="KPI_CFG_FB_TYPE" val="Tiny Counter"/>
  <p:tag name="KPI_CFG_FB_MONITOR" val="Slide Show Monitor"/>
  <p:tag name="KPI_CFG_FB_POSITION" val="Bottom Right"/>
  <p:tag name="KPI_CFG_INS_CLK" val="false"/>
  <p:tag name="KPI_CFG_UNITS" val="1"/>
  <p:tag name="KPI_CFG_SPEED" val="false"/>
  <p:tag name="KPI_SLIDE_COUNT" val="89"/>
  <p:tag name="KPI_VERSION" val="2.0.10292.1"/>
  <p:tag name="KPI_STORAGE" val="&lt;keypoint&quot;&quot;&lt;roster&quot;&quot;&lt;currentId&quot;200&quot;&gt;&lt;trIndex&quot;&quot;&lt;tr(@tid:1@pid:1)&quot;&quot;&lt;v&quot;1&quot;&gt;&gt;&lt;tr(@tid:1@pid:2)&quot;&quot;&lt;v&quot;2&quot;&gt;&gt;&lt;tr(@tid:1@pid:3)&quot;&quot;&lt;v&quot;3&quot;&gt;&gt;&lt;tr(@tid:1@pid:4)&quot;&quot;&lt;v&quot;4&quot;&gt;&gt;&lt;tr(@tid:1@pid:5)&quot;&quot;&lt;v&quot;5&quot;&gt;&gt;&lt;tr(@tid:1@pid:6)&quot;&quot;&lt;v&quot;6&quot;&gt;&gt;&lt;tr(@tid:1@pid:7)&quot;&quot;&lt;v&quot;7&quot;&gt;&gt;&lt;tr(@tid:1@pid:8)&quot;&quot;&lt;v&quot;8&quot;&gt;&gt;&lt;tr(@tid:1@pid:9)&quot;&quot;&lt;v&quot;9&quot;&gt;&gt;&lt;tr(@tid:1@pid:10)&quot;&quot;&lt;v&quot;10&quot;&gt;&gt;&lt;tr(@tid:1@pid:11)&quot;&quot;&lt;v&quot;11&quot;&gt;&gt;&lt;tr(@tid:1@pid:12)&quot;&quot;&lt;v&quot;12&quot;&gt;&gt;&lt;tr(@tid:1@pid:13)&quot;&quot;&lt;v&quot;13&quot;&gt;&gt;&lt;tr(@tid:1@pid:14)&quot;&quot;&lt;v&quot;14&quot;&gt;&gt;&lt;tr(@tid:1@pid:15)&quot;&quot;&lt;v&quot;15&quot;&gt;&gt;&lt;tr(@tid:1@pid:16)&quot;&quot;&lt;v&quot;16&quot;&gt;&gt;&lt;tr(@tid:1@pid:17)&quot;&quot;&lt;v&quot;17&quot;&gt;&gt;&lt;tr(@tid:1@pid:18)&quot;&quot;&lt;v&quot;18&quot;&gt;&gt;&lt;tr(@tid:1@pid:19)&quot;&quot;&lt;v&quot;19&quot;&gt;&gt;&lt;tr(@tid:1@pid:20)&quot;&quot;&lt;v&quot;20&quot;&gt;&gt;&lt;tr(@tid:1@pid:21)&quot;&quot;&lt;v&quot;21&quot;&gt;&gt;&lt;tr(@tid:1@pid:22)&quot;&quot;&lt;v&quot;22&quot;&gt;&gt;&lt;tr(@tid:1@pid:23)&quot;&quot;&lt;v&quot;23&quot;&gt;&gt;&lt;tr(@tid:1@pid:24)&quot;&quot;&lt;v&quot;24&quot;&gt;&gt;&lt;tr(@tid:1@pid:25)&quot;&quot;&lt;v&quot;25&quot;&gt;&gt;&lt;tr(@tid:1@pid:26)&quot;&quot;&lt;v&quot;26&quot;&gt;&gt;&lt;tr(@tid:1@pid:27)&quot;&quot;&lt;v&quot;27&quot;&gt;&gt;&lt;tr(@tid:1@pid:28)&quot;&quot;&lt;v&quot;28&quot;&gt;&gt;&lt;tr(@tid:1@pid:29)&quot;&quot;&lt;v&quot;29&quot;&gt;&gt;&lt;tr(@tid:1@pid:30)&quot;&quot;&lt;v&quot;30&quot;&gt;&gt;&lt;tr(@tid:1@pid:31)&quot;&quot;&lt;v&quot;31&quot;&gt;&gt;&lt;tr(@tid:1@pid:32)&quot;&quot;&lt;v&quot;32&quot;&gt;&gt;&lt;tr(@tid:1@pid:33)&quot;&quot;&lt;v&quot;33&quot;&gt;&gt;&lt;tr(@tid:1@pid:34)&quot;&quot;&lt;v&quot;34&quot;&gt;&gt;&lt;tr(@tid:1@pid:35)&quot;&quot;&lt;v&quot;35&quot;&gt;&gt;&lt;tr(@tid:1@pid:36)&quot;&quot;&lt;v&quot;36&quot;&gt;&gt;&lt;tr(@tid:1@pid:37)&quot;&quot;&lt;v&quot;37&quot;&gt;&gt;&lt;tr(@tid:1@pid:38)&quot;&quot;&lt;v&quot;38&quot;&gt;&gt;&lt;tr(@tid:1@pid:39)&quot;&quot;&lt;v&quot;39&quot;&gt;&gt;&lt;tr(@tid:1@pid:40)&quot;&quot;&lt;v&quot;40&quot;&gt;&gt;&lt;tr(@tid:1@pid:41)&quot;&quot;&lt;v&quot;41&quot;&gt;&gt;&lt;tr(@tid:1@pid:42)&quot;&quot;&lt;v&quot;42&quot;&gt;&gt;&lt;tr(@tid:1@pid:43)&quot;&quot;&lt;v&quot;43&quot;&gt;&gt;&lt;tr(@tid:1@pid:44)&quot;&quot;&lt;v&quot;44&quot;&gt;&gt;&lt;tr(@tid:1@pid:45)&quot;&quot;&lt;v&quot;45&quot;&gt;&gt;&lt;tr(@tid:1@pid:46)&quot;&quot;&lt;v&quot;46&quot;&gt;&gt;&lt;tr(@tid:1@pid:47)&quot;&quot;&lt;v&quot;47&quot;&gt;&gt;&lt;tr(@tid:1@pid:48)&quot;&quot;&lt;v&quot;48&quot;&gt;&gt;&lt;tr(@tid:1@pid:49)&quot;&quot;&lt;v&quot;49&quot;&gt;&gt;&lt;tr(@tid:1@pid:50)&quot;&quot;&lt;v&quot;50&quot;&gt;&gt;&lt;tr(@tid:1@pid:51)&quot;&quot;&lt;v&quot;51&quot;&gt;&gt;&lt;tr(@tid:1@pid:52)&quot;&quot;&lt;v&quot;52&quot;&gt;&gt;&lt;tr(@tid:1@pid:53)&quot;&quot;&lt;v&quot;53&quot;&gt;&gt;&lt;tr(@tid:1@pid:54)&quot;&quot;&lt;v&quot;54&quot;&gt;&gt;&lt;tr(@tid:1@pid:55)&quot;&quot;&lt;v&quot;55&quot;&gt;&gt;&lt;tr(@tid:1@pid:56)&quot;&quot;&lt;v&quot;56&quot;&gt;&gt;&lt;tr(@tid:1@pid:57)&quot;&quot;&lt;v&quot;57&quot;&gt;&gt;&lt;tr(@tid:1@pid:58)&quot;&quot;&lt;v&quot;58&quot;&gt;&gt;&lt;tr(@tid:1@pid:59)&quot;&quot;&lt;v&quot;59&quot;&gt;&gt;&lt;tr(@tid:1@pid:60)&quot;&quot;&lt;v&quot;60&quot;&gt;&gt;&lt;tr(@tid:1@pid:61)&quot;&quot;&lt;v&quot;61&quot;&gt;&gt;&lt;tr(@tid:1@pid:62)&quot;&quot;&lt;v&quot;62&quot;&gt;&gt;&lt;tr(@tid:1@pid:63)&quot;&quot;&lt;v&quot;63&quot;&gt;&gt;&lt;tr(@tid:1@pid:64)&quot;&quot;&lt;v&quot;64&quot;&gt;&gt;&lt;tr(@tid:1@pid:65)&quot;&quot;&lt;v&quot;65&quot;&gt;&gt;&lt;tr(@tid:1@pid:66)&quot;&quot;&lt;v&quot;66&quot;&gt;&gt;&lt;tr(@tid:1@pid:67)&quot;&quot;&lt;v&quot;67&quot;&gt;&gt;&lt;tr(@tid:1@pid:68)&quot;&quot;&lt;v&quot;68&quot;&gt;&gt;&lt;tr(@tid:1@pid:69)&quot;&quot;&lt;v&quot;69&quot;&gt;&gt;&lt;tr(@tid:1@pid:70)&quot;&quot;&lt;v&quot;70&quot;&gt;&gt;&lt;tr(@tid:1@pid:71)&quot;&quot;&lt;v&quot;71&quot;&gt;&gt;&lt;tr(@tid:1@pid:72)&quot;&quot;&lt;v&quot;72&quot;&gt;&gt;&lt;tr(@tid:1@pid:73)&quot;&quot;&lt;v&quot;73&quot;&gt;&gt;&lt;tr(@tid:1@pid:74)&quot;&quot;&lt;v&quot;74&quot;&gt;&gt;&lt;tr(@tid:1@pid:75)&quot;&quot;&lt;v&quot;75&quot;&gt;&gt;&lt;tr(@tid:1@pid:76)&quot;&quot;&lt;v&quot;76&quot;&gt;&gt;&lt;tr(@tid:1@pid:77)&quot;&quot;&lt;v&quot;77&quot;&gt;&gt;&lt;tr(@tid:1@pid:78)&quot;&quot;&lt;v&quot;78&quot;&gt;&gt;&lt;tr(@tid:1@pid:79)&quot;&quot;&lt;v&quot;79&quot;&gt;&gt;&lt;tr(@tid:1@pid:80)&quot;&quot;&lt;v&quot;80&quot;&gt;&gt;&lt;tr(@tid:1@pid:81)&quot;&quot;&lt;v&quot;81&quot;&gt;&gt;&lt;tr(@tid:1@pid:82)&quot;&quot;&lt;v&quot;82&quot;&gt;&gt;&lt;tr(@tid:1@pid:83)&quot;&quot;&lt;v&quot;83&quot;&gt;&gt;&lt;tr(@tid:1@pid:84)&quot;&quot;&lt;v&quot;84&quot;&gt;&gt;&lt;tr(@tid:1@pid:85)&quot;&quot;&lt;v&quot;85&quot;&gt;&gt;&lt;tr(@tid:1@pid:86)&quot;&quot;&lt;v&quot;86&quot;&gt;&gt;&lt;tr(@tid:1@pid:87)&quot;&quot;&lt;v&quot;87&quot;&gt;&gt;&lt;tr(@tid:1@pid:88)&quot;&quot;&lt;v&quot;88&quot;&gt;&gt;&lt;tr(@tid:1@pid:89)&quot;&quot;&lt;v&quot;89&quot;&gt;&gt;&lt;tr(@tid:1@pid:90)&quot;&quot;&lt;v&quot;90&quot;&gt;&gt;&lt;tr(@tid:1@pid:91)&quot;&quot;&lt;v&quot;91&quot;&gt;&gt;&lt;tr(@tid:1@pid:92)&quot;&quot;&lt;v&quot;92&quot;&gt;&gt;&lt;tr(@tid:1@pid:93)&quot;&quot;&lt;v&quot;93&quot;&gt;&gt;&lt;tr(@tid:1@pid:94)&quot;&quot;&lt;v&quot;94&quot;&gt;&gt;&lt;tr(@tid:1@pid:95)&quot;&quot;&lt;v&quot;95&quot;&gt;&gt;&lt;tr(@tid:1@pid:96)&quot;&quot;&lt;v&quot;96&quot;&gt;&gt;&lt;tr(@tid:1@pid:97)&quot;&quot;&lt;v&quot;97&quot;&gt;&gt;&lt;tr(@tid:1@pid:98)&quot;&quot;&lt;v&quot;98&quot;&gt;&gt;&lt;tr(@tid:1@pid:99)&quot;&quot;&lt;v&quot;99&quot;&gt;&gt;&lt;tr(@tid:1@pid:100)&quot;&quot;&lt;v&quot;100&quot;&gt;&gt;&lt;tr(@tid:2@pid:1)&quot;&quot;&lt;v&quot;101&quot;&gt;&gt;&lt;tr(@tid:2@pid:2)&quot;&quot;&lt;v&quot;102&quot;&gt;&gt;&lt;tr(@tid:2@pid:3)&quot;&quot;&lt;v&quot;103&quot;&gt;&gt;&lt;tr(@tid:2@pid:4)&quot;&quot;&lt;v&quot;104&quot;&gt;&gt;&lt;tr(@tid:2@pid:5)&quot;&quot;&lt;v&quot;105&quot;&gt;&gt;&lt;tr(@tid:2@pid:6)&quot;&quot;&lt;v&quot;106&quot;&gt;&gt;&lt;tr(@tid:2@pid:7)&quot;&quot;&lt;v&quot;107&quot;&gt;&gt;&lt;tr(@tid:2@pid:8)&quot;&quot;&lt;v&quot;108&quot;&gt;&gt;&lt;tr(@tid:2@pid:9)&quot;&quot;&lt;v&quot;109&quot;&gt;&gt;&lt;tr(@tid:2@pid:10)&quot;&quot;&lt;v&quot;110&quot;&gt;&gt;&lt;tr(@tid:2@pid:11)&quot;&quot;&lt;v&quot;111&quot;&gt;&gt;&lt;tr(@tid:2@pid:12)&quot;&quot;&lt;v&quot;112&quot;&gt;&gt;&lt;tr(@tid:2@pid:13)&quot;&quot;&lt;v&quot;113&quot;&gt;&gt;&lt;tr(@tid:2@pid:14)&quot;&quot;&lt;v&quot;114&quot;&gt;&gt;&lt;tr(@tid:2@pid:15)&quot;&quot;&lt;v&quot;115&quot;&gt;&gt;&lt;tr(@tid:2@pid:16)&quot;&quot;&lt;v&quot;116&quot;&gt;&gt;&lt;tr(@tid:2@pid:17)&quot;&quot;&lt;v&quot;117&quot;&gt;&gt;&lt;tr(@tid:2@pid:18)&quot;&quot;&lt;v&quot;118&quot;&gt;&gt;&lt;tr(@tid:2@pid:19)&quot;&quot;&lt;v&quot;119&quot;&gt;&gt;&lt;tr(@tid:2@pid:20)&quot;&quot;&lt;v&quot;120&quot;&gt;&gt;&lt;tr(@tid:2@pid:21)&quot;&quot;&lt;v&quot;121&quot;&gt;&gt;&lt;tr(@tid:2@pid:22)&quot;&quot;&lt;v&quot;122&quot;&gt;&gt;&lt;tr(@tid:2@pid:23)&quot;&quot;&lt;v&quot;123&quot;&gt;&gt;&lt;tr(@tid:2@pid:24)&quot;&quot;&lt;v&quot;124&quot;&gt;&gt;&lt;tr(@tid:2@pid:25)&quot;&quot;&lt;v&quot;125&quot;&gt;&gt;&lt;tr(@tid:2@pid:26)&quot;&quot;&lt;v&quot;126&quot;&gt;&gt;&lt;tr(@tid:2@pid:27)&quot;&quot;&lt;v&quot;127&quot;&gt;&gt;&lt;tr(@tid:2@pid:28)&quot;&quot;&lt;v&quot;128&quot;&gt;&gt;&lt;tr(@tid:2@pid:29)&quot;&quot;&lt;v&quot;129&quot;&gt;&gt;&lt;tr(@tid:2@pid:30)&quot;&quot;&lt;v&quot;130&quot;&gt;&gt;&lt;tr(@tid:2@pid:31)&quot;&quot;&lt;v&quot;131&quot;&gt;&gt;&lt;tr(@tid:2@pid:32)&quot;&quot;&lt;v&quot;132&quot;&gt;&gt;&lt;tr(@tid:2@pid:33)&quot;&quot;&lt;v&quot;133&quot;&gt;&gt;&lt;tr(@tid:2@pid:34)&quot;&quot;&lt;v&quot;134&quot;&gt;&gt;&lt;tr(@tid:2@pid:35)&quot;&quot;&lt;v&quot;135&quot;&gt;&gt;&lt;tr(@tid:2@pid:36)&quot;&quot;&lt;v&quot;136&quot;&gt;&gt;&lt;tr(@tid:2@pid:37)&quot;&quot;&lt;v&quot;137&quot;&gt;&gt;&lt;tr(@tid:2@pid:38)&quot;&quot;&lt;v&quot;138&quot;&gt;&gt;&lt;tr(@tid:2@pid:39)&quot;&quot;&lt;v&quot;139&quot;&gt;&gt;&lt;tr(@tid:2@pid:40)&quot;&quot;&lt;v&quot;140&quot;&gt;&gt;&lt;tr(@tid:2@pid:41)&quot;&quot;&lt;v&quot;141&quot;&gt;&gt;&lt;tr(@tid:2@pid:42)&quot;&quot;&lt;v&quot;142&quot;&gt;&gt;&lt;tr(@tid:2@pid:43)&quot;&quot;&lt;v&quot;143&quot;&gt;&gt;&lt;tr(@tid:2@pid:44)&quot;&quot;&lt;v&quot;144&quot;&gt;&gt;&lt;tr(@tid:2@pid:45)&quot;&quot;&lt;v&quot;145&quot;&gt;&gt;&lt;tr(@tid:2@pid:46)&quot;&quot;&lt;v&quot;146&quot;&gt;&gt;&lt;tr(@tid:2@pid:47)&quot;&quot;&lt;v&quot;147&quot;&gt;&gt;&lt;tr(@tid:2@pid:48)&quot;&quot;&lt;v&quot;148&quot;&gt;&gt;&lt;tr(@tid:2@pid:49)&quot;&quot;&lt;v&quot;149&quot;&gt;&gt;&lt;tr(@tid:2@pid:50)&quot;&quot;&lt;v&quot;150&quot;&gt;&gt;&lt;tr(@tid:2@pid:51)&quot;&quot;&lt;v&quot;151&quot;&gt;&gt;&lt;tr(@tid:2@pid:52)&quot;&quot;&lt;v&quot;152&quot;&gt;&gt;&lt;tr(@tid:2@pid:53)&quot;&quot;&lt;v&quot;153&quot;&gt;&gt;&lt;tr(@tid:2@pid:54)&quot;&quot;&lt;v&quot;154&quot;&gt;&gt;&lt;tr(@tid:2@pid:55)&quot;&quot;&lt;v&quot;155&quot;&gt;&gt;&lt;tr(@tid:2@pid:56)&quot;&quot;&lt;v&quot;156&quot;&gt;&gt;&lt;tr(@tid:2@pid:57)&quot;&quot;&lt;v&quot;157&quot;&gt;&gt;&lt;tr(@tid:2@pid:58)&quot;&quot;&lt;v&quot;158&quot;&gt;&gt;&lt;tr(@tid:2@pid:59)&quot;&quot;&lt;v&quot;159&quot;&gt;&gt;&lt;tr(@tid:2@pid:60)&quot;&quot;&lt;v&quot;160&quot;&gt;&gt;&lt;tr(@tid:2@pid:61)&quot;&quot;&lt;v&quot;161&quot;&gt;&gt;&lt;tr(@tid:2@pid:62)&quot;&quot;&lt;v&quot;162&quot;&gt;&gt;&lt;tr(@tid:2@pid:63)&quot;&quot;&lt;v&quot;163&quot;&gt;&gt;&lt;tr(@tid:2@pid:64)&quot;&quot;&lt;v&quot;164&quot;&gt;&gt;&lt;tr(@tid:2@pid:65)&quot;&quot;&lt;v&quot;165&quot;&gt;&gt;&lt;tr(@tid:2@pid:66)&quot;&quot;&lt;v&quot;166&quot;&gt;&gt;&lt;tr(@tid:2@pid:67)&quot;&quot;&lt;v&quot;167&quot;&gt;&gt;&lt;tr(@tid:2@pid:68)&quot;&quot;&lt;v&quot;168&quot;&gt;&gt;&lt;tr(@tid:2@pid:69)&quot;&quot;&lt;v&quot;169&quot;&gt;&gt;&lt;tr(@tid:2@pid:70)&quot;&quot;&lt;v&quot;170&quot;&gt;&gt;&lt;tr(@tid:2@pid:71)&quot;&quot;&lt;v&quot;171&quot;&gt;&gt;&lt;tr(@tid:2@pid:72)&quot;&quot;&lt;v&quot;172&quot;&gt;&gt;&lt;tr(@tid:2@pid:73)&quot;&quot;&lt;v&quot;173&quot;&gt;&gt;&lt;tr(@tid:2@pid:74)&quot;&quot;&lt;v&quot;174&quot;&gt;&gt;&lt;tr(@tid:2@pid:75)&quot;&quot;&lt;v&quot;175&quot;&gt;&gt;&lt;tr(@tid:2@pid:76)&quot;&quot;&lt;v&quot;176&quot;&gt;&gt;&lt;tr(@tid:2@pid:77)&quot;&quot;&lt;v&quot;177&quot;&gt;&gt;&lt;tr(@tid:2@pid:78)&quot;&quot;&lt;v&quot;178&quot;&gt;&gt;&lt;tr(@tid:2@pid:79)&quot;&quot;&lt;v&quot;179&quot;&gt;&gt;&lt;tr(@tid:2@pid:80)&quot;&quot;&lt;v&quot;180&quot;&gt;&gt;&lt;tr(@tid:2@pid:81)&quot;&quot;&lt;v&quot;181&quot;&gt;&gt;&lt;tr(@tid:2@pid:82)&quot;&quot;&lt;v&quot;182&quot;&gt;&gt;&lt;tr(@tid:2@pid:83)&quot;&quot;&lt;v&quot;183&quot;&gt;&gt;&lt;tr(@tid:2@pid:84)&quot;&quot;&lt;v&quot;184&quot;&gt;&gt;&lt;tr(@tid:2@pid:85)&quot;&quot;&lt;v&quot;185&quot;&gt;&gt;&lt;tr(@tid:2@pid:86)&quot;&quot;&lt;v&quot;186&quot;&gt;&gt;&lt;tr(@tid:2@pid:87)&quot;&quot;&lt;v&quot;187&quot;&gt;&gt;&lt;tr(@tid:2@pid:88)&quot;&quot;&lt;v&quot;188&quot;&gt;&gt;&lt;tr(@tid:2@pid:89)&quot;&quot;&lt;v&quot;189&quot;&gt;&gt;&lt;tr(@tid:2@pid:90)&quot;&quot;&lt;v&quot;190&quot;&gt;&gt;&lt;tr(@tid:2@pid:91)&quot;&quot;&lt;v&quot;191&quot;&gt;&gt;&lt;tr(@tid:2@pid:92)&quot;&quot;&lt;v&quot;192&quot;&gt;&gt;&lt;tr(@tid:2@pid:93)&quot;&quot;&lt;v&quot;193&quot;&gt;&gt;&lt;tr(@tid:2@pid:94)&quot;&quot;&lt;v&quot;194&quot;&gt;&gt;&lt;tr(@tid:2@pid:95)&quot;&quot;&lt;v&quot;195&quot;&gt;&gt;&lt;tr(@tid:2@pid:96)&quot;&quot;&lt;v&quot;196&quot;&gt;&gt;&lt;tr(@tid:2@pid:97)&quot;&quot;&lt;v&quot;197&quot;&gt;&gt;&lt;tr(@tid:2@pid:98)&quot;&quot;&lt;v&quot;198&quot;&gt;&gt;&lt;tr(@tid:2@pid:99)&quot;&quot;&lt;v&quot;199&quot;&gt;&gt;&lt;tr(@tid:2@pid:100)&quot;&quot;&lt;v&quot;200&quot;&gt;&gt;&gt;&lt;people&quot;&quot;&lt;p(@id:101)&quot;&quot;&lt;f(@i:0)&quot;Keypad&quot;&gt;&lt;f(@i:1)&quot;1&quot;&gt;&gt;&lt;p(@id:102)&quot;&quot;&lt;f(@i:0)&quot;Keypad&quot;&gt;&lt;f(@i:1)&quot;2&quot;&gt;&gt;&lt;p(@id:103)&quot;&quot;&lt;f(@i:0)&quot;Keypad&quot;&gt;&lt;f(@i:1)&quot;3&quot;&gt;&gt;&lt;p(@id:104)&quot;&quot;&lt;f(@i:0)&quot;Keypad&quot;&gt;&lt;f(@i:1)&quot;4&quot;&gt;&gt;&lt;p(@id:105)&quot;&quot;&lt;f(@i:0)&quot;Keypad&quot;&gt;&lt;f(@i:1)&quot;5&quot;&gt;&gt;&lt;p(@id:106)&quot;&quot;&lt;f(@i:0)&quot;Keypad&quot;&gt;&lt;f(@i:1)&quot;6&quot;&gt;&gt;&lt;p(@id:107)&quot;&quot;&lt;f(@i:0)&quot;Keypad&quot;&gt;&lt;f(@i:1)&quot;7&quot;&gt;&gt;&lt;p(@id:108)&quot;&quot;&lt;f(@i:0)&quot;Keypad&quot;&gt;&lt;f(@i:1)&quot;8&quot;&gt;&gt;&lt;p(@id:109)&quot;&quot;&lt;f(@i:0)&quot;Keypad&quot;&gt;&lt;f(@i:1)&quot;9&quot;&gt;&gt;&lt;p(@id:110)&quot;&quot;&lt;f(@i:0)&quot;Keypad&quot;&gt;&lt;f(@i:1)&quot;10&quot;&gt;&gt;&lt;p(@id:111)&quot;&quot;&lt;f(@i:0)&quot;Keypad&quot;&gt;&lt;f(@i:1)&quot;11&quot;&gt;&gt;&lt;p(@id:112)&quot;&quot;&lt;f(@i:0)&quot;Keypad&quot;&gt;&lt;f(@i:1)&quot;12&quot;&gt;&gt;&lt;p(@id:113)&quot;&quot;&lt;f(@i:0)&quot;Keypad&quot;&gt;&lt;f(@i:1)&quot;13&quot;&gt;&gt;&lt;p(@id:114)&quot;&quot;&lt;f(@i:0)&quot;Keypad&quot;&gt;&lt;f(@i:1)&quot;14&quot;&gt;&gt;&lt;p(@id:115)&quot;&quot;&lt;f(@i:0)&quot;Keypad&quot;&gt;&lt;f(@i:1)&quot;15&quot;&gt;&gt;&lt;p(@id:116)&quot;&quot;&lt;f(@i:0)&quot;Keypad&quot;&gt;&lt;f(@i:1)&quot;16&quot;&gt;&gt;&lt;p(@id:117)&quot;&quot;&lt;f(@i:0)&quot;Keypad&quot;&gt;&lt;f(@i:1)&quot;17&quot;&gt;&gt;&lt;p(@id:118)&quot;&quot;&lt;f(@i:0)&quot;Keypad&quot;&gt;&lt;f(@i:1)&quot;18&quot;&gt;&gt;&lt;p(@id:119)&quot;&quot;&lt;f(@i:0)&quot;Keypad&quot;&gt;&lt;f(@i:1)&quot;19&quot;&gt;&gt;&lt;p(@id:120)&quot;&quot;&lt;f(@i:0)&quot;Keypad&quot;&gt;&lt;f(@i:1)&quot;20&quot;&gt;&gt;&lt;p(@id:121)&quot;&quot;&lt;f(@i:0)&quot;Keypad&quot;&gt;&lt;f(@i:1)&quot;21&quot;&gt;&gt;&lt;p(@id:122)&quot;&quot;&lt;f(@i:0)&quot;Keypad&quot;&gt;&lt;f(@i:1)&quot;22&quot;&gt;&gt;&lt;p(@id:123)&quot;&quot;&lt;f(@i:0)&quot;Keypad&quot;&gt;&lt;f(@i:1)&quot;23&quot;&gt;&gt;&lt;p(@id:124)&quot;&quot;&lt;f(@i:0)&quot;Keypad&quot;&gt;&lt;f(@i:1)&quot;24&quot;&gt;&gt;&lt;p(@id:125)&quot;&quot;&lt;f(@i:0)&quot;Keypad&quot;&gt;&lt;f(@i:1)&quot;25&quot;&gt;&gt;&lt;p(@id:126)&quot;&quot;&lt;f(@i:0)&quot;Keypad&quot;&gt;&lt;f(@i:1)&quot;26&quot;&gt;&gt;&lt;p(@id:127)&quot;&quot;&lt;f(@i:0)&quot;Keypad&quot;&gt;&lt;f(@i:1)&quot;27&quot;&gt;&gt;&lt;p(@id:128)&quot;&quot;&lt;f(@i:0)&quot;Keypad&quot;&gt;&lt;f(@i:1)&quot;28&quot;&gt;&gt;&lt;p(@id:129)&quot;&quot;&lt;f(@i:0)&quot;Keypad&quot;&gt;&lt;f(@i:1)&quot;29&quot;&gt;&gt;&lt;p(@id:130)&quot;&quot;&lt;f(@i:0)&quot;Keypad&quot;&gt;&lt;f(@i:1)&quot;30&quot;&gt;&gt;&lt;p(@id:131)&quot;&quot;&lt;f(@i:0)&quot;Keypad&quot;&gt;&lt;f(@i:1)&quot;31&quot;&gt;&gt;&lt;p(@id:132)&quot;&quot;&lt;f(@i:0)&quot;Keypad&quot;&gt;&lt;f(@i:1)&quot;32&quot;&gt;&gt;&lt;p(@id:133)&quot;&quot;&lt;f(@i:0)&quot;Keypad&quot;&gt;&lt;f(@i:1)&quot;33&quot;&gt;&gt;&lt;p(@id:134)&quot;&quot;&lt;f(@i:0)&quot;Keypad&quot;&gt;&lt;f(@i:1)&quot;34&quot;&gt;&gt;&lt;p(@id:135)&quot;&quot;&lt;f(@i:0)&quot;Keypad&quot;&gt;&lt;f(@i:1)&quot;35&quot;&gt;&gt;&lt;p(@id:136)&quot;&quot;&lt;f(@i:0)&quot;Keypad&quot;&gt;&lt;f(@i:1)&quot;36&quot;&gt;&gt;&lt;p(@id:137)&quot;&quot;&lt;f(@i:0)&quot;Keypad&quot;&gt;&lt;f(@i:1)&quot;37&quot;&gt;&gt;&lt;p(@id:138)&quot;&quot;&lt;f(@i:0)&quot;Keypad&quot;&gt;&lt;f(@i:1)&quot;38&quot;&gt;&gt;&lt;p(@id:139)&quot;&quot;&lt;f(@i:0)&quot;Keypad&quot;&gt;&lt;f(@i:1)&quot;39&quot;&gt;&gt;&lt;p(@id:140)&quot;&quot;&lt;f(@i:0)&quot;Keypad&quot;&gt;&lt;f(@i:1)&quot;40&quot;&gt;&gt;&lt;p(@id:141)&quot;&quot;&lt;f(@i:0)&quot;Keypad&quot;&gt;&lt;f(@i:1)&quot;41&quot;&gt;&gt;&lt;p(@id:142)&quot;&quot;&lt;f(@i:0)&quot;Keypad&quot;&gt;&lt;f(@i:1)&quot;42&quot;&gt;&gt;&lt;p(@id:143)&quot;&quot;&lt;f(@i:0)&quot;Keypad&quot;&gt;&lt;f(@i:1)&quot;43&quot;&gt;&gt;&lt;p(@id:144)&quot;&quot;&lt;f(@i:0)&quot;Keypad&quot;&gt;&lt;f(@i:1)&quot;44&quot;&gt;&gt;&lt;p(@id:145)&quot;&quot;&lt;f(@i:0)&quot;Keypad&quot;&gt;&lt;f(@i:1)&quot;45&quot;&gt;&gt;&lt;p(@id:146)&quot;&quot;&lt;f(@i:0)&quot;Keypad&quot;&gt;&lt;f(@i:1)&quot;46&quot;&gt;&gt;&lt;p(@id:147)&quot;&quot;&lt;f(@i:0)&quot;Keypad&quot;&gt;&lt;f(@i:1)&quot;47&quot;&gt;&gt;&lt;p(@id:148)&quot;&quot;&lt;f(@i:0)&quot;Keypad&quot;&gt;&lt;f(@i:1)&quot;48&quot;&gt;&gt;&lt;p(@id:149)&quot;&quot;&lt;f(@i:0)&quot;Keypad&quot;&gt;&lt;f(@i:1)&quot;49&quot;&gt;&gt;&lt;p(@id:150)&quot;&quot;&lt;f(@i:0)&quot;Keypad&quot;&gt;&lt;f(@i:1)&quot;50&quot;&gt;&gt;&lt;p(@id:151)&quot;&quot;&lt;f(@i:0)&quot;Keypad&quot;&gt;&lt;f(@i:1)&quot;51&quot;&gt;&gt;&lt;p(@id:152)&quot;&quot;&lt;f(@i:0)&quot;Keypad&quot;&gt;&lt;f(@i:1)&quot;52&quot;&gt;&gt;&lt;p(@id:153)&quot;&quot;&lt;f(@i:0)&quot;Keypad&quot;&gt;&lt;f(@i:1)&quot;53&quot;&gt;&gt;&lt;p(@id:154)&quot;&quot;&lt;f(@i:0)&quot;Keypad&quot;&gt;&lt;f(@i:1)&quot;54&quot;&gt;&gt;&lt;p(@id:155)&quot;&quot;&lt;f(@i:0)&quot;Keypad&quot;&gt;&lt;f(@i:1)&quot;55&quot;&gt;&gt;&lt;p(@id:156)&quot;&quot;&lt;f(@i:0)&quot;Keypad&quot;&gt;&lt;f(@i:1)&quot;56&quot;&gt;&gt;&lt;p(@id:157)&quot;&quot;&lt;f(@i:0)&quot;Keypad&quot;&gt;&lt;f(@i:1)&quot;57&quot;&gt;&gt;&lt;p(@id:158)&quot;&quot;&lt;f(@i:0)&quot;Keypad&quot;&gt;&lt;f(@i:1)&quot;58&quot;&gt;&gt;&lt;p(@id:159)&quot;&quot;&lt;f(@i:0)&quot;Keypad&quot;&gt;&lt;f(@i:1)&quot;59&quot;&gt;&gt;&lt;p(@id:160)&quot;&quot;&lt;f(@i:0)&quot;Keypad&quot;&gt;&lt;f(@i:1)&quot;60&quot;&gt;&gt;&lt;p(@id:161)&quot;&quot;&lt;f(@i:0)&quot;Keypad&quot;&gt;&lt;f(@i:1)&quot;61&quot;&gt;&gt;&lt;p(@id:162)&quot;&quot;&lt;f(@i:0)&quot;Keypad&quot;&gt;&lt;f(@i:1)&quot;62&quot;&gt;&gt;&lt;p(@id:163)&quot;&quot;&lt;f(@i:0)&quot;Keypad&quot;&gt;&lt;f(@i:1)&quot;63&quot;&gt;&gt;&lt;p(@id:164)&quot;&quot;&lt;f(@i:0)&quot;Keypad&quot;&gt;&lt;f(@i:1)&quot;64&quot;&gt;&gt;&lt;p(@id:165)&quot;&quot;&lt;f(@i:0)&quot;Keypad&quot;&gt;&lt;f(@i:1)&quot;65&quot;&gt;&gt;&lt;p(@id:166)&quot;&quot;&lt;f(@i:0)&quot;Keypad&quot;&gt;&lt;f(@i:1)&quot;66&quot;&gt;&gt;&lt;p(@id:167)&quot;&quot;&lt;f(@i:0)&quot;Keypad&quot;&gt;&lt;f(@i:1)&quot;67&quot;&gt;&gt;&lt;p(@id:168)&quot;&quot;&lt;f(@i:0)&quot;Keypad&quot;&gt;&lt;f(@i:1)&quot;68&quot;&gt;&gt;&lt;p(@id:169)&quot;&quot;&lt;f(@i:0)&quot;Keypad&quot;&gt;&lt;f(@i:1)&quot;69&quot;&gt;&gt;&lt;p(@id:170)&quot;&quot;&lt;f(@i:0)&quot;Keypad&quot;&gt;&lt;f(@i:1)&quot;70&quot;&gt;&gt;&lt;p(@id:171)&quot;&quot;&lt;f(@i:0)&quot;Keypad&quot;&gt;&lt;f(@i:1)&quot;71&quot;&gt;&gt;&lt;p(@id:172)&quot;&quot;&lt;f(@i:0)&quot;Keypad&quot;&gt;&lt;f(@i:1)&quot;72&quot;&gt;&gt;&lt;p(@id:173)&quot;&quot;&lt;f(@i:0)&quot;Keypad&quot;&gt;&lt;f(@i:1)&quot;73&quot;&gt;&gt;&lt;p(@id:174)&quot;&quot;&lt;f(@i:0)&quot;Keypad&quot;&gt;&lt;f(@i:1)&quot;74&quot;&gt;&gt;&lt;p(@id:175)&quot;&quot;&lt;f(@i:0)&quot;Keypad&quot;&gt;&lt;f(@i:1)&quot;75&quot;&gt;&gt;&lt;p(@id:176)&quot;&quot;&lt;f(@i:0)&quot;Keypad&quot;&gt;&lt;f(@i:1)&quot;76&quot;&gt;&gt;&lt;p(@id:177)&quot;&quot;&lt;f(@i:0)&quot;Keypad&quot;&gt;&lt;f(@i:1)&quot;77&quot;&gt;&gt;&lt;p(@id:178)&quot;&quot;&lt;f(@i:0)&quot;Keypad&quot;&gt;&lt;f(@i:1)&quot;78&quot;&gt;&gt;&lt;p(@id:179)&quot;&quot;&lt;f(@i:0)&quot;Keypad&quot;&gt;&lt;f(@i:1)&quot;79&quot;&gt;&gt;&lt;p(@id:180)&quot;&quot;&lt;f(@i:0)&quot;Keypad&quot;&gt;&lt;f(@i:1)&quot;80&quot;&gt;&gt;&lt;p(@id:181)&quot;&quot;&lt;f(@i:0)&quot;Keypad&quot;&gt;&lt;f(@i:1)&quot;81&quot;&gt;&gt;&lt;p(@id:182)&quot;&quot;&lt;f(@i:0)&quot;Keypad&quot;&gt;&lt;f(@i:1)&quot;82&quot;&gt;&gt;&lt;p(@id:183)&quot;&quot;&lt;f(@i:0)&quot;Keypad&quot;&gt;&lt;f(@i:1)&quot;83&quot;&gt;&gt;&lt;p(@id:184)&quot;&quot;&lt;f(@i:0)&quot;Keypad&quot;&gt;&lt;f(@i:1)&quot;84&quot;&gt;&gt;&lt;p(@id:185)&quot;&quot;&lt;f(@i:0)&quot;Keypad&quot;&gt;&lt;f(@i:1)&quot;85&quot;&gt;&gt;&lt;p(@id:186)&quot;&quot;&lt;f(@i:0)&quot;Keypad&quot;&gt;&lt;f(@i:1)&quot;86&quot;&gt;&gt;&lt;p(@id:187)&quot;&quot;&lt;f(@i:0)&quot;Keypad&quot;&gt;&lt;f(@i:1)&quot;87&quot;&gt;&gt;&lt;p(@id:188)&quot;&quot;&lt;f(@i:0)&quot;Keypad&quot;&gt;&lt;f(@i:1)&quot;88&quot;&gt;&gt;&lt;p(@id:189)&quot;&quot;&lt;f(@i:0)&quot;Keypad&quot;&gt;&lt;f(@i:1)&quot;89&quot;&gt;&gt;&lt;p(@id:190)&quot;&quot;&lt;f(@i:0)&quot;Keypad&quot;&gt;&lt;f(@i:1)&quot;90&quot;&gt;&gt;&lt;p(@id:191)&quot;&quot;&lt;f(@i:0)&quot;Keypad&quot;&gt;&lt;f(@i:1)&quot;91&quot;&gt;&gt;&lt;p(@id:192)&quot;&quot;&lt;f(@i:0)&quot;Keypad&quot;&gt;&lt;f(@i:1)&quot;92&quot;&gt;&gt;&lt;p(@id:193)&quot;&quot;&lt;f(@i:0)&quot;Keypad&quot;&gt;&lt;f(@i:1)&quot;93&quot;&gt;&gt;&lt;p(@id:194)&quot;&quot;&lt;f(@i:0)&quot;Keypad&quot;&gt;&lt;f(@i:1)&quot;94&quot;&gt;&gt;&lt;p(@id:195)&quot;&quot;&lt;f(@i:0)&quot;Keypad&quot;&gt;&lt;f(@i:1)&quot;95&quot;&gt;&gt;&lt;p(@id:196)&quot;&quot;&lt;f(@i:0)&quot;Keypad&quot;&gt;&lt;f(@i:1)&quot;96&quot;&gt;&gt;&lt;p(@id:197)&quot;&quot;&lt;f(@i:0)&quot;Keypad&quot;&gt;&lt;f(@i:1)&quot;97&quot;&gt;&gt;&lt;p(@id:198)&quot;&quot;&lt;f(@i:0)&quot;Keypad&quot;&gt;&lt;f(@i:1)&quot;98&quot;&gt;&gt;&lt;p(@id:199)&quot;&quot;&lt;f(@i:0)&quot;Keypad&quot;&gt;&lt;f(@i:1)&quot;99&quot;&gt;&gt;&lt;p(@id:200)&quot;&quot;&lt;f(@i:0)&quot;Keypad&quot;&gt;&lt;f(@i:1)&quot;100&quot;&gt;&gt;&gt;&lt;fields&quot;&quot;&lt;fld(@i:0)&quot;&quot;&lt;n&quot;First Name&quot;&gt;&gt;&lt;fld(@i:1)&quot;&quot;&lt;n&quot;Last Name&quot;&gt;&gt;&lt;fld(@i:2)&quot;&quot;&lt;n&quot;Entry Disabled&quot;&gt;&gt;&lt;fld(@i:3)&quot;&quot;&lt;n&quot;Participant Group&quot;&gt;&gt;&lt;fld(@i:4)&quot;&quot;&lt;n&quot;Team&quot;&gt;&gt;&lt;fld(@i:5)&quot;&quot;&lt;n&quot;Voting Weight&quot;&gt;&gt;&gt;&gt;&lt;chart&quot;&quot;&lt;styles&quot;&quot;&gt;&gt;&lt;teams&quot;&quot;&gt;&lt;transceivers&quot;&quot;&lt;t(@id:2@tt:ReplyPlus@n:Transceiver 2)&quot;&quot;&lt;f(@id:c)&quot;3&quot;&gt;&lt;f(@id:comType)&quot;Usb&quot;&gt;&lt;f(@id:com)&quot;[Auto]&quot;&gt;&lt;f(@id:kIdType)&quot;Static&quot;&gt;&lt;f(@id:ac)&quot;false&quot;&gt;&lt;f(@id:bl)&quot;Normal&quot;&gt;&lt;f(@id:dm)&quot;false&quot;&gt;&lt;f(@id:dp)&quot;false&quot;&gt;&lt;f(@id:kMin)&quot;1&quot;&gt;&lt;f(@id:kMax)&quot;250&quot;&gt;&lt;f(@id:pl)&quot;EuMax&quot;&gt;&lt;f(@id:rs)&quot;false&quot;&gt;&lt;f(@id:rr)&quot;false&quot;&gt;&lt;f(@id:sr)&quot;true&quot;&gt;&lt;f(@id:ss)&quot;true&quot;&gt;&lt;f(@id:wa)&quot;Off&quot;&gt;&gt;&gt;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318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_HAS_CHART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PICLOCKTEMPLATE" val="true"/>
  <p:tag name="KPISTOPSPOLLING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6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_Genmab PowerPoint template_format 16_9_vs.1.1">
  <a:themeElements>
    <a:clrScheme name="Custom 3">
      <a:dk1>
        <a:srgbClr val="000000"/>
      </a:dk1>
      <a:lt1>
        <a:srgbClr val="FFFFFF"/>
      </a:lt1>
      <a:dk2>
        <a:srgbClr val="FACCDA"/>
      </a:dk2>
      <a:lt2>
        <a:srgbClr val="7BD1EB"/>
      </a:lt2>
      <a:accent1>
        <a:srgbClr val="E86E24"/>
      </a:accent1>
      <a:accent2>
        <a:srgbClr val="8A6399"/>
      </a:accent2>
      <a:accent3>
        <a:srgbClr val="90BF44"/>
      </a:accent3>
      <a:accent4>
        <a:srgbClr val="E8C33A"/>
      </a:accent4>
      <a:accent5>
        <a:srgbClr val="14A0D2"/>
      </a:accent5>
      <a:accent6>
        <a:srgbClr val="E23C46"/>
      </a:accent6>
      <a:hlink>
        <a:srgbClr val="AD8F33"/>
      </a:hlink>
      <a:folHlink>
        <a:srgbClr val="0000FF"/>
      </a:folHlink>
    </a:clrScheme>
    <a:fontScheme name="Genmab 20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accent1"/>
          </a:solidFill>
        </a:ln>
      </a:spPr>
      <a:bodyPr rtlCol="0" anchor="ctr"/>
      <a:lstStyle>
        <a:defPPr algn="ctr">
          <a:defRPr sz="2000" noProof="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RAFT revised template.potx" id="{A7F79291-72E9-48A7-B1DC-C8381F020B0E}" vid="{5D8E6B87-9AEB-45B4-A6B3-E9CB0D3FCE5A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5_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0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457200" rtl="0" eaLnBrk="1" fontAlgn="base" latinLnBrk="0" hangingPunct="0">
          <a:lnSpc>
            <a:spcPct val="93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45000"/>
          <a:buFont typeface="Wingdings" pitchFamily="2" charset="2"/>
          <a:buNone/>
          <a:tabLst/>
          <a:defRPr kumimoji="0" lang="en-GB" sz="2400" b="0" i="0" u="none" strike="noStrike" cap="none" normalizeH="0" baseline="0" smtClean="0">
            <a:ln>
              <a:noFill/>
            </a:ln>
            <a:effectLst/>
            <a:latin typeface="Times New Roman" pitchFamily="18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5.xml><?xml version="1.0" encoding="utf-8"?>
<a:theme xmlns:a="http://schemas.openxmlformats.org/drawingml/2006/main" name="3_JB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Office Theme">
  <a:themeElements>
    <a:clrScheme name="Beigene Colors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A4C34A"/>
      </a:accent1>
      <a:accent2>
        <a:srgbClr val="B73A3B"/>
      </a:accent2>
      <a:accent3>
        <a:srgbClr val="40C2CA"/>
      </a:accent3>
      <a:accent4>
        <a:srgbClr val="6F3A96"/>
      </a:accent4>
      <a:accent5>
        <a:srgbClr val="EDDA55"/>
      </a:accent5>
      <a:accent6>
        <a:srgbClr val="10508F"/>
      </a:accent6>
      <a:hlink>
        <a:srgbClr val="10508F"/>
      </a:hlink>
      <a:folHlink>
        <a:srgbClr val="8C8C8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6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ESMO 2017 template">
  <a:themeElements>
    <a:clrScheme name="Custom 9">
      <a:dk1>
        <a:srgbClr val="595454"/>
      </a:dk1>
      <a:lt1>
        <a:srgbClr val="FFFFFF"/>
      </a:lt1>
      <a:dk2>
        <a:srgbClr val="595454"/>
      </a:dk2>
      <a:lt2>
        <a:srgbClr val="A69F9F"/>
      </a:lt2>
      <a:accent1>
        <a:srgbClr val="BE2BBB"/>
      </a:accent1>
      <a:accent2>
        <a:srgbClr val="33D6F1"/>
      </a:accent2>
      <a:accent3>
        <a:srgbClr val="59FFB9"/>
      </a:accent3>
      <a:accent4>
        <a:srgbClr val="FDA97D"/>
      </a:accent4>
      <a:accent5>
        <a:srgbClr val="FFD186"/>
      </a:accent5>
      <a:accent6>
        <a:srgbClr val="AE7A65"/>
      </a:accent6>
      <a:hlink>
        <a:srgbClr val="BE2BBB"/>
      </a:hlink>
      <a:folHlink>
        <a:srgbClr val="A69F9F"/>
      </a:folHlink>
    </a:clrScheme>
    <a:fontScheme name="Trebuchet MS">
      <a:majorFont>
        <a:latin typeface="Trebuchet MS" panose="020B0603020202020204"/>
        <a:ea typeface=""/>
        <a:cs typeface=""/>
        <a:font script="Jpan" typeface="HGｺﾞｼｯｸM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HG丸ｺﾞｼｯｸM-PRO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Custom 9">
    <a:dk1>
      <a:srgbClr val="595454"/>
    </a:dk1>
    <a:lt1>
      <a:srgbClr val="FFFFFF"/>
    </a:lt1>
    <a:dk2>
      <a:srgbClr val="595454"/>
    </a:dk2>
    <a:lt2>
      <a:srgbClr val="A69F9F"/>
    </a:lt2>
    <a:accent1>
      <a:srgbClr val="BE2BBB"/>
    </a:accent1>
    <a:accent2>
      <a:srgbClr val="33D6F1"/>
    </a:accent2>
    <a:accent3>
      <a:srgbClr val="59FFB9"/>
    </a:accent3>
    <a:accent4>
      <a:srgbClr val="FDA97D"/>
    </a:accent4>
    <a:accent5>
      <a:srgbClr val="FFD186"/>
    </a:accent5>
    <a:accent6>
      <a:srgbClr val="AE7A65"/>
    </a:accent6>
    <a:hlink>
      <a:srgbClr val="BE2BBB"/>
    </a:hlink>
    <a:folHlink>
      <a:srgbClr val="A69F9F"/>
    </a:folHlink>
  </a:clrScheme>
  <a:fontScheme name="Trebuchet MS">
    <a:majorFont>
      <a:latin typeface="Trebuchet MS" panose="020B0603020202020204"/>
      <a:ea typeface=""/>
      <a:cs typeface=""/>
      <a:font script="Jpan" typeface="HGｺﾞｼｯｸM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HG丸ｺﾞｼｯｸM-PRO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Genmab 2017">
    <a:dk1>
      <a:sysClr val="windowText" lastClr="000000"/>
    </a:dk1>
    <a:lt1>
      <a:sysClr val="window" lastClr="FFFFFF"/>
    </a:lt1>
    <a:dk2>
      <a:srgbClr val="FACCDA"/>
    </a:dk2>
    <a:lt2>
      <a:srgbClr val="7BD1EB"/>
    </a:lt2>
    <a:accent1>
      <a:srgbClr val="009D94"/>
    </a:accent1>
    <a:accent2>
      <a:srgbClr val="BDE8F5"/>
    </a:accent2>
    <a:accent3>
      <a:srgbClr val="B3B4B6"/>
    </a:accent3>
    <a:accent4>
      <a:srgbClr val="E40046"/>
    </a:accent4>
    <a:accent5>
      <a:srgbClr val="B3E2DF"/>
    </a:accent5>
    <a:accent6>
      <a:srgbClr val="818285"/>
    </a:accent6>
    <a:hlink>
      <a:srgbClr val="009890"/>
    </a:hlink>
    <a:folHlink>
      <a:srgbClr val="000000"/>
    </a:folHlink>
  </a:clrScheme>
  <a:fontScheme name="Genmab 2017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Genmab 2017">
    <a:dk1>
      <a:sysClr val="windowText" lastClr="000000"/>
    </a:dk1>
    <a:lt1>
      <a:sysClr val="window" lastClr="FFFFFF"/>
    </a:lt1>
    <a:dk2>
      <a:srgbClr val="FACCDA"/>
    </a:dk2>
    <a:lt2>
      <a:srgbClr val="7BD1EB"/>
    </a:lt2>
    <a:accent1>
      <a:srgbClr val="009D94"/>
    </a:accent1>
    <a:accent2>
      <a:srgbClr val="BDE8F5"/>
    </a:accent2>
    <a:accent3>
      <a:srgbClr val="B3B4B6"/>
    </a:accent3>
    <a:accent4>
      <a:srgbClr val="E40046"/>
    </a:accent4>
    <a:accent5>
      <a:srgbClr val="B3E2DF"/>
    </a:accent5>
    <a:accent6>
      <a:srgbClr val="818285"/>
    </a:accent6>
    <a:hlink>
      <a:srgbClr val="009890"/>
    </a:hlink>
    <a:folHlink>
      <a:srgbClr val="000000"/>
    </a:folHlink>
  </a:clrScheme>
  <a:fontScheme name="Genmab 2017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8862A45804C7345BFDE61DA2C172BE7" ma:contentTypeVersion="21" ma:contentTypeDescription="Create a new document." ma:contentTypeScope="" ma:versionID="500711ca9c67da191d2b15b5ca992245">
  <xsd:schema xmlns:xsd="http://www.w3.org/2001/XMLSchema" xmlns:xs="http://www.w3.org/2001/XMLSchema" xmlns:p="http://schemas.microsoft.com/office/2006/metadata/properties" xmlns:ns1="96f1686b-f877-4eb8-89ab-3a67a5dc2612" xmlns:ns3="b4104d5b-b872-4636-a728-507be7308f43" targetNamespace="http://schemas.microsoft.com/office/2006/metadata/properties" ma:root="true" ma:fieldsID="b508e5b81f94dd78c708f6de3fbd9d7e" ns1:_="" ns3:_="">
    <xsd:import namespace="96f1686b-f877-4eb8-89ab-3a67a5dc2612"/>
    <xsd:import namespace="b4104d5b-b872-4636-a728-507be7308f43"/>
    <xsd:element name="properties">
      <xsd:complexType>
        <xsd:sequence>
          <xsd:element name="documentManagement">
            <xsd:complexType>
              <xsd:all>
                <xsd:element ref="ns1:QID" minOccurs="0"/>
                <xsd:element ref="ns1:Status" minOccurs="0"/>
                <xsd:element ref="ns1:MediaServiceMetadata" minOccurs="0"/>
                <xsd:element ref="ns1:MediaServiceFastMetadata" minOccurs="0"/>
                <xsd:element ref="ns1:MediaServiceAutoTags" minOccurs="0"/>
                <xsd:element ref="ns1:MediaServiceOCR" minOccurs="0"/>
                <xsd:element ref="ns1:MediaServiceDateTaken" minOccurs="0"/>
                <xsd:element ref="ns1:MediaServiceLocation" minOccurs="0"/>
                <xsd:element ref="ns3:SharedWithUsers" minOccurs="0"/>
                <xsd:element ref="ns3:SharedWithDetails" minOccurs="0"/>
                <xsd:element ref="ns1:MediaServiceEventHashCode" minOccurs="0"/>
                <xsd:element ref="ns1:MediaServiceGenerationTime" minOccurs="0"/>
                <xsd:element ref="ns3:TaxKeywordTaxHTField" minOccurs="0"/>
                <xsd:element ref="ns3:TaxCatchAll" minOccurs="0"/>
                <xsd:element ref="ns1:MediaServiceAutoKeyPoints" minOccurs="0"/>
                <xsd:element ref="ns1:MediaServiceKeyPoints" minOccurs="0"/>
                <xsd:element ref="ns1:lcf76f155ced4ddcb4097134ff3c332f" minOccurs="0"/>
                <xsd:element ref="ns1:MediaServiceObjectDetectorVersions" minOccurs="0"/>
                <xsd:element ref="ns1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f1686b-f877-4eb8-89ab-3a67a5dc2612" elementFormDefault="qualified">
    <xsd:import namespace="http://schemas.microsoft.com/office/2006/documentManagement/types"/>
    <xsd:import namespace="http://schemas.microsoft.com/office/infopath/2007/PartnerControls"/>
    <xsd:element name="QID" ma:index="0" nillable="true" ma:displayName="QID" ma:indexed="true" ma:internalName="QID">
      <xsd:simpleType>
        <xsd:restriction base="dms:Number"/>
      </xsd:simpleType>
    </xsd:element>
    <xsd:element name="Status" ma:index="3" nillable="true" ma:displayName="Status" ma:format="Dropdown" ma:internalName="Status">
      <xsd:simpleType>
        <xsd:restriction base="dms:Choice">
          <xsd:enumeration value="Not started"/>
          <xsd:enumeration value="Web Build"/>
          <xsd:enumeration value="In Progress"/>
          <xsd:enumeration value="Launched"/>
          <xsd:enumeration value="Complete"/>
          <xsd:enumeration value="Delayed"/>
        </xsd:restriction>
      </xsd:simpleType>
    </xsd:element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8" nillable="true" ma:displayName="MediaServiceAutoTags" ma:internalName="MediaServiceAutoTags" ma:readOnly="true">
      <xsd:simpleType>
        <xsd:restriction base="dms:Text"/>
      </xsd:simpleType>
    </xsd:element>
    <xsd:element name="MediaServiceOCR" ma:index="9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1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6" nillable="true" ma:taxonomy="true" ma:internalName="lcf76f155ced4ddcb4097134ff3c332f" ma:taxonomyFieldName="MediaServiceImageTags" ma:displayName="Image Tags" ma:readOnly="false" ma:fieldId="{5cf76f15-5ced-4ddc-b409-7134ff3c332f}" ma:taxonomyMulti="true" ma:sspId="4c811d1f-5e4a-4ee3-9cfd-88a4fb073ce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104d5b-b872-4636-a728-507be7308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KeywordTaxHTField" ma:index="21" nillable="true" ma:taxonomy="true" ma:internalName="TaxKeywordTaxHTField" ma:taxonomyFieldName="TaxKeyword" ma:displayName="Enterprise Keywords" ma:fieldId="{23f27201-bee3-471e-b2e7-b64fd8b7ca38}" ma:taxonomyMulti="true" ma:sspId="00000000-0000-0000-0000-000000000000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  <xsd:element name="TaxCatchAll" ma:index="22" nillable="true" ma:displayName="Taxonomy Catch All Column" ma:hidden="true" ma:list="{d75259b8-d078-43ce-9531-d35c0553c861}" ma:internalName="TaxCatchAll" ma:showField="CatchAllData" ma:web="b4104d5b-b872-4636-a728-507be7308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6" ma:displayName="Content Type"/>
        <xsd:element ref="dc:title" minOccurs="0" maxOccurs="1" ma:index="2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tatus xmlns="96f1686b-f877-4eb8-89ab-3a67a5dc2612" xsi:nil="true"/>
    <TaxCatchAll xmlns="b4104d5b-b872-4636-a728-507be7308f43" xsi:nil="true"/>
    <QID xmlns="96f1686b-f877-4eb8-89ab-3a67a5dc2612" xsi:nil="true"/>
    <lcf76f155ced4ddcb4097134ff3c332f xmlns="96f1686b-f877-4eb8-89ab-3a67a5dc2612">
      <Terms xmlns="http://schemas.microsoft.com/office/infopath/2007/PartnerControls"/>
    </lcf76f155ced4ddcb4097134ff3c332f>
    <TaxKeywordTaxHTField xmlns="b4104d5b-b872-4636-a728-507be7308f43">
      <Terms xmlns="http://schemas.microsoft.com/office/infopath/2007/PartnerControls"/>
    </TaxKeywordTaxHTField>
  </documentManagement>
</p:properties>
</file>

<file path=customXml/itemProps1.xml><?xml version="1.0" encoding="utf-8"?>
<ds:datastoreItem xmlns:ds="http://schemas.openxmlformats.org/officeDocument/2006/customXml" ds:itemID="{7A9703B6-EFED-45C5-B7A9-1D8C23C3BFBB}"/>
</file>

<file path=customXml/itemProps2.xml><?xml version="1.0" encoding="utf-8"?>
<ds:datastoreItem xmlns:ds="http://schemas.openxmlformats.org/officeDocument/2006/customXml" ds:itemID="{CC4DE866-9AA8-4C1F-9976-973AE6720BE2}"/>
</file>

<file path=customXml/itemProps3.xml><?xml version="1.0" encoding="utf-8"?>
<ds:datastoreItem xmlns:ds="http://schemas.openxmlformats.org/officeDocument/2006/customXml" ds:itemID="{E0CDFFA9-B37B-4431-A559-F6EE788FC95A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1717</TotalTime>
  <Words>6712</Words>
  <Application>Microsoft Macintosh PowerPoint</Application>
  <PresentationFormat>Widescreen</PresentationFormat>
  <Paragraphs>1009</Paragraphs>
  <Slides>70</Slides>
  <Notes>45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0</vt:i4>
      </vt:variant>
    </vt:vector>
  </HeadingPairs>
  <TitlesOfParts>
    <vt:vector size="96" baseType="lpstr">
      <vt:lpstr>ＭＳ Ｐゴシック</vt:lpstr>
      <vt:lpstr>acumin-pro</vt:lpstr>
      <vt:lpstr>Aptos</vt:lpstr>
      <vt:lpstr>Aptos Display</vt:lpstr>
      <vt:lpstr>Arial</vt:lpstr>
      <vt:lpstr>Arial Narrow</vt:lpstr>
      <vt:lpstr>BlinkMacSystemFont</vt:lpstr>
      <vt:lpstr>Calibri</vt:lpstr>
      <vt:lpstr>Calibri Light</vt:lpstr>
      <vt:lpstr>Helvetica</vt:lpstr>
      <vt:lpstr>Symbol</vt:lpstr>
      <vt:lpstr>Times New Roman</vt:lpstr>
      <vt:lpstr>Trebuchet MS</vt:lpstr>
      <vt:lpstr>Trebuchet MS Regular</vt:lpstr>
      <vt:lpstr>Wingdings</vt:lpstr>
      <vt:lpstr>6_Default Design</vt:lpstr>
      <vt:lpstr>5_Default Design</vt:lpstr>
      <vt:lpstr>1_Office Theme</vt:lpstr>
      <vt:lpstr>Office Theme</vt:lpstr>
      <vt:lpstr>3_JB Theme</vt:lpstr>
      <vt:lpstr>3_Office Theme</vt:lpstr>
      <vt:lpstr>5_Office Theme</vt:lpstr>
      <vt:lpstr>6_Office Theme</vt:lpstr>
      <vt:lpstr>ESMO 2017 template</vt:lpstr>
      <vt:lpstr>1_Genmab PowerPoint template_format 16_9_vs.1.1</vt:lpstr>
      <vt:lpstr>think-cell Slide</vt:lpstr>
      <vt:lpstr>Year in Review: </vt:lpstr>
      <vt:lpstr>Faculty</vt:lpstr>
      <vt:lpstr>Commercial Support</vt:lpstr>
      <vt:lpstr>Dr Brown — Disclosures</vt:lpstr>
      <vt:lpstr>Prof Ghia — Disclosure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AGENDA  Year in Review: Management of  Chronic Lymphocytic Leukemia (CLL)</vt:lpstr>
      <vt:lpstr>AGENDA  Year in Review: Management of  Chronic Lymphocytic Leukemia (CLL)</vt:lpstr>
      <vt:lpstr>PowerPoint Presentation</vt:lpstr>
      <vt:lpstr>AGENDA  Year in Review: Management of  Chronic Lymphocytic Leukemia (CLL)</vt:lpstr>
      <vt:lpstr>PowerPoint Presentation</vt:lpstr>
      <vt:lpstr>PowerPoint Presentation</vt:lpstr>
      <vt:lpstr>Phase III CLL12 Study: Ibrutinib versus Placebo for Early-Stage Chronic Lymphocytic Leukemia (CLL)</vt:lpstr>
      <vt:lpstr>PowerPoint Presentation</vt:lpstr>
      <vt:lpstr>Pooled Analysis of 5 Clinical Trials of Acalabrutinib: Survival by Genetic Features in Patients with Treatment-Naïve Disease</vt:lpstr>
      <vt:lpstr>Pooled Analysis of 5 Clinical Trials of Acalabrutinib: Survival by Genetic Features in Patients with Relapsed/Refractory Disease</vt:lpstr>
      <vt:lpstr>PowerPoint Presentation</vt:lpstr>
      <vt:lpstr>Phase II CLL-Frail Study of Acalabrutinib for Very Old (≥80 Years) and/or Frail Patients: ORR and Frailty Assessment</vt:lpstr>
      <vt:lpstr>PowerPoint Presentation</vt:lpstr>
      <vt:lpstr>Cardiovascular Adverse Events Associated with BTK Inhibitors for CLL </vt:lpstr>
      <vt:lpstr>Evaluation of Cardiovascular Risk and Action Thresholds with  BTK Inhibitors</vt:lpstr>
      <vt:lpstr>Algorithm for Managing Cardiovascular Toxicity During CLL Treatment</vt:lpstr>
      <vt:lpstr>AGENDA  Year in Review: Management of  Chronic Lymphocytic Leukemia (CLL)</vt:lpstr>
      <vt:lpstr>PowerPoint Presentation</vt:lpstr>
      <vt:lpstr>PowerPoint Presentation</vt:lpstr>
      <vt:lpstr>Venetoclax/Obinutuzumab for Previously Untreated CLL:  6-Year Results of the Phase III CLL14 Study – PFS </vt:lpstr>
      <vt:lpstr>Venetoclax/Obinutuzumab for Previously Untreated CLL:  6-Year Results of the Phase III CLL14 Study – OS</vt:lpstr>
      <vt:lpstr>Venetoclax/Obinutuzumab for Previously Untreated CLL: 6-Year Results of the Phase III CLL14 Study – Minimal Residual Disease (MRD)</vt:lpstr>
      <vt:lpstr>PowerPoint Presentation</vt:lpstr>
      <vt:lpstr>Venetoclax Monotherapy for Relapsed or Refractory CLL:  The Single-Arm Phase IIIb VENICE-1 Trial – Response</vt:lpstr>
      <vt:lpstr>Phase IIIb VENICE-1: Survival by B-Cell Receptor-Associated Kinase Inhibitor (BCRi) Exposure</vt:lpstr>
      <vt:lpstr>Phase IIIb VENICE-1: Summary</vt:lpstr>
      <vt:lpstr>AGENDA  Year in Review: Management of  Chronic Lymphocytic Leukemia (CLL)</vt:lpstr>
      <vt:lpstr>PowerPoint Presentation</vt:lpstr>
      <vt:lpstr>AMPLIFY: AV and AVO vs FCR/BR  Progression-Free Survival</vt:lpstr>
      <vt:lpstr>What about AMPLIFY results?</vt:lpstr>
      <vt:lpstr>AVO for 16-25 Months for High Risk Del17p Disease: Survival &amp; Recurrence   </vt:lpstr>
      <vt:lpstr>AVO for 16-25 Months for High Risk Del17p Disease</vt:lpstr>
      <vt:lpstr>PowerPoint Presentation</vt:lpstr>
      <vt:lpstr>What about AVO in Relapsed Disease?</vt:lpstr>
      <vt:lpstr>SEQUOIA Arm D Treatment Regimen and MRD</vt:lpstr>
      <vt:lpstr>SEQUOIA Arm D: Zanu Ven in Del17p </vt:lpstr>
      <vt:lpstr>PowerPoint Presentation</vt:lpstr>
      <vt:lpstr>Sonrotoclax + Zanubrutinib Demonstrates Substantial Antitumor Activity in TN CLL</vt:lpstr>
      <vt:lpstr>AGENDA  Year in Review: Management of  Chronic Lymphocytic Leukemia (CLL)</vt:lpstr>
      <vt:lpstr>PowerPoint Presentation</vt:lpstr>
      <vt:lpstr>PowerPoint Presentation</vt:lpstr>
      <vt:lpstr>BRUIN 321</vt:lpstr>
      <vt:lpstr>Pirtobrutinib + Venetoclax +/- Rituximab</vt:lpstr>
      <vt:lpstr>Pirtobrutinib Ven +/- R in R/R CLL</vt:lpstr>
      <vt:lpstr>PowerPoint Presentation</vt:lpstr>
      <vt:lpstr>Pirto Ven Obin</vt:lpstr>
      <vt:lpstr>Pirtobrutinib in RT</vt:lpstr>
      <vt:lpstr>What about Pirtobrutinib in RT?</vt:lpstr>
      <vt:lpstr>AGENDA  Year in Review: Management of  Chronic Lymphocytic Leukemia (CLL)</vt:lpstr>
      <vt:lpstr>PowerPoint Presentation</vt:lpstr>
      <vt:lpstr>TRANSCEND CLL 004: lisocabtagene maraleucel (liso-cel) </vt:lpstr>
      <vt:lpstr>Update on Liso-cel in CLL</vt:lpstr>
      <vt:lpstr>Liso-cel + Ibrutinib Outcomes</vt:lpstr>
      <vt:lpstr>What about Liso-cel + Ibrutinib?</vt:lpstr>
      <vt:lpstr>EPCORE</vt:lpstr>
      <vt:lpstr>Epcoritamab in R/R CLL </vt:lpstr>
      <vt:lpstr>NX-5948 Duration of Treatment Durable Responses Regardless of Prior Therapy</vt:lpstr>
      <vt:lpstr>BGB-16673 Treatment Duration &amp; Response</vt:lpstr>
      <vt:lpstr>BTK Degrader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Year In Review Prostate Cancer  Wednesday, November 18, 2020 2:00 PM – 3:30 PM ET</dc:title>
  <dc:creator>Rick Kaderman</dc:creator>
  <cp:lastModifiedBy>Silvana Izquierdo</cp:lastModifiedBy>
  <cp:revision>1670</cp:revision>
  <cp:lastPrinted>2020-12-08T02:40:56Z</cp:lastPrinted>
  <dcterms:created xsi:type="dcterms:W3CDTF">2020-11-13T19:02:13Z</dcterms:created>
  <dcterms:modified xsi:type="dcterms:W3CDTF">2025-04-16T18:00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8862A45804C7345BFDE61DA2C172BE7</vt:lpwstr>
  </property>
  <property fmtid="{D5CDD505-2E9C-101B-9397-08002B2CF9AE}" pid="3" name="TaxKeyword">
    <vt:lpwstr/>
  </property>
</Properties>
</file>